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omments/modernComment_156_EE8CBDCB.xml" ContentType="application/vnd.ms-powerpoint.comment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6.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96"/>
  </p:notesMasterIdLst>
  <p:sldIdLst>
    <p:sldId id="270" r:id="rId5"/>
    <p:sldId id="271" r:id="rId6"/>
    <p:sldId id="348" r:id="rId7"/>
    <p:sldId id="272" r:id="rId8"/>
    <p:sldId id="350" r:id="rId9"/>
    <p:sldId id="273" r:id="rId10"/>
    <p:sldId id="399" r:id="rId11"/>
    <p:sldId id="2147483634" r:id="rId12"/>
    <p:sldId id="268" r:id="rId13"/>
    <p:sldId id="290" r:id="rId14"/>
    <p:sldId id="276" r:id="rId15"/>
    <p:sldId id="294" r:id="rId16"/>
    <p:sldId id="264" r:id="rId17"/>
    <p:sldId id="289" r:id="rId18"/>
    <p:sldId id="292" r:id="rId19"/>
    <p:sldId id="275" r:id="rId20"/>
    <p:sldId id="293" r:id="rId21"/>
    <p:sldId id="291" r:id="rId22"/>
    <p:sldId id="311" r:id="rId23"/>
    <p:sldId id="310" r:id="rId24"/>
    <p:sldId id="308" r:id="rId25"/>
    <p:sldId id="262" r:id="rId26"/>
    <p:sldId id="295" r:id="rId27"/>
    <p:sldId id="309" r:id="rId28"/>
    <p:sldId id="274" r:id="rId29"/>
    <p:sldId id="312" r:id="rId30"/>
    <p:sldId id="328" r:id="rId31"/>
    <p:sldId id="331" r:id="rId32"/>
    <p:sldId id="330" r:id="rId33"/>
    <p:sldId id="313" r:id="rId34"/>
    <p:sldId id="314" r:id="rId35"/>
    <p:sldId id="316" r:id="rId36"/>
    <p:sldId id="317" r:id="rId37"/>
    <p:sldId id="318" r:id="rId38"/>
    <p:sldId id="320" r:id="rId39"/>
    <p:sldId id="332" r:id="rId40"/>
    <p:sldId id="277" r:id="rId41"/>
    <p:sldId id="333" r:id="rId42"/>
    <p:sldId id="334" r:id="rId43"/>
    <p:sldId id="321" r:id="rId44"/>
    <p:sldId id="278" r:id="rId45"/>
    <p:sldId id="336" r:id="rId46"/>
    <p:sldId id="322" r:id="rId47"/>
    <p:sldId id="337" r:id="rId48"/>
    <p:sldId id="338" r:id="rId49"/>
    <p:sldId id="340" r:id="rId50"/>
    <p:sldId id="324" r:id="rId51"/>
    <p:sldId id="325" r:id="rId52"/>
    <p:sldId id="339" r:id="rId53"/>
    <p:sldId id="326" r:id="rId54"/>
    <p:sldId id="335" r:id="rId55"/>
    <p:sldId id="265" r:id="rId56"/>
    <p:sldId id="269" r:id="rId57"/>
    <p:sldId id="266" r:id="rId58"/>
    <p:sldId id="279" r:id="rId59"/>
    <p:sldId id="342" r:id="rId60"/>
    <p:sldId id="343" r:id="rId61"/>
    <p:sldId id="360" r:id="rId62"/>
    <p:sldId id="344" r:id="rId63"/>
    <p:sldId id="361" r:id="rId64"/>
    <p:sldId id="362" r:id="rId65"/>
    <p:sldId id="345" r:id="rId66"/>
    <p:sldId id="346" r:id="rId67"/>
    <p:sldId id="363" r:id="rId68"/>
    <p:sldId id="364" r:id="rId69"/>
    <p:sldId id="347" r:id="rId70"/>
    <p:sldId id="371" r:id="rId71"/>
    <p:sldId id="372" r:id="rId72"/>
    <p:sldId id="366" r:id="rId73"/>
    <p:sldId id="280" r:id="rId74"/>
    <p:sldId id="367" r:id="rId75"/>
    <p:sldId id="349" r:id="rId76"/>
    <p:sldId id="374" r:id="rId77"/>
    <p:sldId id="375" r:id="rId78"/>
    <p:sldId id="376" r:id="rId79"/>
    <p:sldId id="351" r:id="rId80"/>
    <p:sldId id="354" r:id="rId81"/>
    <p:sldId id="355" r:id="rId82"/>
    <p:sldId id="358" r:id="rId83"/>
    <p:sldId id="377" r:id="rId84"/>
    <p:sldId id="359" r:id="rId85"/>
    <p:sldId id="2147483647" r:id="rId86"/>
    <p:sldId id="261" r:id="rId87"/>
    <p:sldId id="267" r:id="rId88"/>
    <p:sldId id="256" r:id="rId89"/>
    <p:sldId id="2147483644" r:id="rId90"/>
    <p:sldId id="258" r:id="rId91"/>
    <p:sldId id="257" r:id="rId92"/>
    <p:sldId id="260" r:id="rId93"/>
    <p:sldId id="259" r:id="rId94"/>
    <p:sldId id="263" r:id="rId9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2338ECF-CC18-A342-A458-EE03D80BC8A2}">
          <p14:sldIdLst/>
        </p14:section>
        <p14:section name="Academy Slides" id="{4BD3D0DC-6625-E640-92F6-A562604CDD5D}">
          <p14:sldIdLst>
            <p14:sldId id="270"/>
            <p14:sldId id="271"/>
            <p14:sldId id="348"/>
            <p14:sldId id="272"/>
            <p14:sldId id="350"/>
            <p14:sldId id="273"/>
            <p14:sldId id="399"/>
          </p14:sldIdLst>
        </p14:section>
        <p14:section name="Tool Use" id="{F4B7C196-F103-A840-A842-7A2D357FC358}">
          <p14:sldIdLst>
            <p14:sldId id="2147483634"/>
            <p14:sldId id="268"/>
            <p14:sldId id="290"/>
            <p14:sldId id="276"/>
            <p14:sldId id="294"/>
            <p14:sldId id="264"/>
            <p14:sldId id="289"/>
            <p14:sldId id="292"/>
            <p14:sldId id="275"/>
            <p14:sldId id="293"/>
            <p14:sldId id="291"/>
            <p14:sldId id="311"/>
            <p14:sldId id="310"/>
            <p14:sldId id="308"/>
            <p14:sldId id="262"/>
            <p14:sldId id="295"/>
            <p14:sldId id="309"/>
            <p14:sldId id="274"/>
            <p14:sldId id="312"/>
            <p14:sldId id="328"/>
            <p14:sldId id="331"/>
            <p14:sldId id="330"/>
            <p14:sldId id="313"/>
            <p14:sldId id="314"/>
            <p14:sldId id="316"/>
            <p14:sldId id="317"/>
            <p14:sldId id="318"/>
            <p14:sldId id="320"/>
            <p14:sldId id="332"/>
            <p14:sldId id="277"/>
            <p14:sldId id="333"/>
            <p14:sldId id="334"/>
            <p14:sldId id="321"/>
            <p14:sldId id="278"/>
            <p14:sldId id="336"/>
            <p14:sldId id="322"/>
            <p14:sldId id="337"/>
            <p14:sldId id="338"/>
            <p14:sldId id="340"/>
            <p14:sldId id="324"/>
            <p14:sldId id="325"/>
            <p14:sldId id="339"/>
            <p14:sldId id="326"/>
            <p14:sldId id="335"/>
            <p14:sldId id="265"/>
            <p14:sldId id="269"/>
            <p14:sldId id="266"/>
            <p14:sldId id="279"/>
            <p14:sldId id="342"/>
          </p14:sldIdLst>
        </p14:section>
        <p14:section name="Fast to Wise" id="{273C2115-D4B8-9F4F-85A3-9A8D7E3E5333}">
          <p14:sldIdLst>
            <p14:sldId id="343"/>
            <p14:sldId id="360"/>
            <p14:sldId id="344"/>
            <p14:sldId id="361"/>
            <p14:sldId id="362"/>
            <p14:sldId id="345"/>
            <p14:sldId id="346"/>
            <p14:sldId id="363"/>
            <p14:sldId id="364"/>
          </p14:sldIdLst>
        </p14:section>
        <p14:section name="The Experiment" id="{CBD63205-D959-8B4A-9FDD-D4BC0B501D6F}">
          <p14:sldIdLst>
            <p14:sldId id="347"/>
            <p14:sldId id="371"/>
            <p14:sldId id="372"/>
            <p14:sldId id="366"/>
            <p14:sldId id="280"/>
          </p14:sldIdLst>
        </p14:section>
        <p14:section name="Strategic Reasoning Frameworks" id="{CF96A3D9-2446-934D-A873-8B1681746BFA}">
          <p14:sldIdLst>
            <p14:sldId id="367"/>
            <p14:sldId id="349"/>
            <p14:sldId id="374"/>
            <p14:sldId id="375"/>
            <p14:sldId id="376"/>
            <p14:sldId id="351"/>
          </p14:sldIdLst>
        </p14:section>
        <p14:section name="Collective Reasoning" id="{C75B44A3-6663-5F4F-A344-05691A09AFAF}">
          <p14:sldIdLst>
            <p14:sldId id="354"/>
            <p14:sldId id="355"/>
          </p14:sldIdLst>
        </p14:section>
        <p14:section name="Implications and Future" id="{A9659491-0AA6-404F-BD21-EB8C82A84024}">
          <p14:sldIdLst>
            <p14:sldId id="358"/>
            <p14:sldId id="377"/>
            <p14:sldId id="359"/>
            <p14:sldId id="2147483647"/>
          </p14:sldIdLst>
        </p14:section>
        <p14:section name="Section slides" id="{B3289642-5781-4C0E-8462-5C6282DF6103}">
          <p14:sldIdLst>
            <p14:sldId id="261"/>
            <p14:sldId id="267"/>
            <p14:sldId id="256"/>
            <p14:sldId id="2147483644"/>
          </p14:sldIdLst>
        </p14:section>
        <p14:section name="Transition slides" id="{CD84D8C3-D32E-4509-BFDC-AEB323603358}">
          <p14:sldIdLst>
            <p14:sldId id="258"/>
            <p14:sldId id="257"/>
            <p14:sldId id="260"/>
            <p14:sldId id="259"/>
            <p14:sldId id="26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CDD18CB-7263-D83D-3C03-6D38F0EEC10B}" name="Jesse, Kevin" initials="KJ" userId="S::kevin.jesse@accenture.com::6f05423f-cf98-4c12-b626-169f8a1317c4"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016C18-BB1B-D648-AFD4-DFDB0154598C}" v="355" dt="2025-09-19T10:51:03.8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0358"/>
    <p:restoredTop sz="95389"/>
  </p:normalViewPr>
  <p:slideViewPr>
    <p:cSldViewPr snapToGrid="0">
      <p:cViewPr varScale="1">
        <p:scale>
          <a:sx n="114" d="100"/>
          <a:sy n="114" d="100"/>
        </p:scale>
        <p:origin x="184" y="1800"/>
      </p:cViewPr>
      <p:guideLst/>
    </p:cSldViewPr>
  </p:slideViewPr>
  <p:notesTextViewPr>
    <p:cViewPr>
      <p:scale>
        <a:sx n="140" d="100"/>
        <a:sy n="14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microsoft.com/office/2015/10/relationships/revisionInfo" Target="revisionInfo.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microsoft.com/office/2018/10/relationships/authors" Targe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theme" Target="theme/theme1.xml"/><Relationship Id="rId10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viewProps" Target="view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sse, Kevin" userId="6f05423f-cf98-4c12-b626-169f8a1317c4" providerId="ADAL" clId="{5B016C18-BB1B-D648-AFD4-DFDB0154598C}"/>
    <pc:docChg chg="undo custSel addSld delSld modSld">
      <pc:chgData name="Jesse, Kevin" userId="6f05423f-cf98-4c12-b626-169f8a1317c4" providerId="ADAL" clId="{5B016C18-BB1B-D648-AFD4-DFDB0154598C}" dt="2025-08-25T19:57:02.541" v="1348" actId="20577"/>
      <pc:docMkLst>
        <pc:docMk/>
      </pc:docMkLst>
      <pc:sldChg chg="modSp mod">
        <pc:chgData name="Jesse, Kevin" userId="6f05423f-cf98-4c12-b626-169f8a1317c4" providerId="ADAL" clId="{5B016C18-BB1B-D648-AFD4-DFDB0154598C}" dt="2025-08-25T15:29:55.825" v="663" actId="20577"/>
        <pc:sldMkLst>
          <pc:docMk/>
          <pc:sldMk cId="663125826" sldId="313"/>
        </pc:sldMkLst>
        <pc:spChg chg="mod">
          <ac:chgData name="Jesse, Kevin" userId="6f05423f-cf98-4c12-b626-169f8a1317c4" providerId="ADAL" clId="{5B016C18-BB1B-D648-AFD4-DFDB0154598C}" dt="2025-08-25T15:29:51.722" v="656" actId="20577"/>
          <ac:spMkLst>
            <pc:docMk/>
            <pc:sldMk cId="663125826" sldId="313"/>
            <ac:spMk id="8" creationId="{A8792D45-1E1D-1F9E-B4E0-342AC99D376B}"/>
          </ac:spMkLst>
        </pc:spChg>
        <pc:spChg chg="mod">
          <ac:chgData name="Jesse, Kevin" userId="6f05423f-cf98-4c12-b626-169f8a1317c4" providerId="ADAL" clId="{5B016C18-BB1B-D648-AFD4-DFDB0154598C}" dt="2025-08-25T15:29:55.825" v="663" actId="20577"/>
          <ac:spMkLst>
            <pc:docMk/>
            <pc:sldMk cId="663125826" sldId="313"/>
            <ac:spMk id="64" creationId="{855DF916-8D51-ADD4-BA51-6F0AF9C86B73}"/>
          </ac:spMkLst>
        </pc:spChg>
      </pc:sldChg>
      <pc:sldChg chg="modSp mod">
        <pc:chgData name="Jesse, Kevin" userId="6f05423f-cf98-4c12-b626-169f8a1317c4" providerId="ADAL" clId="{5B016C18-BB1B-D648-AFD4-DFDB0154598C}" dt="2025-08-25T14:22:45.981" v="312" actId="1076"/>
        <pc:sldMkLst>
          <pc:docMk/>
          <pc:sldMk cId="2145421352" sldId="317"/>
        </pc:sldMkLst>
        <pc:spChg chg="mod">
          <ac:chgData name="Jesse, Kevin" userId="6f05423f-cf98-4c12-b626-169f8a1317c4" providerId="ADAL" clId="{5B016C18-BB1B-D648-AFD4-DFDB0154598C}" dt="2025-08-25T14:22:45.981" v="312" actId="1076"/>
          <ac:spMkLst>
            <pc:docMk/>
            <pc:sldMk cId="2145421352" sldId="317"/>
            <ac:spMk id="3" creationId="{79513B0D-D86F-D796-7ACE-7E4928B77938}"/>
          </ac:spMkLst>
        </pc:spChg>
      </pc:sldChg>
      <pc:sldChg chg="new del">
        <pc:chgData name="Jesse, Kevin" userId="6f05423f-cf98-4c12-b626-169f8a1317c4" providerId="ADAL" clId="{5B016C18-BB1B-D648-AFD4-DFDB0154598C}" dt="2025-08-25T14:20:15.152" v="2" actId="2696"/>
        <pc:sldMkLst>
          <pc:docMk/>
          <pc:sldMk cId="3729971468" sldId="319"/>
        </pc:sldMkLst>
      </pc:sldChg>
      <pc:sldChg chg="modSp new mod">
        <pc:chgData name="Jesse, Kevin" userId="6f05423f-cf98-4c12-b626-169f8a1317c4" providerId="ADAL" clId="{5B016C18-BB1B-D648-AFD4-DFDB0154598C}" dt="2025-08-25T14:21:03.773" v="46" actId="20577"/>
        <pc:sldMkLst>
          <pc:docMk/>
          <pc:sldMk cId="2772008283" sldId="320"/>
        </pc:sldMkLst>
        <pc:spChg chg="mod">
          <ac:chgData name="Jesse, Kevin" userId="6f05423f-cf98-4c12-b626-169f8a1317c4" providerId="ADAL" clId="{5B016C18-BB1B-D648-AFD4-DFDB0154598C}" dt="2025-08-25T14:21:03.773" v="46" actId="20577"/>
          <ac:spMkLst>
            <pc:docMk/>
            <pc:sldMk cId="2772008283" sldId="320"/>
            <ac:spMk id="2" creationId="{3B1C91E9-7625-2277-F894-932E9DED47C4}"/>
          </ac:spMkLst>
        </pc:spChg>
      </pc:sldChg>
      <pc:sldChg chg="modSp add mod">
        <pc:chgData name="Jesse, Kevin" userId="6f05423f-cf98-4c12-b626-169f8a1317c4" providerId="ADAL" clId="{5B016C18-BB1B-D648-AFD4-DFDB0154598C}" dt="2025-08-25T14:21:13.957" v="90" actId="20577"/>
        <pc:sldMkLst>
          <pc:docMk/>
          <pc:sldMk cId="1474925966" sldId="321"/>
        </pc:sldMkLst>
        <pc:spChg chg="mod">
          <ac:chgData name="Jesse, Kevin" userId="6f05423f-cf98-4c12-b626-169f8a1317c4" providerId="ADAL" clId="{5B016C18-BB1B-D648-AFD4-DFDB0154598C}" dt="2025-08-25T14:21:13.957" v="90" actId="20577"/>
          <ac:spMkLst>
            <pc:docMk/>
            <pc:sldMk cId="1474925966" sldId="321"/>
            <ac:spMk id="2" creationId="{277EF8F0-84B0-D3AD-E2B2-FA38E4BCA034}"/>
          </ac:spMkLst>
        </pc:spChg>
      </pc:sldChg>
      <pc:sldChg chg="modSp add mod">
        <pc:chgData name="Jesse, Kevin" userId="6f05423f-cf98-4c12-b626-169f8a1317c4" providerId="ADAL" clId="{5B016C18-BB1B-D648-AFD4-DFDB0154598C}" dt="2025-08-25T14:21:33.244" v="130" actId="20577"/>
        <pc:sldMkLst>
          <pc:docMk/>
          <pc:sldMk cId="3611929117" sldId="322"/>
        </pc:sldMkLst>
        <pc:spChg chg="mod">
          <ac:chgData name="Jesse, Kevin" userId="6f05423f-cf98-4c12-b626-169f8a1317c4" providerId="ADAL" clId="{5B016C18-BB1B-D648-AFD4-DFDB0154598C}" dt="2025-08-25T14:21:33.244" v="130" actId="20577"/>
          <ac:spMkLst>
            <pc:docMk/>
            <pc:sldMk cId="3611929117" sldId="322"/>
            <ac:spMk id="2" creationId="{CBADE286-17D8-7122-9B58-F410DEA26E29}"/>
          </ac:spMkLst>
        </pc:spChg>
      </pc:sldChg>
      <pc:sldChg chg="modSp add mod">
        <pc:chgData name="Jesse, Kevin" userId="6f05423f-cf98-4c12-b626-169f8a1317c4" providerId="ADAL" clId="{5B016C18-BB1B-D648-AFD4-DFDB0154598C}" dt="2025-08-25T14:21:48.862" v="155" actId="20577"/>
        <pc:sldMkLst>
          <pc:docMk/>
          <pc:sldMk cId="924419237" sldId="323"/>
        </pc:sldMkLst>
      </pc:sldChg>
      <pc:sldChg chg="modSp add mod">
        <pc:chgData name="Jesse, Kevin" userId="6f05423f-cf98-4c12-b626-169f8a1317c4" providerId="ADAL" clId="{5B016C18-BB1B-D648-AFD4-DFDB0154598C}" dt="2025-08-25T14:22:00.710" v="206" actId="20577"/>
        <pc:sldMkLst>
          <pc:docMk/>
          <pc:sldMk cId="1686716804" sldId="324"/>
        </pc:sldMkLst>
        <pc:spChg chg="mod">
          <ac:chgData name="Jesse, Kevin" userId="6f05423f-cf98-4c12-b626-169f8a1317c4" providerId="ADAL" clId="{5B016C18-BB1B-D648-AFD4-DFDB0154598C}" dt="2025-08-25T14:22:00.710" v="206" actId="20577"/>
          <ac:spMkLst>
            <pc:docMk/>
            <pc:sldMk cId="1686716804" sldId="324"/>
            <ac:spMk id="2" creationId="{DBE6D2EA-AD82-B2EF-6411-4C6F82E7BF3B}"/>
          </ac:spMkLst>
        </pc:spChg>
      </pc:sldChg>
      <pc:sldChg chg="modSp add mod">
        <pc:chgData name="Jesse, Kevin" userId="6f05423f-cf98-4c12-b626-169f8a1317c4" providerId="ADAL" clId="{5B016C18-BB1B-D648-AFD4-DFDB0154598C}" dt="2025-08-25T14:22:16.939" v="262" actId="20577"/>
        <pc:sldMkLst>
          <pc:docMk/>
          <pc:sldMk cId="2394848774" sldId="325"/>
        </pc:sldMkLst>
        <pc:spChg chg="mod">
          <ac:chgData name="Jesse, Kevin" userId="6f05423f-cf98-4c12-b626-169f8a1317c4" providerId="ADAL" clId="{5B016C18-BB1B-D648-AFD4-DFDB0154598C}" dt="2025-08-25T14:22:16.939" v="262" actId="20577"/>
          <ac:spMkLst>
            <pc:docMk/>
            <pc:sldMk cId="2394848774" sldId="325"/>
            <ac:spMk id="2" creationId="{3024AE52-D837-EC62-5CFA-97F430EF496D}"/>
          </ac:spMkLst>
        </pc:spChg>
      </pc:sldChg>
      <pc:sldChg chg="modSp add mod">
        <pc:chgData name="Jesse, Kevin" userId="6f05423f-cf98-4c12-b626-169f8a1317c4" providerId="ADAL" clId="{5B016C18-BB1B-D648-AFD4-DFDB0154598C}" dt="2025-08-25T14:22:32.240" v="311" actId="20577"/>
        <pc:sldMkLst>
          <pc:docMk/>
          <pc:sldMk cId="401554703" sldId="326"/>
        </pc:sldMkLst>
        <pc:spChg chg="mod">
          <ac:chgData name="Jesse, Kevin" userId="6f05423f-cf98-4c12-b626-169f8a1317c4" providerId="ADAL" clId="{5B016C18-BB1B-D648-AFD4-DFDB0154598C}" dt="2025-08-25T14:22:32.240" v="311" actId="20577"/>
          <ac:spMkLst>
            <pc:docMk/>
            <pc:sldMk cId="401554703" sldId="326"/>
            <ac:spMk id="2" creationId="{4E517DAD-2CA0-DD49-3B3F-AEC26F299D2D}"/>
          </ac:spMkLst>
        </pc:spChg>
      </pc:sldChg>
      <pc:sldChg chg="new del">
        <pc:chgData name="Jesse, Kevin" userId="6f05423f-cf98-4c12-b626-169f8a1317c4" providerId="ADAL" clId="{5B016C18-BB1B-D648-AFD4-DFDB0154598C}" dt="2025-08-25T14:24:10.724" v="471" actId="2696"/>
        <pc:sldMkLst>
          <pc:docMk/>
          <pc:sldMk cId="3982938909" sldId="327"/>
        </pc:sldMkLst>
      </pc:sldChg>
      <pc:sldChg chg="addSp delSp modSp new mod">
        <pc:chgData name="Jesse, Kevin" userId="6f05423f-cf98-4c12-b626-169f8a1317c4" providerId="ADAL" clId="{5B016C18-BB1B-D648-AFD4-DFDB0154598C}" dt="2025-08-25T19:53:22.191" v="1295" actId="478"/>
        <pc:sldMkLst>
          <pc:docMk/>
          <pc:sldMk cId="996748312" sldId="328"/>
        </pc:sldMkLst>
        <pc:spChg chg="mod">
          <ac:chgData name="Jesse, Kevin" userId="6f05423f-cf98-4c12-b626-169f8a1317c4" providerId="ADAL" clId="{5B016C18-BB1B-D648-AFD4-DFDB0154598C}" dt="2025-08-25T19:19:50.243" v="955" actId="20577"/>
          <ac:spMkLst>
            <pc:docMk/>
            <pc:sldMk cId="996748312" sldId="328"/>
            <ac:spMk id="2" creationId="{9E57113E-D612-92F5-35BB-5F58625E1268}"/>
          </ac:spMkLst>
        </pc:spChg>
        <pc:spChg chg="mod">
          <ac:chgData name="Jesse, Kevin" userId="6f05423f-cf98-4c12-b626-169f8a1317c4" providerId="ADAL" clId="{5B016C18-BB1B-D648-AFD4-DFDB0154598C}" dt="2025-08-25T19:36:34.352" v="1186" actId="1076"/>
          <ac:spMkLst>
            <pc:docMk/>
            <pc:sldMk cId="996748312" sldId="328"/>
            <ac:spMk id="3" creationId="{534CA1C3-18A2-3FC2-4EF9-591EADB1CCBB}"/>
          </ac:spMkLst>
        </pc:spChg>
        <pc:spChg chg="mod">
          <ac:chgData name="Jesse, Kevin" userId="6f05423f-cf98-4c12-b626-169f8a1317c4" providerId="ADAL" clId="{5B016C18-BB1B-D648-AFD4-DFDB0154598C}" dt="2025-08-25T19:40:39.077" v="1269" actId="164"/>
          <ac:spMkLst>
            <pc:docMk/>
            <pc:sldMk cId="996748312" sldId="328"/>
            <ac:spMk id="106" creationId="{20AE342E-13F6-950C-0F77-F0D8440E6B9C}"/>
          </ac:spMkLst>
        </pc:spChg>
        <pc:spChg chg="add mod">
          <ac:chgData name="Jesse, Kevin" userId="6f05423f-cf98-4c12-b626-169f8a1317c4" providerId="ADAL" clId="{5B016C18-BB1B-D648-AFD4-DFDB0154598C}" dt="2025-08-25T19:40:39.077" v="1269" actId="164"/>
          <ac:spMkLst>
            <pc:docMk/>
            <pc:sldMk cId="996748312" sldId="328"/>
            <ac:spMk id="107" creationId="{6E0C6985-046C-D274-0DBE-127C4C683C52}"/>
          </ac:spMkLst>
        </pc:spChg>
        <pc:spChg chg="mod">
          <ac:chgData name="Jesse, Kevin" userId="6f05423f-cf98-4c12-b626-169f8a1317c4" providerId="ADAL" clId="{5B016C18-BB1B-D648-AFD4-DFDB0154598C}" dt="2025-08-25T19:40:39.077" v="1269" actId="164"/>
          <ac:spMkLst>
            <pc:docMk/>
            <pc:sldMk cId="996748312" sldId="328"/>
            <ac:spMk id="108" creationId="{C1B43463-438F-6505-4514-4CC159D31863}"/>
          </ac:spMkLst>
        </pc:spChg>
        <pc:spChg chg="add mod">
          <ac:chgData name="Jesse, Kevin" userId="6f05423f-cf98-4c12-b626-169f8a1317c4" providerId="ADAL" clId="{5B016C18-BB1B-D648-AFD4-DFDB0154598C}" dt="2025-08-25T19:40:39.077" v="1269" actId="164"/>
          <ac:spMkLst>
            <pc:docMk/>
            <pc:sldMk cId="996748312" sldId="328"/>
            <ac:spMk id="109" creationId="{FB5890BD-54C8-96A6-C9E1-B50E94210DB7}"/>
          </ac:spMkLst>
        </pc:spChg>
        <pc:spChg chg="add mod">
          <ac:chgData name="Jesse, Kevin" userId="6f05423f-cf98-4c12-b626-169f8a1317c4" providerId="ADAL" clId="{5B016C18-BB1B-D648-AFD4-DFDB0154598C}" dt="2025-08-25T19:40:39.077" v="1269" actId="164"/>
          <ac:spMkLst>
            <pc:docMk/>
            <pc:sldMk cId="996748312" sldId="328"/>
            <ac:spMk id="110" creationId="{9A24BFFC-17F8-AECB-CBA2-FBC8C18EB9A2}"/>
          </ac:spMkLst>
        </pc:spChg>
        <pc:spChg chg="mod">
          <ac:chgData name="Jesse, Kevin" userId="6f05423f-cf98-4c12-b626-169f8a1317c4" providerId="ADAL" clId="{5B016C18-BB1B-D648-AFD4-DFDB0154598C}" dt="2025-08-25T19:40:39.077" v="1269" actId="164"/>
          <ac:spMkLst>
            <pc:docMk/>
            <pc:sldMk cId="996748312" sldId="328"/>
            <ac:spMk id="111" creationId="{094908C0-9F99-F35C-ED5A-5F25B4763F12}"/>
          </ac:spMkLst>
        </pc:spChg>
        <pc:spChg chg="add mod">
          <ac:chgData name="Jesse, Kevin" userId="6f05423f-cf98-4c12-b626-169f8a1317c4" providerId="ADAL" clId="{5B016C18-BB1B-D648-AFD4-DFDB0154598C}" dt="2025-08-25T19:41:10.370" v="1289" actId="404"/>
          <ac:spMkLst>
            <pc:docMk/>
            <pc:sldMk cId="996748312" sldId="328"/>
            <ac:spMk id="133" creationId="{9C4CB560-E91B-6F54-E3AD-2D2382E66FD7}"/>
          </ac:spMkLst>
        </pc:spChg>
        <pc:spChg chg="mod">
          <ac:chgData name="Jesse, Kevin" userId="6f05423f-cf98-4c12-b626-169f8a1317c4" providerId="ADAL" clId="{5B016C18-BB1B-D648-AFD4-DFDB0154598C}" dt="2025-08-25T19:40:58.955" v="1281" actId="404"/>
          <ac:spMkLst>
            <pc:docMk/>
            <pc:sldMk cId="996748312" sldId="328"/>
            <ac:spMk id="134" creationId="{A1AEA3B1-4852-8B36-EFA5-268D179A8DAD}"/>
          </ac:spMkLst>
        </pc:spChg>
        <pc:spChg chg="add mod">
          <ac:chgData name="Jesse, Kevin" userId="6f05423f-cf98-4c12-b626-169f8a1317c4" providerId="ADAL" clId="{5B016C18-BB1B-D648-AFD4-DFDB0154598C}" dt="2025-08-25T19:41:13.304" v="1290" actId="403"/>
          <ac:spMkLst>
            <pc:docMk/>
            <pc:sldMk cId="996748312" sldId="328"/>
            <ac:spMk id="135" creationId="{B96765B7-17A9-FCBE-40E0-EDFCE93CB709}"/>
          </ac:spMkLst>
        </pc:spChg>
        <pc:spChg chg="mod">
          <ac:chgData name="Jesse, Kevin" userId="6f05423f-cf98-4c12-b626-169f8a1317c4" providerId="ADAL" clId="{5B016C18-BB1B-D648-AFD4-DFDB0154598C}" dt="2025-08-25T19:41:17.284" v="1291" actId="255"/>
          <ac:spMkLst>
            <pc:docMk/>
            <pc:sldMk cId="996748312" sldId="328"/>
            <ac:spMk id="136" creationId="{1FC2ED13-9E1F-4D4E-18D7-4290A8F6CC85}"/>
          </ac:spMkLst>
        </pc:spChg>
        <pc:spChg chg="mod">
          <ac:chgData name="Jesse, Kevin" userId="6f05423f-cf98-4c12-b626-169f8a1317c4" providerId="ADAL" clId="{5B016C18-BB1B-D648-AFD4-DFDB0154598C}" dt="2025-08-25T19:41:24.185" v="1292" actId="255"/>
          <ac:spMkLst>
            <pc:docMk/>
            <pc:sldMk cId="996748312" sldId="328"/>
            <ac:spMk id="137" creationId="{F209B873-593F-9CB3-FA6D-F4C659E28FD3}"/>
          </ac:spMkLst>
        </pc:spChg>
        <pc:spChg chg="add mod">
          <ac:chgData name="Jesse, Kevin" userId="6f05423f-cf98-4c12-b626-169f8a1317c4" providerId="ADAL" clId="{5B016C18-BB1B-D648-AFD4-DFDB0154598C}" dt="2025-08-25T19:34:44.106" v="1083" actId="20577"/>
          <ac:spMkLst>
            <pc:docMk/>
            <pc:sldMk cId="996748312" sldId="328"/>
            <ac:spMk id="138" creationId="{2EE359B1-AD0B-AE29-B739-569791F18047}"/>
          </ac:spMkLst>
        </pc:spChg>
        <pc:grpChg chg="mod">
          <ac:chgData name="Jesse, Kevin" userId="6f05423f-cf98-4c12-b626-169f8a1317c4" providerId="ADAL" clId="{5B016C18-BB1B-D648-AFD4-DFDB0154598C}" dt="2025-08-25T19:41:28.854" v="1293" actId="1076"/>
          <ac:grpSpMkLst>
            <pc:docMk/>
            <pc:sldMk cId="996748312" sldId="328"/>
            <ac:grpSpMk id="139" creationId="{04AD5D3B-A89F-A765-3A70-9B663FE8EA3B}"/>
          </ac:grpSpMkLst>
        </pc:grpChg>
        <pc:picChg chg="mod">
          <ac:chgData name="Jesse, Kevin" userId="6f05423f-cf98-4c12-b626-169f8a1317c4" providerId="ADAL" clId="{5B016C18-BB1B-D648-AFD4-DFDB0154598C}" dt="2025-08-25T19:38:58.256" v="1264" actId="14826"/>
          <ac:picMkLst>
            <pc:docMk/>
            <pc:sldMk cId="996748312" sldId="328"/>
            <ac:picMk id="113" creationId="{F4CA2CBA-211C-79EE-BE3B-3268A2E96565}"/>
          </ac:picMkLst>
        </pc:picChg>
        <pc:picChg chg="mod">
          <ac:chgData name="Jesse, Kevin" userId="6f05423f-cf98-4c12-b626-169f8a1317c4" providerId="ADAL" clId="{5B016C18-BB1B-D648-AFD4-DFDB0154598C}" dt="2025-08-25T19:39:53.413" v="1266" actId="14826"/>
          <ac:picMkLst>
            <pc:docMk/>
            <pc:sldMk cId="996748312" sldId="328"/>
            <ac:picMk id="121" creationId="{B46211C4-21BA-9114-7702-E39E487DE9D0}"/>
          </ac:picMkLst>
        </pc:picChg>
        <pc:picChg chg="mod">
          <ac:chgData name="Jesse, Kevin" userId="6f05423f-cf98-4c12-b626-169f8a1317c4" providerId="ADAL" clId="{5B016C18-BB1B-D648-AFD4-DFDB0154598C}" dt="2025-08-25T19:40:13.638" v="1267" actId="14826"/>
          <ac:picMkLst>
            <pc:docMk/>
            <pc:sldMk cId="996748312" sldId="328"/>
            <ac:picMk id="125" creationId="{FCF2DBD4-CDB1-DBB5-3D55-D4D2CF304D7A}"/>
          </ac:picMkLst>
        </pc:picChg>
        <pc:picChg chg="mod">
          <ac:chgData name="Jesse, Kevin" userId="6f05423f-cf98-4c12-b626-169f8a1317c4" providerId="ADAL" clId="{5B016C18-BB1B-D648-AFD4-DFDB0154598C}" dt="2025-08-25T19:40:30.828" v="1268" actId="14826"/>
          <ac:picMkLst>
            <pc:docMk/>
            <pc:sldMk cId="996748312" sldId="328"/>
            <ac:picMk id="129" creationId="{72215554-F306-AB67-A8F1-2BBF5C5BCB71}"/>
          </ac:picMkLst>
        </pc:picChg>
      </pc:sldChg>
      <pc:sldChg chg="new del">
        <pc:chgData name="Jesse, Kevin" userId="6f05423f-cf98-4c12-b626-169f8a1317c4" providerId="ADAL" clId="{5B016C18-BB1B-D648-AFD4-DFDB0154598C}" dt="2025-08-25T14:24:20.515" v="474" actId="2696"/>
        <pc:sldMkLst>
          <pc:docMk/>
          <pc:sldMk cId="3869544099" sldId="329"/>
        </pc:sldMkLst>
      </pc:sldChg>
      <pc:sldChg chg="modSp new mod">
        <pc:chgData name="Jesse, Kevin" userId="6f05423f-cf98-4c12-b626-169f8a1317c4" providerId="ADAL" clId="{5B016C18-BB1B-D648-AFD4-DFDB0154598C}" dt="2025-08-25T14:25:00.648" v="632" actId="20577"/>
        <pc:sldMkLst>
          <pc:docMk/>
          <pc:sldMk cId="2499159629" sldId="330"/>
        </pc:sldMkLst>
        <pc:spChg chg="mod">
          <ac:chgData name="Jesse, Kevin" userId="6f05423f-cf98-4c12-b626-169f8a1317c4" providerId="ADAL" clId="{5B016C18-BB1B-D648-AFD4-DFDB0154598C}" dt="2025-08-25T14:24:30.724" v="510" actId="20577"/>
          <ac:spMkLst>
            <pc:docMk/>
            <pc:sldMk cId="2499159629" sldId="330"/>
            <ac:spMk id="2" creationId="{77645F8F-7007-E90B-85B7-488509D8A5A7}"/>
          </ac:spMkLst>
        </pc:spChg>
        <pc:spChg chg="mod">
          <ac:chgData name="Jesse, Kevin" userId="6f05423f-cf98-4c12-b626-169f8a1317c4" providerId="ADAL" clId="{5B016C18-BB1B-D648-AFD4-DFDB0154598C}" dt="2025-08-25T14:25:00.648" v="632" actId="20577"/>
          <ac:spMkLst>
            <pc:docMk/>
            <pc:sldMk cId="2499159629" sldId="330"/>
            <ac:spMk id="3" creationId="{FAA9E0E3-7BD7-E554-C0AA-621C61ADFDBE}"/>
          </ac:spMkLst>
        </pc:spChg>
      </pc:sldChg>
      <pc:sldChg chg="addSp delSp modSp add mod">
        <pc:chgData name="Jesse, Kevin" userId="6f05423f-cf98-4c12-b626-169f8a1317c4" providerId="ADAL" clId="{5B016C18-BB1B-D648-AFD4-DFDB0154598C}" dt="2025-08-25T19:57:02.541" v="1348" actId="20577"/>
        <pc:sldMkLst>
          <pc:docMk/>
          <pc:sldMk cId="299911052" sldId="331"/>
        </pc:sldMkLst>
        <pc:spChg chg="add mod">
          <ac:chgData name="Jesse, Kevin" userId="6f05423f-cf98-4c12-b626-169f8a1317c4" providerId="ADAL" clId="{5B016C18-BB1B-D648-AFD4-DFDB0154598C}" dt="2025-08-25T19:57:02.541" v="1348" actId="20577"/>
          <ac:spMkLst>
            <pc:docMk/>
            <pc:sldMk cId="299911052" sldId="331"/>
            <ac:spMk id="6" creationId="{FD450FA9-883B-5BDD-59C2-A30A8C213395}"/>
          </ac:spMkLst>
        </pc:spChg>
        <pc:spChg chg="mod topLvl">
          <ac:chgData name="Jesse, Kevin" userId="6f05423f-cf98-4c12-b626-169f8a1317c4" providerId="ADAL" clId="{5B016C18-BB1B-D648-AFD4-DFDB0154598C}" dt="2025-08-25T19:56:45.405" v="1322" actId="14100"/>
          <ac:spMkLst>
            <pc:docMk/>
            <pc:sldMk cId="299911052" sldId="331"/>
            <ac:spMk id="106" creationId="{D23CA350-F8BD-43CF-72F0-17EF6D26C350}"/>
          </ac:spMkLst>
        </pc:spChg>
        <pc:spChg chg="mod topLvl">
          <ac:chgData name="Jesse, Kevin" userId="6f05423f-cf98-4c12-b626-169f8a1317c4" providerId="ADAL" clId="{5B016C18-BB1B-D648-AFD4-DFDB0154598C}" dt="2025-08-25T19:55:10.801" v="1313" actId="165"/>
          <ac:spMkLst>
            <pc:docMk/>
            <pc:sldMk cId="299911052" sldId="331"/>
            <ac:spMk id="107" creationId="{62973F71-7C2A-334F-214C-182381DE8C4F}"/>
          </ac:spMkLst>
        </pc:spChg>
        <pc:spChg chg="mod topLvl">
          <ac:chgData name="Jesse, Kevin" userId="6f05423f-cf98-4c12-b626-169f8a1317c4" providerId="ADAL" clId="{5B016C18-BB1B-D648-AFD4-DFDB0154598C}" dt="2025-08-25T19:55:10.801" v="1313" actId="165"/>
          <ac:spMkLst>
            <pc:docMk/>
            <pc:sldMk cId="299911052" sldId="331"/>
            <ac:spMk id="108" creationId="{B4E92416-647A-059F-BAD1-7F3C2BA2993A}"/>
          </ac:spMkLst>
        </pc:spChg>
        <pc:spChg chg="mod topLvl">
          <ac:chgData name="Jesse, Kevin" userId="6f05423f-cf98-4c12-b626-169f8a1317c4" providerId="ADAL" clId="{5B016C18-BB1B-D648-AFD4-DFDB0154598C}" dt="2025-08-25T19:55:10.801" v="1313" actId="165"/>
          <ac:spMkLst>
            <pc:docMk/>
            <pc:sldMk cId="299911052" sldId="331"/>
            <ac:spMk id="109" creationId="{C9A0ADDC-4B21-2CCC-1109-EB38331B3DC8}"/>
          </ac:spMkLst>
        </pc:spChg>
        <pc:spChg chg="mod topLvl">
          <ac:chgData name="Jesse, Kevin" userId="6f05423f-cf98-4c12-b626-169f8a1317c4" providerId="ADAL" clId="{5B016C18-BB1B-D648-AFD4-DFDB0154598C}" dt="2025-08-25T19:55:10.801" v="1313" actId="165"/>
          <ac:spMkLst>
            <pc:docMk/>
            <pc:sldMk cId="299911052" sldId="331"/>
            <ac:spMk id="110" creationId="{195B8DE1-E2FF-5395-5B0A-98571A8E4C57}"/>
          </ac:spMkLst>
        </pc:spChg>
        <pc:spChg chg="mod topLvl">
          <ac:chgData name="Jesse, Kevin" userId="6f05423f-cf98-4c12-b626-169f8a1317c4" providerId="ADAL" clId="{5B016C18-BB1B-D648-AFD4-DFDB0154598C}" dt="2025-08-25T19:55:10.801" v="1313" actId="165"/>
          <ac:spMkLst>
            <pc:docMk/>
            <pc:sldMk cId="299911052" sldId="331"/>
            <ac:spMk id="111" creationId="{0D1192DA-5177-E16F-7B03-1CBD92C62355}"/>
          </ac:spMkLst>
        </pc:spChg>
        <pc:spChg chg="mod topLvl">
          <ac:chgData name="Jesse, Kevin" userId="6f05423f-cf98-4c12-b626-169f8a1317c4" providerId="ADAL" clId="{5B016C18-BB1B-D648-AFD4-DFDB0154598C}" dt="2025-08-25T19:55:40.807" v="1315" actId="553"/>
          <ac:spMkLst>
            <pc:docMk/>
            <pc:sldMk cId="299911052" sldId="331"/>
            <ac:spMk id="133" creationId="{D28841A9-A50E-0EE4-E602-7598ED334C15}"/>
          </ac:spMkLst>
        </pc:spChg>
        <pc:spChg chg="mod topLvl">
          <ac:chgData name="Jesse, Kevin" userId="6f05423f-cf98-4c12-b626-169f8a1317c4" providerId="ADAL" clId="{5B016C18-BB1B-D648-AFD4-DFDB0154598C}" dt="2025-08-25T19:55:40.807" v="1315" actId="553"/>
          <ac:spMkLst>
            <pc:docMk/>
            <pc:sldMk cId="299911052" sldId="331"/>
            <ac:spMk id="134" creationId="{39F996C2-9F3C-0BAD-0DE8-93B41484A459}"/>
          </ac:spMkLst>
        </pc:spChg>
        <pc:spChg chg="mod topLvl">
          <ac:chgData name="Jesse, Kevin" userId="6f05423f-cf98-4c12-b626-169f8a1317c4" providerId="ADAL" clId="{5B016C18-BB1B-D648-AFD4-DFDB0154598C}" dt="2025-08-25T19:55:40.807" v="1315" actId="553"/>
          <ac:spMkLst>
            <pc:docMk/>
            <pc:sldMk cId="299911052" sldId="331"/>
            <ac:spMk id="135" creationId="{0CF989DF-E1D4-976B-CA3D-F92DFF2136C2}"/>
          </ac:spMkLst>
        </pc:spChg>
        <pc:spChg chg="mod topLvl">
          <ac:chgData name="Jesse, Kevin" userId="6f05423f-cf98-4c12-b626-169f8a1317c4" providerId="ADAL" clId="{5B016C18-BB1B-D648-AFD4-DFDB0154598C}" dt="2025-08-25T19:55:40.807" v="1315" actId="553"/>
          <ac:spMkLst>
            <pc:docMk/>
            <pc:sldMk cId="299911052" sldId="331"/>
            <ac:spMk id="136" creationId="{DDC3CF3E-A774-B481-BF78-B675393070AA}"/>
          </ac:spMkLst>
        </pc:spChg>
        <pc:spChg chg="mod">
          <ac:chgData name="Jesse, Kevin" userId="6f05423f-cf98-4c12-b626-169f8a1317c4" providerId="ADAL" clId="{5B016C18-BB1B-D648-AFD4-DFDB0154598C}" dt="2025-08-25T19:55:40.807" v="1315" actId="553"/>
          <ac:spMkLst>
            <pc:docMk/>
            <pc:sldMk cId="299911052" sldId="331"/>
            <ac:spMk id="137" creationId="{492B25D2-71D5-F7D7-2B47-AEEE9DFB6B37}"/>
          </ac:spMkLst>
        </pc:spChg>
        <pc:spChg chg="mod">
          <ac:chgData name="Jesse, Kevin" userId="6f05423f-cf98-4c12-b626-169f8a1317c4" providerId="ADAL" clId="{5B016C18-BB1B-D648-AFD4-DFDB0154598C}" dt="2025-08-25T19:56:49.497" v="1323" actId="1076"/>
          <ac:spMkLst>
            <pc:docMk/>
            <pc:sldMk cId="299911052" sldId="331"/>
            <ac:spMk id="138" creationId="{6E93701C-1796-53B5-3B9B-2D2E9CDB965F}"/>
          </ac:spMkLst>
        </pc:spChg>
        <pc:picChg chg="add mod">
          <ac:chgData name="Jesse, Kevin" userId="6f05423f-cf98-4c12-b626-169f8a1317c4" providerId="ADAL" clId="{5B016C18-BB1B-D648-AFD4-DFDB0154598C}" dt="2025-08-25T19:56:34.590" v="1321" actId="1076"/>
          <ac:picMkLst>
            <pc:docMk/>
            <pc:sldMk cId="299911052" sldId="331"/>
            <ac:picMk id="5" creationId="{33BF2630-B11B-F3C5-9857-4331C473D03F}"/>
          </ac:picMkLst>
        </pc:picChg>
        <pc:picChg chg="mod">
          <ac:chgData name="Jesse, Kevin" userId="6f05423f-cf98-4c12-b626-169f8a1317c4" providerId="ADAL" clId="{5B016C18-BB1B-D648-AFD4-DFDB0154598C}" dt="2025-08-25T19:55:26.175" v="1314" actId="688"/>
          <ac:picMkLst>
            <pc:docMk/>
            <pc:sldMk cId="299911052" sldId="331"/>
            <ac:picMk id="113" creationId="{A7769189-E9F1-BEC9-B35E-C50377331109}"/>
          </ac:picMkLst>
        </pc:picChg>
        <pc:picChg chg="mod">
          <ac:chgData name="Jesse, Kevin" userId="6f05423f-cf98-4c12-b626-169f8a1317c4" providerId="ADAL" clId="{5B016C18-BB1B-D648-AFD4-DFDB0154598C}" dt="2025-08-25T19:55:26.175" v="1314" actId="688"/>
          <ac:picMkLst>
            <pc:docMk/>
            <pc:sldMk cId="299911052" sldId="331"/>
            <ac:picMk id="117" creationId="{6391BE2E-9BDE-B16D-F872-46ACE618521B}"/>
          </ac:picMkLst>
        </pc:picChg>
        <pc:picChg chg="mod">
          <ac:chgData name="Jesse, Kevin" userId="6f05423f-cf98-4c12-b626-169f8a1317c4" providerId="ADAL" clId="{5B016C18-BB1B-D648-AFD4-DFDB0154598C}" dt="2025-08-25T19:55:26.175" v="1314" actId="688"/>
          <ac:picMkLst>
            <pc:docMk/>
            <pc:sldMk cId="299911052" sldId="331"/>
            <ac:picMk id="121" creationId="{684F3380-B0CF-BE71-5DC4-8029332F01AF}"/>
          </ac:picMkLst>
        </pc:picChg>
        <pc:picChg chg="mod">
          <ac:chgData name="Jesse, Kevin" userId="6f05423f-cf98-4c12-b626-169f8a1317c4" providerId="ADAL" clId="{5B016C18-BB1B-D648-AFD4-DFDB0154598C}" dt="2025-08-25T19:55:26.175" v="1314" actId="688"/>
          <ac:picMkLst>
            <pc:docMk/>
            <pc:sldMk cId="299911052" sldId="331"/>
            <ac:picMk id="125" creationId="{F4A8FAD8-0CED-B856-1DBF-846BBE7D60E3}"/>
          </ac:picMkLst>
        </pc:picChg>
        <pc:picChg chg="mod">
          <ac:chgData name="Jesse, Kevin" userId="6f05423f-cf98-4c12-b626-169f8a1317c4" providerId="ADAL" clId="{5B016C18-BB1B-D648-AFD4-DFDB0154598C}" dt="2025-08-25T19:55:26.175" v="1314" actId="688"/>
          <ac:picMkLst>
            <pc:docMk/>
            <pc:sldMk cId="299911052" sldId="331"/>
            <ac:picMk id="129" creationId="{FED32937-AF34-900B-CDDD-525330700547}"/>
          </ac:picMkLst>
        </pc:picChg>
      </pc:sldChg>
    </pc:docChg>
  </pc:docChgLst>
  <pc:docChgLst>
    <pc:chgData name="Jesse, Kevin" userId="6f05423f-cf98-4c12-b626-169f8a1317c4" providerId="ADAL" clId="{C12DEDC2-730C-5A22-9CCF-730A792D7847}"/>
    <pc:docChg chg="undo redo custSel addSld delSld modSld sldOrd addSection delSection modSection">
      <pc:chgData name="Jesse, Kevin" userId="6f05423f-cf98-4c12-b626-169f8a1317c4" providerId="ADAL" clId="{C12DEDC2-730C-5A22-9CCF-730A792D7847}" dt="2025-09-19T10:51:03.809" v="33201"/>
      <pc:docMkLst>
        <pc:docMk/>
      </pc:docMkLst>
      <pc:sldChg chg="add">
        <pc:chgData name="Jesse, Kevin" userId="6f05423f-cf98-4c12-b626-169f8a1317c4" providerId="ADAL" clId="{C12DEDC2-730C-5A22-9CCF-730A792D7847}" dt="2025-09-08T20:23:36.135" v="30811"/>
        <pc:sldMkLst>
          <pc:docMk/>
          <pc:sldMk cId="3514933704" sldId="256"/>
        </pc:sldMkLst>
      </pc:sldChg>
      <pc:sldChg chg="add">
        <pc:chgData name="Jesse, Kevin" userId="6f05423f-cf98-4c12-b626-169f8a1317c4" providerId="ADAL" clId="{C12DEDC2-730C-5A22-9CCF-730A792D7847}" dt="2025-09-08T20:23:36.135" v="30811"/>
        <pc:sldMkLst>
          <pc:docMk/>
          <pc:sldMk cId="1722578032" sldId="257"/>
        </pc:sldMkLst>
      </pc:sldChg>
      <pc:sldChg chg="add">
        <pc:chgData name="Jesse, Kevin" userId="6f05423f-cf98-4c12-b626-169f8a1317c4" providerId="ADAL" clId="{C12DEDC2-730C-5A22-9CCF-730A792D7847}" dt="2025-09-08T20:23:36.135" v="30811"/>
        <pc:sldMkLst>
          <pc:docMk/>
          <pc:sldMk cId="2085052459" sldId="258"/>
        </pc:sldMkLst>
      </pc:sldChg>
      <pc:sldChg chg="add">
        <pc:chgData name="Jesse, Kevin" userId="6f05423f-cf98-4c12-b626-169f8a1317c4" providerId="ADAL" clId="{C12DEDC2-730C-5A22-9CCF-730A792D7847}" dt="2025-09-08T20:23:36.135" v="30811"/>
        <pc:sldMkLst>
          <pc:docMk/>
          <pc:sldMk cId="3148236312" sldId="259"/>
        </pc:sldMkLst>
      </pc:sldChg>
      <pc:sldChg chg="add">
        <pc:chgData name="Jesse, Kevin" userId="6f05423f-cf98-4c12-b626-169f8a1317c4" providerId="ADAL" clId="{C12DEDC2-730C-5A22-9CCF-730A792D7847}" dt="2025-09-08T20:23:36.135" v="30811"/>
        <pc:sldMkLst>
          <pc:docMk/>
          <pc:sldMk cId="1258918686" sldId="260"/>
        </pc:sldMkLst>
      </pc:sldChg>
      <pc:sldChg chg="add">
        <pc:chgData name="Jesse, Kevin" userId="6f05423f-cf98-4c12-b626-169f8a1317c4" providerId="ADAL" clId="{C12DEDC2-730C-5A22-9CCF-730A792D7847}" dt="2025-09-08T20:23:36.135" v="30811"/>
        <pc:sldMkLst>
          <pc:docMk/>
          <pc:sldMk cId="3901228856" sldId="261"/>
        </pc:sldMkLst>
      </pc:sldChg>
      <pc:sldChg chg="modSp add del mod">
        <pc:chgData name="Jesse, Kevin" userId="6f05423f-cf98-4c12-b626-169f8a1317c4" providerId="ADAL" clId="{C12DEDC2-730C-5A22-9CCF-730A792D7847}" dt="2025-09-16T17:54:47.946" v="32054" actId="2696"/>
        <pc:sldMkLst>
          <pc:docMk/>
          <pc:sldMk cId="1600543369" sldId="262"/>
        </pc:sldMkLst>
      </pc:sldChg>
      <pc:sldChg chg="add">
        <pc:chgData name="Jesse, Kevin" userId="6f05423f-cf98-4c12-b626-169f8a1317c4" providerId="ADAL" clId="{C12DEDC2-730C-5A22-9CCF-730A792D7847}" dt="2025-09-16T17:56:02.052" v="32055"/>
        <pc:sldMkLst>
          <pc:docMk/>
          <pc:sldMk cId="1695014055" sldId="262"/>
        </pc:sldMkLst>
      </pc:sldChg>
      <pc:sldChg chg="add del mod modShow">
        <pc:chgData name="Jesse, Kevin" userId="6f05423f-cf98-4c12-b626-169f8a1317c4" providerId="ADAL" clId="{C12DEDC2-730C-5A22-9CCF-730A792D7847}" dt="2025-09-16T17:52:12.460" v="31908" actId="2696"/>
        <pc:sldMkLst>
          <pc:docMk/>
          <pc:sldMk cId="4063329044" sldId="262"/>
        </pc:sldMkLst>
      </pc:sldChg>
      <pc:sldChg chg="modSp add mod">
        <pc:chgData name="Jesse, Kevin" userId="6f05423f-cf98-4c12-b626-169f8a1317c4" providerId="ADAL" clId="{C12DEDC2-730C-5A22-9CCF-730A792D7847}" dt="2025-09-08T20:30:39.716" v="30879" actId="20577"/>
        <pc:sldMkLst>
          <pc:docMk/>
          <pc:sldMk cId="4275277485" sldId="263"/>
        </pc:sldMkLst>
        <pc:spChg chg="mod">
          <ac:chgData name="Jesse, Kevin" userId="6f05423f-cf98-4c12-b626-169f8a1317c4" providerId="ADAL" clId="{C12DEDC2-730C-5A22-9CCF-730A792D7847}" dt="2025-09-08T20:30:39.716" v="30879" actId="20577"/>
          <ac:spMkLst>
            <pc:docMk/>
            <pc:sldMk cId="4275277485" sldId="263"/>
            <ac:spMk id="10" creationId="{EBAB7A95-0AF7-2AAD-6531-ECEF15891566}"/>
          </ac:spMkLst>
        </pc:spChg>
      </pc:sldChg>
      <pc:sldChg chg="add">
        <pc:chgData name="Jesse, Kevin" userId="6f05423f-cf98-4c12-b626-169f8a1317c4" providerId="ADAL" clId="{C12DEDC2-730C-5A22-9CCF-730A792D7847}" dt="2025-09-16T17:42:52.562" v="30947"/>
        <pc:sldMkLst>
          <pc:docMk/>
          <pc:sldMk cId="3212178008" sldId="264"/>
        </pc:sldMkLst>
      </pc:sldChg>
      <pc:sldChg chg="modSp new del mod">
        <pc:chgData name="Jesse, Kevin" userId="6f05423f-cf98-4c12-b626-169f8a1317c4" providerId="ADAL" clId="{C12DEDC2-730C-5A22-9CCF-730A792D7847}" dt="2025-09-16T17:42:45.767" v="30946" actId="2696"/>
        <pc:sldMkLst>
          <pc:docMk/>
          <pc:sldMk cId="3460996990" sldId="264"/>
        </pc:sldMkLst>
      </pc:sldChg>
      <pc:sldChg chg="add">
        <pc:chgData name="Jesse, Kevin" userId="6f05423f-cf98-4c12-b626-169f8a1317c4" providerId="ADAL" clId="{C12DEDC2-730C-5A22-9CCF-730A792D7847}" dt="2025-09-15T12:52:39.793" v="30905"/>
        <pc:sldMkLst>
          <pc:docMk/>
          <pc:sldMk cId="4047346173" sldId="265"/>
        </pc:sldMkLst>
      </pc:sldChg>
      <pc:sldChg chg="delSp modSp add mod ord">
        <pc:chgData name="Jesse, Kevin" userId="6f05423f-cf98-4c12-b626-169f8a1317c4" providerId="ADAL" clId="{C12DEDC2-730C-5A22-9CCF-730A792D7847}" dt="2025-09-19T10:42:12.838" v="32107" actId="478"/>
        <pc:sldMkLst>
          <pc:docMk/>
          <pc:sldMk cId="3310668339" sldId="266"/>
        </pc:sldMkLst>
        <pc:spChg chg="mod">
          <ac:chgData name="Jesse, Kevin" userId="6f05423f-cf98-4c12-b626-169f8a1317c4" providerId="ADAL" clId="{C12DEDC2-730C-5A22-9CCF-730A792D7847}" dt="2025-09-19T10:42:08.623" v="32106" actId="20577"/>
          <ac:spMkLst>
            <pc:docMk/>
            <pc:sldMk cId="3310668339" sldId="266"/>
            <ac:spMk id="3" creationId="{CFF3CAED-B751-10C6-858F-FEDF19AB8F71}"/>
          </ac:spMkLst>
        </pc:spChg>
        <pc:spChg chg="del">
          <ac:chgData name="Jesse, Kevin" userId="6f05423f-cf98-4c12-b626-169f8a1317c4" providerId="ADAL" clId="{C12DEDC2-730C-5A22-9CCF-730A792D7847}" dt="2025-09-19T10:42:12.838" v="32107" actId="478"/>
          <ac:spMkLst>
            <pc:docMk/>
            <pc:sldMk cId="3310668339" sldId="266"/>
            <ac:spMk id="5" creationId="{39D83E93-F242-F423-FE17-316703B47E0B}"/>
          </ac:spMkLst>
        </pc:spChg>
      </pc:sldChg>
      <pc:sldChg chg="add">
        <pc:chgData name="Jesse, Kevin" userId="6f05423f-cf98-4c12-b626-169f8a1317c4" providerId="ADAL" clId="{C12DEDC2-730C-5A22-9CCF-730A792D7847}" dt="2025-09-08T20:23:36.135" v="30811"/>
        <pc:sldMkLst>
          <pc:docMk/>
          <pc:sldMk cId="1796114986" sldId="267"/>
        </pc:sldMkLst>
      </pc:sldChg>
      <pc:sldChg chg="modSp add mod">
        <pc:chgData name="Jesse, Kevin" userId="6f05423f-cf98-4c12-b626-169f8a1317c4" providerId="ADAL" clId="{C12DEDC2-730C-5A22-9CCF-730A792D7847}" dt="2025-09-15T12:53:38.693" v="30933" actId="20577"/>
        <pc:sldMkLst>
          <pc:docMk/>
          <pc:sldMk cId="557470918" sldId="268"/>
        </pc:sldMkLst>
        <pc:spChg chg="mod">
          <ac:chgData name="Jesse, Kevin" userId="6f05423f-cf98-4c12-b626-169f8a1317c4" providerId="ADAL" clId="{C12DEDC2-730C-5A22-9CCF-730A792D7847}" dt="2025-09-15T12:53:38.693" v="30933" actId="20577"/>
          <ac:spMkLst>
            <pc:docMk/>
            <pc:sldMk cId="557470918" sldId="268"/>
            <ac:spMk id="3" creationId="{77F231E8-76F3-BDB9-F8B1-06E8DAAA9390}"/>
          </ac:spMkLst>
        </pc:spChg>
      </pc:sldChg>
      <pc:sldChg chg="add">
        <pc:chgData name="Jesse, Kevin" userId="6f05423f-cf98-4c12-b626-169f8a1317c4" providerId="ADAL" clId="{C12DEDC2-730C-5A22-9CCF-730A792D7847}" dt="2025-09-16T17:39:42.419" v="30938"/>
        <pc:sldMkLst>
          <pc:docMk/>
          <pc:sldMk cId="2309806953" sldId="269"/>
        </pc:sldMkLst>
      </pc:sldChg>
      <pc:sldChg chg="add">
        <pc:chgData name="Jesse, Kevin" userId="6f05423f-cf98-4c12-b626-169f8a1317c4" providerId="ADAL" clId="{C12DEDC2-730C-5A22-9CCF-730A792D7847}" dt="2025-09-16T17:41:42.821" v="30940"/>
        <pc:sldMkLst>
          <pc:docMk/>
          <pc:sldMk cId="375735536" sldId="270"/>
        </pc:sldMkLst>
      </pc:sldChg>
      <pc:sldChg chg="add">
        <pc:chgData name="Jesse, Kevin" userId="6f05423f-cf98-4c12-b626-169f8a1317c4" providerId="ADAL" clId="{C12DEDC2-730C-5A22-9CCF-730A792D7847}" dt="2025-09-16T17:41:42.821" v="30940"/>
        <pc:sldMkLst>
          <pc:docMk/>
          <pc:sldMk cId="4122566078" sldId="271"/>
        </pc:sldMkLst>
      </pc:sldChg>
      <pc:sldChg chg="add">
        <pc:chgData name="Jesse, Kevin" userId="6f05423f-cf98-4c12-b626-169f8a1317c4" providerId="ADAL" clId="{C12DEDC2-730C-5A22-9CCF-730A792D7847}" dt="2025-09-16T17:41:42.821" v="30940"/>
        <pc:sldMkLst>
          <pc:docMk/>
          <pc:sldMk cId="4100219344" sldId="272"/>
        </pc:sldMkLst>
      </pc:sldChg>
      <pc:sldChg chg="add">
        <pc:chgData name="Jesse, Kevin" userId="6f05423f-cf98-4c12-b626-169f8a1317c4" providerId="ADAL" clId="{C12DEDC2-730C-5A22-9CCF-730A792D7847}" dt="2025-09-16T17:41:42.821" v="30940"/>
        <pc:sldMkLst>
          <pc:docMk/>
          <pc:sldMk cId="1636282384" sldId="273"/>
        </pc:sldMkLst>
      </pc:sldChg>
      <pc:sldChg chg="modSp add del mod">
        <pc:chgData name="Jesse, Kevin" userId="6f05423f-cf98-4c12-b626-169f8a1317c4" providerId="ADAL" clId="{C12DEDC2-730C-5A22-9CCF-730A792D7847}" dt="2025-09-16T17:54:47.946" v="32054" actId="2696"/>
        <pc:sldMkLst>
          <pc:docMk/>
          <pc:sldMk cId="906435953" sldId="274"/>
        </pc:sldMkLst>
      </pc:sldChg>
      <pc:sldChg chg="add">
        <pc:chgData name="Jesse, Kevin" userId="6f05423f-cf98-4c12-b626-169f8a1317c4" providerId="ADAL" clId="{C12DEDC2-730C-5A22-9CCF-730A792D7847}" dt="2025-09-16T17:56:28.503" v="32057"/>
        <pc:sldMkLst>
          <pc:docMk/>
          <pc:sldMk cId="1939431680" sldId="274"/>
        </pc:sldMkLst>
      </pc:sldChg>
      <pc:sldChg chg="add del">
        <pc:chgData name="Jesse, Kevin" userId="6f05423f-cf98-4c12-b626-169f8a1317c4" providerId="ADAL" clId="{C12DEDC2-730C-5A22-9CCF-730A792D7847}" dt="2025-09-16T17:56:06.036" v="32056" actId="2696"/>
        <pc:sldMkLst>
          <pc:docMk/>
          <pc:sldMk cId="3895305200" sldId="274"/>
        </pc:sldMkLst>
      </pc:sldChg>
      <pc:sldChg chg="add del">
        <pc:chgData name="Jesse, Kevin" userId="6f05423f-cf98-4c12-b626-169f8a1317c4" providerId="ADAL" clId="{C12DEDC2-730C-5A22-9CCF-730A792D7847}" dt="2025-09-16T17:56:06.036" v="32056" actId="2696"/>
        <pc:sldMkLst>
          <pc:docMk/>
          <pc:sldMk cId="1736274352" sldId="275"/>
        </pc:sldMkLst>
      </pc:sldChg>
      <pc:sldChg chg="add del">
        <pc:chgData name="Jesse, Kevin" userId="6f05423f-cf98-4c12-b626-169f8a1317c4" providerId="ADAL" clId="{C12DEDC2-730C-5A22-9CCF-730A792D7847}" dt="2025-09-16T17:56:31.484" v="32058" actId="2696"/>
        <pc:sldMkLst>
          <pc:docMk/>
          <pc:sldMk cId="2083624285" sldId="275"/>
        </pc:sldMkLst>
      </pc:sldChg>
      <pc:sldChg chg="modSp add del mod">
        <pc:chgData name="Jesse, Kevin" userId="6f05423f-cf98-4c12-b626-169f8a1317c4" providerId="ADAL" clId="{C12DEDC2-730C-5A22-9CCF-730A792D7847}" dt="2025-09-16T17:54:47.946" v="32054" actId="2696"/>
        <pc:sldMkLst>
          <pc:docMk/>
          <pc:sldMk cId="2261201765" sldId="275"/>
        </pc:sldMkLst>
      </pc:sldChg>
      <pc:sldChg chg="modSp add mod">
        <pc:chgData name="Jesse, Kevin" userId="6f05423f-cf98-4c12-b626-169f8a1317c4" providerId="ADAL" clId="{C12DEDC2-730C-5A22-9CCF-730A792D7847}" dt="2025-09-16T17:59:36.814" v="32084" actId="20577"/>
        <pc:sldMkLst>
          <pc:docMk/>
          <pc:sldMk cId="2622701189" sldId="275"/>
        </pc:sldMkLst>
        <pc:spChg chg="mod">
          <ac:chgData name="Jesse, Kevin" userId="6f05423f-cf98-4c12-b626-169f8a1317c4" providerId="ADAL" clId="{C12DEDC2-730C-5A22-9CCF-730A792D7847}" dt="2025-09-16T17:59:36.814" v="32084" actId="20577"/>
          <ac:spMkLst>
            <pc:docMk/>
            <pc:sldMk cId="2622701189" sldId="275"/>
            <ac:spMk id="2" creationId="{A3042C31-9EC8-74B7-65E7-6AA5A7AA0B51}"/>
          </ac:spMkLst>
        </pc:spChg>
      </pc:sldChg>
      <pc:sldChg chg="modSp add mod">
        <pc:chgData name="Jesse, Kevin" userId="6f05423f-cf98-4c12-b626-169f8a1317c4" providerId="ADAL" clId="{C12DEDC2-730C-5A22-9CCF-730A792D7847}" dt="2025-09-16T17:52:03.605" v="31907" actId="113"/>
        <pc:sldMkLst>
          <pc:docMk/>
          <pc:sldMk cId="2002451635" sldId="276"/>
        </pc:sldMkLst>
        <pc:spChg chg="mod">
          <ac:chgData name="Jesse, Kevin" userId="6f05423f-cf98-4c12-b626-169f8a1317c4" providerId="ADAL" clId="{C12DEDC2-730C-5A22-9CCF-730A792D7847}" dt="2025-09-16T17:49:17.177" v="31413" actId="404"/>
          <ac:spMkLst>
            <pc:docMk/>
            <pc:sldMk cId="2002451635" sldId="276"/>
            <ac:spMk id="2" creationId="{24D493E8-513E-E3DF-DB09-5F0F3914D84D}"/>
          </ac:spMkLst>
        </pc:spChg>
        <pc:spChg chg="mod">
          <ac:chgData name="Jesse, Kevin" userId="6f05423f-cf98-4c12-b626-169f8a1317c4" providerId="ADAL" clId="{C12DEDC2-730C-5A22-9CCF-730A792D7847}" dt="2025-09-16T17:52:03.605" v="31907" actId="113"/>
          <ac:spMkLst>
            <pc:docMk/>
            <pc:sldMk cId="2002451635" sldId="276"/>
            <ac:spMk id="4" creationId="{719886AB-8597-C407-4918-D18ECE2FFEC7}"/>
          </ac:spMkLst>
        </pc:spChg>
      </pc:sldChg>
      <pc:sldChg chg="modSp add mod">
        <pc:chgData name="Jesse, Kevin" userId="6f05423f-cf98-4c12-b626-169f8a1317c4" providerId="ADAL" clId="{C12DEDC2-730C-5A22-9CCF-730A792D7847}" dt="2025-09-16T17:59:23.492" v="32079" actId="20577"/>
        <pc:sldMkLst>
          <pc:docMk/>
          <pc:sldMk cId="1578373844" sldId="277"/>
        </pc:sldMkLst>
        <pc:spChg chg="mod">
          <ac:chgData name="Jesse, Kevin" userId="6f05423f-cf98-4c12-b626-169f8a1317c4" providerId="ADAL" clId="{C12DEDC2-730C-5A22-9CCF-730A792D7847}" dt="2025-09-16T17:59:23.492" v="32079" actId="20577"/>
          <ac:spMkLst>
            <pc:docMk/>
            <pc:sldMk cId="1578373844" sldId="277"/>
            <ac:spMk id="2" creationId="{26167F54-996C-2324-3EF4-2314CAB0325D}"/>
          </ac:spMkLst>
        </pc:spChg>
      </pc:sldChg>
      <pc:sldChg chg="add del">
        <pc:chgData name="Jesse, Kevin" userId="6f05423f-cf98-4c12-b626-169f8a1317c4" providerId="ADAL" clId="{C12DEDC2-730C-5A22-9CCF-730A792D7847}" dt="2025-09-16T17:56:31.484" v="32058" actId="2696"/>
        <pc:sldMkLst>
          <pc:docMk/>
          <pc:sldMk cId="1699337057" sldId="277"/>
        </pc:sldMkLst>
      </pc:sldChg>
      <pc:sldChg chg="add del">
        <pc:chgData name="Jesse, Kevin" userId="6f05423f-cf98-4c12-b626-169f8a1317c4" providerId="ADAL" clId="{C12DEDC2-730C-5A22-9CCF-730A792D7847}" dt="2025-09-16T17:56:06.036" v="32056" actId="2696"/>
        <pc:sldMkLst>
          <pc:docMk/>
          <pc:sldMk cId="1930618053" sldId="277"/>
        </pc:sldMkLst>
      </pc:sldChg>
      <pc:sldChg chg="modSp add del mod">
        <pc:chgData name="Jesse, Kevin" userId="6f05423f-cf98-4c12-b626-169f8a1317c4" providerId="ADAL" clId="{C12DEDC2-730C-5A22-9CCF-730A792D7847}" dt="2025-09-16T17:54:47.946" v="32054" actId="2696"/>
        <pc:sldMkLst>
          <pc:docMk/>
          <pc:sldMk cId="3941496954" sldId="277"/>
        </pc:sldMkLst>
      </pc:sldChg>
      <pc:sldChg chg="add del">
        <pc:chgData name="Jesse, Kevin" userId="6f05423f-cf98-4c12-b626-169f8a1317c4" providerId="ADAL" clId="{C12DEDC2-730C-5A22-9CCF-730A792D7847}" dt="2025-09-16T17:57:08.514" v="32060" actId="2696"/>
        <pc:sldMkLst>
          <pc:docMk/>
          <pc:sldMk cId="4262496848" sldId="277"/>
        </pc:sldMkLst>
      </pc:sldChg>
      <pc:sldChg chg="add del">
        <pc:chgData name="Jesse, Kevin" userId="6f05423f-cf98-4c12-b626-169f8a1317c4" providerId="ADAL" clId="{C12DEDC2-730C-5A22-9CCF-730A792D7847}" dt="2025-09-16T17:59:06.046" v="32063" actId="2696"/>
        <pc:sldMkLst>
          <pc:docMk/>
          <pc:sldMk cId="269235612" sldId="278"/>
        </pc:sldMkLst>
      </pc:sldChg>
      <pc:sldChg chg="add del">
        <pc:chgData name="Jesse, Kevin" userId="6f05423f-cf98-4c12-b626-169f8a1317c4" providerId="ADAL" clId="{C12DEDC2-730C-5A22-9CCF-730A792D7847}" dt="2025-09-16T17:54:43.146" v="32053" actId="2696"/>
        <pc:sldMkLst>
          <pc:docMk/>
          <pc:sldMk cId="2665986561" sldId="278"/>
        </pc:sldMkLst>
      </pc:sldChg>
      <pc:sldChg chg="add">
        <pc:chgData name="Jesse, Kevin" userId="6f05423f-cf98-4c12-b626-169f8a1317c4" providerId="ADAL" clId="{C12DEDC2-730C-5A22-9CCF-730A792D7847}" dt="2025-09-16T17:59:14.186" v="32064"/>
        <pc:sldMkLst>
          <pc:docMk/>
          <pc:sldMk cId="3407157942" sldId="278"/>
        </pc:sldMkLst>
      </pc:sldChg>
      <pc:sldChg chg="modSp add mod">
        <pc:chgData name="Jesse, Kevin" userId="6f05423f-cf98-4c12-b626-169f8a1317c4" providerId="ADAL" clId="{C12DEDC2-730C-5A22-9CCF-730A792D7847}" dt="2025-09-19T10:48:58.235" v="33200" actId="14100"/>
        <pc:sldMkLst>
          <pc:docMk/>
          <pc:sldMk cId="3077050344" sldId="279"/>
        </pc:sldMkLst>
        <pc:spChg chg="mod">
          <ac:chgData name="Jesse, Kevin" userId="6f05423f-cf98-4c12-b626-169f8a1317c4" providerId="ADAL" clId="{C12DEDC2-730C-5A22-9CCF-730A792D7847}" dt="2025-09-19T10:44:20.068" v="32380" actId="20577"/>
          <ac:spMkLst>
            <pc:docMk/>
            <pc:sldMk cId="3077050344" sldId="279"/>
            <ac:spMk id="2" creationId="{92D5F4FD-5A21-0BAA-4573-F92FCAE66715}"/>
          </ac:spMkLst>
        </pc:spChg>
        <pc:spChg chg="mod">
          <ac:chgData name="Jesse, Kevin" userId="6f05423f-cf98-4c12-b626-169f8a1317c4" providerId="ADAL" clId="{C12DEDC2-730C-5A22-9CCF-730A792D7847}" dt="2025-09-19T10:48:58.235" v="33200" actId="14100"/>
          <ac:spMkLst>
            <pc:docMk/>
            <pc:sldMk cId="3077050344" sldId="279"/>
            <ac:spMk id="4" creationId="{DE3D238F-633E-29CC-FB47-62C47F87D098}"/>
          </ac:spMkLst>
        </pc:spChg>
      </pc:sldChg>
      <pc:sldChg chg="add">
        <pc:chgData name="Jesse, Kevin" userId="6f05423f-cf98-4c12-b626-169f8a1317c4" providerId="ADAL" clId="{C12DEDC2-730C-5A22-9CCF-730A792D7847}" dt="2025-09-19T10:51:03.809" v="33201"/>
        <pc:sldMkLst>
          <pc:docMk/>
          <pc:sldMk cId="2774372466" sldId="280"/>
        </pc:sldMkLst>
      </pc:sldChg>
      <pc:sldChg chg="del">
        <pc:chgData name="Jesse, Kevin" userId="6f05423f-cf98-4c12-b626-169f8a1317c4" providerId="ADAL" clId="{C12DEDC2-730C-5A22-9CCF-730A792D7847}" dt="2025-09-08T20:25:16.569" v="30851" actId="2696"/>
        <pc:sldMkLst>
          <pc:docMk/>
          <pc:sldMk cId="2989843250" sldId="287"/>
        </pc:sldMkLst>
      </pc:sldChg>
      <pc:sldChg chg="modSp add mod">
        <pc:chgData name="Jesse, Kevin" userId="6f05423f-cf98-4c12-b626-169f8a1317c4" providerId="ADAL" clId="{C12DEDC2-730C-5A22-9CCF-730A792D7847}" dt="2025-09-16T17:53:01.135" v="31929" actId="20577"/>
        <pc:sldMkLst>
          <pc:docMk/>
          <pc:sldMk cId="3279978662" sldId="289"/>
        </pc:sldMkLst>
        <pc:spChg chg="mod">
          <ac:chgData name="Jesse, Kevin" userId="6f05423f-cf98-4c12-b626-169f8a1317c4" providerId="ADAL" clId="{C12DEDC2-730C-5A22-9CCF-730A792D7847}" dt="2025-09-16T17:53:01.135" v="31929" actId="20577"/>
          <ac:spMkLst>
            <pc:docMk/>
            <pc:sldMk cId="3279978662" sldId="289"/>
            <ac:spMk id="2" creationId="{E817F827-8EC9-81A4-3E03-060B84D39767}"/>
          </ac:spMkLst>
        </pc:spChg>
      </pc:sldChg>
      <pc:sldChg chg="modSp ord">
        <pc:chgData name="Jesse, Kevin" userId="6f05423f-cf98-4c12-b626-169f8a1317c4" providerId="ADAL" clId="{C12DEDC2-730C-5A22-9CCF-730A792D7847}" dt="2025-09-16T17:52:43.220" v="31912" actId="20578"/>
        <pc:sldMkLst>
          <pc:docMk/>
          <pc:sldMk cId="3125970053" sldId="290"/>
        </pc:sldMkLst>
        <pc:graphicFrameChg chg="mod">
          <ac:chgData name="Jesse, Kevin" userId="6f05423f-cf98-4c12-b626-169f8a1317c4" providerId="ADAL" clId="{C12DEDC2-730C-5A22-9CCF-730A792D7847}" dt="2025-09-08T19:57:37.225" v="30661" actId="20577"/>
          <ac:graphicFrameMkLst>
            <pc:docMk/>
            <pc:sldMk cId="3125970053" sldId="290"/>
            <ac:graphicFrameMk id="3" creationId="{6053C32F-7DB0-0B20-1CDF-891C62677F77}"/>
          </ac:graphicFrameMkLst>
        </pc:graphicFrameChg>
      </pc:sldChg>
      <pc:sldChg chg="addSp modSp mod">
        <pc:chgData name="Jesse, Kevin" userId="6f05423f-cf98-4c12-b626-169f8a1317c4" providerId="ADAL" clId="{C12DEDC2-730C-5A22-9CCF-730A792D7847}" dt="2025-09-03T05:38:59.642" v="6946" actId="20577"/>
        <pc:sldMkLst>
          <pc:docMk/>
          <pc:sldMk cId="730397148" sldId="291"/>
        </pc:sldMkLst>
        <pc:spChg chg="add mod">
          <ac:chgData name="Jesse, Kevin" userId="6f05423f-cf98-4c12-b626-169f8a1317c4" providerId="ADAL" clId="{C12DEDC2-730C-5A22-9CCF-730A792D7847}" dt="2025-09-03T05:38:59.642" v="6946" actId="20577"/>
          <ac:spMkLst>
            <pc:docMk/>
            <pc:sldMk cId="730397148" sldId="291"/>
            <ac:spMk id="10" creationId="{E7716AE9-9BDE-61CE-A2F5-B87485E0B1C1}"/>
          </ac:spMkLst>
        </pc:spChg>
      </pc:sldChg>
      <pc:sldChg chg="ord">
        <pc:chgData name="Jesse, Kevin" userId="6f05423f-cf98-4c12-b626-169f8a1317c4" providerId="ADAL" clId="{C12DEDC2-730C-5A22-9CCF-730A792D7847}" dt="2025-09-16T17:52:41.944" v="31911" actId="20578"/>
        <pc:sldMkLst>
          <pc:docMk/>
          <pc:sldMk cId="2917998896" sldId="294"/>
        </pc:sldMkLst>
      </pc:sldChg>
      <pc:sldChg chg="modSp mod">
        <pc:chgData name="Jesse, Kevin" userId="6f05423f-cf98-4c12-b626-169f8a1317c4" providerId="ADAL" clId="{C12DEDC2-730C-5A22-9CCF-730A792D7847}" dt="2025-09-08T20:38:20.298" v="30881" actId="1076"/>
        <pc:sldMkLst>
          <pc:docMk/>
          <pc:sldMk cId="3130153528" sldId="295"/>
        </pc:sldMkLst>
        <pc:spChg chg="mod">
          <ac:chgData name="Jesse, Kevin" userId="6f05423f-cf98-4c12-b626-169f8a1317c4" providerId="ADAL" clId="{C12DEDC2-730C-5A22-9CCF-730A792D7847}" dt="2025-09-08T20:38:20.298" v="30881" actId="1076"/>
          <ac:spMkLst>
            <pc:docMk/>
            <pc:sldMk cId="3130153528" sldId="295"/>
            <ac:spMk id="73" creationId="{3D909F80-6D8C-4A0A-3C91-371A597FB8CB}"/>
          </ac:spMkLst>
        </pc:spChg>
      </pc:sldChg>
      <pc:sldChg chg="modSp mod">
        <pc:chgData name="Jesse, Kevin" userId="6f05423f-cf98-4c12-b626-169f8a1317c4" providerId="ADAL" clId="{C12DEDC2-730C-5A22-9CCF-730A792D7847}" dt="2025-09-08T20:29:16.428" v="30865" actId="20577"/>
        <pc:sldMkLst>
          <pc:docMk/>
          <pc:sldMk cId="2081440561" sldId="308"/>
        </pc:sldMkLst>
        <pc:spChg chg="mod">
          <ac:chgData name="Jesse, Kevin" userId="6f05423f-cf98-4c12-b626-169f8a1317c4" providerId="ADAL" clId="{C12DEDC2-730C-5A22-9CCF-730A792D7847}" dt="2025-09-08T20:29:16.428" v="30865" actId="20577"/>
          <ac:spMkLst>
            <pc:docMk/>
            <pc:sldMk cId="2081440561" sldId="308"/>
            <ac:spMk id="87" creationId="{75D3B845-A1FF-E863-A2E7-04A6E8970D39}"/>
          </ac:spMkLst>
        </pc:spChg>
      </pc:sldChg>
      <pc:sldChg chg="mod modShow">
        <pc:chgData name="Jesse, Kevin" userId="6f05423f-cf98-4c12-b626-169f8a1317c4" providerId="ADAL" clId="{C12DEDC2-730C-5A22-9CCF-730A792D7847}" dt="2025-09-03T05:58:20.618" v="8445" actId="729"/>
        <pc:sldMkLst>
          <pc:docMk/>
          <pc:sldMk cId="153457374" sldId="314"/>
        </pc:sldMkLst>
      </pc:sldChg>
      <pc:sldChg chg="modSp mod">
        <pc:chgData name="Jesse, Kevin" userId="6f05423f-cf98-4c12-b626-169f8a1317c4" providerId="ADAL" clId="{C12DEDC2-730C-5A22-9CCF-730A792D7847}" dt="2025-08-27T16:16:37.533" v="170" actId="20577"/>
        <pc:sldMkLst>
          <pc:docMk/>
          <pc:sldMk cId="158939405" sldId="316"/>
        </pc:sldMkLst>
        <pc:spChg chg="mod">
          <ac:chgData name="Jesse, Kevin" userId="6f05423f-cf98-4c12-b626-169f8a1317c4" providerId="ADAL" clId="{C12DEDC2-730C-5A22-9CCF-730A792D7847}" dt="2025-08-27T16:16:37.533" v="170" actId="20577"/>
          <ac:spMkLst>
            <pc:docMk/>
            <pc:sldMk cId="158939405" sldId="316"/>
            <ac:spMk id="3" creationId="{08ACE64F-800F-7BCE-630E-FF7AD488B743}"/>
          </ac:spMkLst>
        </pc:spChg>
      </pc:sldChg>
      <pc:sldChg chg="addSp modSp mod">
        <pc:chgData name="Jesse, Kevin" userId="6f05423f-cf98-4c12-b626-169f8a1317c4" providerId="ADAL" clId="{C12DEDC2-730C-5A22-9CCF-730A792D7847}" dt="2025-08-27T16:17:20.791" v="213" actId="114"/>
        <pc:sldMkLst>
          <pc:docMk/>
          <pc:sldMk cId="2145421352" sldId="317"/>
        </pc:sldMkLst>
        <pc:spChg chg="mod">
          <ac:chgData name="Jesse, Kevin" userId="6f05423f-cf98-4c12-b626-169f8a1317c4" providerId="ADAL" clId="{C12DEDC2-730C-5A22-9CCF-730A792D7847}" dt="2025-08-27T16:17:00.847" v="178" actId="20577"/>
          <ac:spMkLst>
            <pc:docMk/>
            <pc:sldMk cId="2145421352" sldId="317"/>
            <ac:spMk id="3" creationId="{79513B0D-D86F-D796-7ACE-7E4928B77938}"/>
          </ac:spMkLst>
        </pc:spChg>
        <pc:spChg chg="add mod">
          <ac:chgData name="Jesse, Kevin" userId="6f05423f-cf98-4c12-b626-169f8a1317c4" providerId="ADAL" clId="{C12DEDC2-730C-5A22-9CCF-730A792D7847}" dt="2025-08-27T16:17:20.791" v="213" actId="114"/>
          <ac:spMkLst>
            <pc:docMk/>
            <pc:sldMk cId="2145421352" sldId="317"/>
            <ac:spMk id="5" creationId="{B11AFA17-1B07-D421-EC6E-2AB280C1FD7A}"/>
          </ac:spMkLst>
        </pc:spChg>
      </pc:sldChg>
      <pc:sldChg chg="addSp delSp modSp mod">
        <pc:chgData name="Jesse, Kevin" userId="6f05423f-cf98-4c12-b626-169f8a1317c4" providerId="ADAL" clId="{C12DEDC2-730C-5A22-9CCF-730A792D7847}" dt="2025-08-27T19:35:53.444" v="1910" actId="20577"/>
        <pc:sldMkLst>
          <pc:docMk/>
          <pc:sldMk cId="2772008283" sldId="320"/>
        </pc:sldMkLst>
        <pc:spChg chg="mod">
          <ac:chgData name="Jesse, Kevin" userId="6f05423f-cf98-4c12-b626-169f8a1317c4" providerId="ADAL" clId="{C12DEDC2-730C-5A22-9CCF-730A792D7847}" dt="2025-08-27T19:35:53.444" v="1910" actId="20577"/>
          <ac:spMkLst>
            <pc:docMk/>
            <pc:sldMk cId="2772008283" sldId="320"/>
            <ac:spMk id="3" creationId="{3082DBBB-1AB3-EC1B-19AB-17B6683561DF}"/>
          </ac:spMkLst>
        </pc:spChg>
        <pc:spChg chg="mod">
          <ac:chgData name="Jesse, Kevin" userId="6f05423f-cf98-4c12-b626-169f8a1317c4" providerId="ADAL" clId="{C12DEDC2-730C-5A22-9CCF-730A792D7847}" dt="2025-08-27T19:32:07.288" v="1503"/>
          <ac:spMkLst>
            <pc:docMk/>
            <pc:sldMk cId="2772008283" sldId="320"/>
            <ac:spMk id="7" creationId="{84558144-EDC9-9649-39BA-61D5F53E77BD}"/>
          </ac:spMkLst>
        </pc:spChg>
        <pc:spChg chg="mod">
          <ac:chgData name="Jesse, Kevin" userId="6f05423f-cf98-4c12-b626-169f8a1317c4" providerId="ADAL" clId="{C12DEDC2-730C-5A22-9CCF-730A792D7847}" dt="2025-08-27T19:32:07.288" v="1503"/>
          <ac:spMkLst>
            <pc:docMk/>
            <pc:sldMk cId="2772008283" sldId="320"/>
            <ac:spMk id="8" creationId="{39FBBB28-2951-BCF8-775C-5C66677AA868}"/>
          </ac:spMkLst>
        </pc:spChg>
        <pc:spChg chg="mod topLvl">
          <ac:chgData name="Jesse, Kevin" userId="6f05423f-cf98-4c12-b626-169f8a1317c4" providerId="ADAL" clId="{C12DEDC2-730C-5A22-9CCF-730A792D7847}" dt="2025-08-27T19:34:22.853" v="1596" actId="1076"/>
          <ac:spMkLst>
            <pc:docMk/>
            <pc:sldMk cId="2772008283" sldId="320"/>
            <ac:spMk id="14" creationId="{2FFE45C0-0ED2-9EF3-2122-A03524B5C339}"/>
          </ac:spMkLst>
        </pc:spChg>
        <pc:grpChg chg="mod">
          <ac:chgData name="Jesse, Kevin" userId="6f05423f-cf98-4c12-b626-169f8a1317c4" providerId="ADAL" clId="{C12DEDC2-730C-5A22-9CCF-730A792D7847}" dt="2025-08-27T19:33:20.479" v="1561" actId="14100"/>
          <ac:grpSpMkLst>
            <pc:docMk/>
            <pc:sldMk cId="2772008283" sldId="320"/>
            <ac:grpSpMk id="6" creationId="{574B6BF6-41B1-7705-646B-70A4FBFB3A8F}"/>
          </ac:grpSpMkLst>
        </pc:grpChg>
      </pc:sldChg>
      <pc:sldChg chg="addSp delSp modSp mod">
        <pc:chgData name="Jesse, Kevin" userId="6f05423f-cf98-4c12-b626-169f8a1317c4" providerId="ADAL" clId="{C12DEDC2-730C-5A22-9CCF-730A792D7847}" dt="2025-09-03T05:04:29.850" v="5534" actId="1036"/>
        <pc:sldMkLst>
          <pc:docMk/>
          <pc:sldMk cId="1474925966" sldId="321"/>
        </pc:sldMkLst>
        <pc:spChg chg="mod">
          <ac:chgData name="Jesse, Kevin" userId="6f05423f-cf98-4c12-b626-169f8a1317c4" providerId="ADAL" clId="{C12DEDC2-730C-5A22-9CCF-730A792D7847}" dt="2025-09-03T05:00:26.963" v="5506" actId="14100"/>
          <ac:spMkLst>
            <pc:docMk/>
            <pc:sldMk cId="1474925966" sldId="321"/>
            <ac:spMk id="3" creationId="{671C1209-8DEC-6EBB-D9D0-4ACC093E3DBB}"/>
          </ac:spMkLst>
        </pc:spChg>
        <pc:spChg chg="mod">
          <ac:chgData name="Jesse, Kevin" userId="6f05423f-cf98-4c12-b626-169f8a1317c4" providerId="ADAL" clId="{C12DEDC2-730C-5A22-9CCF-730A792D7847}" dt="2025-09-03T05:03:48.954" v="5522" actId="165"/>
          <ac:spMkLst>
            <pc:docMk/>
            <pc:sldMk cId="1474925966" sldId="321"/>
            <ac:spMk id="17" creationId="{F0B7822B-BCF1-1F2F-7081-DDC84861D56B}"/>
          </ac:spMkLst>
        </pc:spChg>
        <pc:spChg chg="mod">
          <ac:chgData name="Jesse, Kevin" userId="6f05423f-cf98-4c12-b626-169f8a1317c4" providerId="ADAL" clId="{C12DEDC2-730C-5A22-9CCF-730A792D7847}" dt="2025-09-03T05:03:48.954" v="5522" actId="165"/>
          <ac:spMkLst>
            <pc:docMk/>
            <pc:sldMk cId="1474925966" sldId="321"/>
            <ac:spMk id="18" creationId="{BFFC17B5-1016-684B-4081-E3C516CADD8E}"/>
          </ac:spMkLst>
        </pc:spChg>
        <pc:spChg chg="mod">
          <ac:chgData name="Jesse, Kevin" userId="6f05423f-cf98-4c12-b626-169f8a1317c4" providerId="ADAL" clId="{C12DEDC2-730C-5A22-9CCF-730A792D7847}" dt="2025-09-03T05:03:48.954" v="5522" actId="165"/>
          <ac:spMkLst>
            <pc:docMk/>
            <pc:sldMk cId="1474925966" sldId="321"/>
            <ac:spMk id="20" creationId="{A1F843FB-1678-7403-0D84-7DD80BA23F08}"/>
          </ac:spMkLst>
        </pc:spChg>
        <pc:spChg chg="mod">
          <ac:chgData name="Jesse, Kevin" userId="6f05423f-cf98-4c12-b626-169f8a1317c4" providerId="ADAL" clId="{C12DEDC2-730C-5A22-9CCF-730A792D7847}" dt="2025-09-03T05:03:48.954" v="5522" actId="165"/>
          <ac:spMkLst>
            <pc:docMk/>
            <pc:sldMk cId="1474925966" sldId="321"/>
            <ac:spMk id="21" creationId="{FDE0C3FC-E2EA-8FC6-2D3B-5BB16B8C3DFD}"/>
          </ac:spMkLst>
        </pc:spChg>
        <pc:spChg chg="mod">
          <ac:chgData name="Jesse, Kevin" userId="6f05423f-cf98-4c12-b626-169f8a1317c4" providerId="ADAL" clId="{C12DEDC2-730C-5A22-9CCF-730A792D7847}" dt="2025-09-03T05:03:48.954" v="5522" actId="165"/>
          <ac:spMkLst>
            <pc:docMk/>
            <pc:sldMk cId="1474925966" sldId="321"/>
            <ac:spMk id="22" creationId="{B017E17B-AA8D-843F-148C-AE671BC63CBE}"/>
          </ac:spMkLst>
        </pc:spChg>
        <pc:spChg chg="mod">
          <ac:chgData name="Jesse, Kevin" userId="6f05423f-cf98-4c12-b626-169f8a1317c4" providerId="ADAL" clId="{C12DEDC2-730C-5A22-9CCF-730A792D7847}" dt="2025-09-03T05:03:48.954" v="5522" actId="165"/>
          <ac:spMkLst>
            <pc:docMk/>
            <pc:sldMk cId="1474925966" sldId="321"/>
            <ac:spMk id="23" creationId="{314C3FAD-4391-D7AE-01B8-55E2502AE1BA}"/>
          </ac:spMkLst>
        </pc:spChg>
        <pc:spChg chg="mod">
          <ac:chgData name="Jesse, Kevin" userId="6f05423f-cf98-4c12-b626-169f8a1317c4" providerId="ADAL" clId="{C12DEDC2-730C-5A22-9CCF-730A792D7847}" dt="2025-09-03T05:03:48.954" v="5522" actId="165"/>
          <ac:spMkLst>
            <pc:docMk/>
            <pc:sldMk cId="1474925966" sldId="321"/>
            <ac:spMk id="24" creationId="{5E9E62A9-2B4B-3D07-BE04-2FCCE9658725}"/>
          </ac:spMkLst>
        </pc:spChg>
        <pc:spChg chg="mod">
          <ac:chgData name="Jesse, Kevin" userId="6f05423f-cf98-4c12-b626-169f8a1317c4" providerId="ADAL" clId="{C12DEDC2-730C-5A22-9CCF-730A792D7847}" dt="2025-09-03T05:03:48.954" v="5522" actId="165"/>
          <ac:spMkLst>
            <pc:docMk/>
            <pc:sldMk cId="1474925966" sldId="321"/>
            <ac:spMk id="25" creationId="{97E39584-B567-0C4C-C1A9-6577E83C8EFD}"/>
          </ac:spMkLst>
        </pc:spChg>
        <pc:spChg chg="mod">
          <ac:chgData name="Jesse, Kevin" userId="6f05423f-cf98-4c12-b626-169f8a1317c4" providerId="ADAL" clId="{C12DEDC2-730C-5A22-9CCF-730A792D7847}" dt="2025-09-03T05:03:48.954" v="5522" actId="165"/>
          <ac:spMkLst>
            <pc:docMk/>
            <pc:sldMk cId="1474925966" sldId="321"/>
            <ac:spMk id="26" creationId="{861AE5E9-197F-7D5F-5808-995D317DCC26}"/>
          </ac:spMkLst>
        </pc:spChg>
        <pc:spChg chg="mod">
          <ac:chgData name="Jesse, Kevin" userId="6f05423f-cf98-4c12-b626-169f8a1317c4" providerId="ADAL" clId="{C12DEDC2-730C-5A22-9CCF-730A792D7847}" dt="2025-09-03T05:03:48.954" v="5522" actId="165"/>
          <ac:spMkLst>
            <pc:docMk/>
            <pc:sldMk cId="1474925966" sldId="321"/>
            <ac:spMk id="27" creationId="{B1043143-3618-37D3-5735-12167FA2FC91}"/>
          </ac:spMkLst>
        </pc:spChg>
        <pc:grpChg chg="mod">
          <ac:chgData name="Jesse, Kevin" userId="6f05423f-cf98-4c12-b626-169f8a1317c4" providerId="ADAL" clId="{C12DEDC2-730C-5A22-9CCF-730A792D7847}" dt="2025-09-03T05:04:07.681" v="5524" actId="688"/>
          <ac:grpSpMkLst>
            <pc:docMk/>
            <pc:sldMk cId="1474925966" sldId="321"/>
            <ac:grpSpMk id="16" creationId="{1D3D514C-326B-4486-13C5-254C2D0E647B}"/>
          </ac:grpSpMkLst>
        </pc:grpChg>
        <pc:grpChg chg="mod">
          <ac:chgData name="Jesse, Kevin" userId="6f05423f-cf98-4c12-b626-169f8a1317c4" providerId="ADAL" clId="{C12DEDC2-730C-5A22-9CCF-730A792D7847}" dt="2025-09-03T05:04:29.850" v="5534" actId="1036"/>
          <ac:grpSpMkLst>
            <pc:docMk/>
            <pc:sldMk cId="1474925966" sldId="321"/>
            <ac:grpSpMk id="19" creationId="{3C750EED-A5BC-B437-9135-7B14A4D6FC17}"/>
          </ac:grpSpMkLst>
        </pc:grpChg>
      </pc:sldChg>
      <pc:sldChg chg="modSp mod modAnim">
        <pc:chgData name="Jesse, Kevin" userId="6f05423f-cf98-4c12-b626-169f8a1317c4" providerId="ADAL" clId="{C12DEDC2-730C-5A22-9CCF-730A792D7847}" dt="2025-09-03T05:34:16.829" v="6828" actId="6549"/>
        <pc:sldMkLst>
          <pc:docMk/>
          <pc:sldMk cId="3611929117" sldId="322"/>
        </pc:sldMkLst>
        <pc:spChg chg="mod">
          <ac:chgData name="Jesse, Kevin" userId="6f05423f-cf98-4c12-b626-169f8a1317c4" providerId="ADAL" clId="{C12DEDC2-730C-5A22-9CCF-730A792D7847}" dt="2025-09-03T05:28:20.191" v="6759" actId="20577"/>
          <ac:spMkLst>
            <pc:docMk/>
            <pc:sldMk cId="3611929117" sldId="322"/>
            <ac:spMk id="2" creationId="{CBADE286-17D8-7122-9B58-F410DEA26E29}"/>
          </ac:spMkLst>
        </pc:spChg>
        <pc:spChg chg="mod">
          <ac:chgData name="Jesse, Kevin" userId="6f05423f-cf98-4c12-b626-169f8a1317c4" providerId="ADAL" clId="{C12DEDC2-730C-5A22-9CCF-730A792D7847}" dt="2025-09-03T05:34:16.829" v="6828" actId="6549"/>
          <ac:spMkLst>
            <pc:docMk/>
            <pc:sldMk cId="3611929117" sldId="322"/>
            <ac:spMk id="3" creationId="{CB06A2D7-DC6D-049A-5AB2-6E34C55D58BF}"/>
          </ac:spMkLst>
        </pc:spChg>
      </pc:sldChg>
      <pc:sldChg chg="modSp del mod">
        <pc:chgData name="Jesse, Kevin" userId="6f05423f-cf98-4c12-b626-169f8a1317c4" providerId="ADAL" clId="{C12DEDC2-730C-5A22-9CCF-730A792D7847}" dt="2025-09-03T05:38:38.485" v="6937" actId="2696"/>
        <pc:sldMkLst>
          <pc:docMk/>
          <pc:sldMk cId="924419237" sldId="323"/>
        </pc:sldMkLst>
      </pc:sldChg>
      <pc:sldChg chg="addSp modSp mod modAnim modNotesTx">
        <pc:chgData name="Jesse, Kevin" userId="6f05423f-cf98-4c12-b626-169f8a1317c4" providerId="ADAL" clId="{C12DEDC2-730C-5A22-9CCF-730A792D7847}" dt="2025-09-03T06:32:07.281" v="11105" actId="1076"/>
        <pc:sldMkLst>
          <pc:docMk/>
          <pc:sldMk cId="1686716804" sldId="324"/>
        </pc:sldMkLst>
        <pc:spChg chg="mod">
          <ac:chgData name="Jesse, Kevin" userId="6f05423f-cf98-4c12-b626-169f8a1317c4" providerId="ADAL" clId="{C12DEDC2-730C-5A22-9CCF-730A792D7847}" dt="2025-09-03T06:15:42.425" v="9352" actId="20577"/>
          <ac:spMkLst>
            <pc:docMk/>
            <pc:sldMk cId="1686716804" sldId="324"/>
            <ac:spMk id="2" creationId="{DBE6D2EA-AD82-B2EF-6411-4C6F82E7BF3B}"/>
          </ac:spMkLst>
        </pc:spChg>
        <pc:spChg chg="mod">
          <ac:chgData name="Jesse, Kevin" userId="6f05423f-cf98-4c12-b626-169f8a1317c4" providerId="ADAL" clId="{C12DEDC2-730C-5A22-9CCF-730A792D7847}" dt="2025-09-03T06:29:09.171" v="10807" actId="14100"/>
          <ac:spMkLst>
            <pc:docMk/>
            <pc:sldMk cId="1686716804" sldId="324"/>
            <ac:spMk id="3" creationId="{7E1AB7A6-8B0E-D073-D952-60221FC018D2}"/>
          </ac:spMkLst>
        </pc:spChg>
        <pc:spChg chg="add mod">
          <ac:chgData name="Jesse, Kevin" userId="6f05423f-cf98-4c12-b626-169f8a1317c4" providerId="ADAL" clId="{C12DEDC2-730C-5A22-9CCF-730A792D7847}" dt="2025-09-03T06:32:07.281" v="11105" actId="1076"/>
          <ac:spMkLst>
            <pc:docMk/>
            <pc:sldMk cId="1686716804" sldId="324"/>
            <ac:spMk id="4" creationId="{0B88A715-0FD5-2E9A-88AC-C540CAE8F230}"/>
          </ac:spMkLst>
        </pc:spChg>
        <pc:spChg chg="add mod">
          <ac:chgData name="Jesse, Kevin" userId="6f05423f-cf98-4c12-b626-169f8a1317c4" providerId="ADAL" clId="{C12DEDC2-730C-5A22-9CCF-730A792D7847}" dt="2025-09-03T06:31:36.462" v="11100" actId="1076"/>
          <ac:spMkLst>
            <pc:docMk/>
            <pc:sldMk cId="1686716804" sldId="324"/>
            <ac:spMk id="6" creationId="{D2C7D636-7509-CA29-CF2C-5A2ED82FF8FB}"/>
          </ac:spMkLst>
        </pc:spChg>
      </pc:sldChg>
      <pc:sldChg chg="modSp mod">
        <pc:chgData name="Jesse, Kevin" userId="6f05423f-cf98-4c12-b626-169f8a1317c4" providerId="ADAL" clId="{C12DEDC2-730C-5A22-9CCF-730A792D7847}" dt="2025-09-03T05:49:17.317" v="7798" actId="20577"/>
        <pc:sldMkLst>
          <pc:docMk/>
          <pc:sldMk cId="2394848774" sldId="325"/>
        </pc:sldMkLst>
        <pc:spChg chg="mod">
          <ac:chgData name="Jesse, Kevin" userId="6f05423f-cf98-4c12-b626-169f8a1317c4" providerId="ADAL" clId="{C12DEDC2-730C-5A22-9CCF-730A792D7847}" dt="2025-09-03T05:49:17.317" v="7798" actId="20577"/>
          <ac:spMkLst>
            <pc:docMk/>
            <pc:sldMk cId="2394848774" sldId="325"/>
            <ac:spMk id="3" creationId="{31FA49C5-3C08-379B-0F71-3E4A0C2E77FA}"/>
          </ac:spMkLst>
        </pc:spChg>
      </pc:sldChg>
      <pc:sldChg chg="addSp delSp modSp mod">
        <pc:chgData name="Jesse, Kevin" userId="6f05423f-cf98-4c12-b626-169f8a1317c4" providerId="ADAL" clId="{C12DEDC2-730C-5A22-9CCF-730A792D7847}" dt="2025-08-27T22:35:50.480" v="4933" actId="20577"/>
        <pc:sldMkLst>
          <pc:docMk/>
          <pc:sldMk cId="401554703" sldId="326"/>
        </pc:sldMkLst>
        <pc:spChg chg="mod">
          <ac:chgData name="Jesse, Kevin" userId="6f05423f-cf98-4c12-b626-169f8a1317c4" providerId="ADAL" clId="{C12DEDC2-730C-5A22-9CCF-730A792D7847}" dt="2025-08-27T22:35:50.480" v="4933" actId="20577"/>
          <ac:spMkLst>
            <pc:docMk/>
            <pc:sldMk cId="401554703" sldId="326"/>
            <ac:spMk id="3" creationId="{5271C021-B733-A9A6-093A-1800808D1478}"/>
          </ac:spMkLst>
        </pc:spChg>
        <pc:spChg chg="mod">
          <ac:chgData name="Jesse, Kevin" userId="6f05423f-cf98-4c12-b626-169f8a1317c4" providerId="ADAL" clId="{C12DEDC2-730C-5A22-9CCF-730A792D7847}" dt="2025-08-27T22:31:53.396" v="4766" actId="207"/>
          <ac:spMkLst>
            <pc:docMk/>
            <pc:sldMk cId="401554703" sldId="326"/>
            <ac:spMk id="21" creationId="{43F7D3E1-596D-CF74-FD7B-978CBF5C896F}"/>
          </ac:spMkLst>
        </pc:spChg>
        <pc:spChg chg="mod">
          <ac:chgData name="Jesse, Kevin" userId="6f05423f-cf98-4c12-b626-169f8a1317c4" providerId="ADAL" clId="{C12DEDC2-730C-5A22-9CCF-730A792D7847}" dt="2025-08-27T22:31:53.396" v="4766" actId="207"/>
          <ac:spMkLst>
            <pc:docMk/>
            <pc:sldMk cId="401554703" sldId="326"/>
            <ac:spMk id="22" creationId="{44EEFC90-E579-52C9-EEFA-53D34662733A}"/>
          </ac:spMkLst>
        </pc:spChg>
        <pc:spChg chg="mod">
          <ac:chgData name="Jesse, Kevin" userId="6f05423f-cf98-4c12-b626-169f8a1317c4" providerId="ADAL" clId="{C12DEDC2-730C-5A22-9CCF-730A792D7847}" dt="2025-08-27T22:32:44.187" v="4770" actId="1076"/>
          <ac:spMkLst>
            <pc:docMk/>
            <pc:sldMk cId="401554703" sldId="326"/>
            <ac:spMk id="23" creationId="{185C273A-9AB4-53B0-7D18-652104C06E7B}"/>
          </ac:spMkLst>
        </pc:spChg>
        <pc:spChg chg="add mod">
          <ac:chgData name="Jesse, Kevin" userId="6f05423f-cf98-4c12-b626-169f8a1317c4" providerId="ADAL" clId="{C12DEDC2-730C-5A22-9CCF-730A792D7847}" dt="2025-08-27T22:32:44.187" v="4770" actId="1076"/>
          <ac:spMkLst>
            <pc:docMk/>
            <pc:sldMk cId="401554703" sldId="326"/>
            <ac:spMk id="25" creationId="{9E8C5A74-B502-86D6-D12D-214F8D2FCE4E}"/>
          </ac:spMkLst>
        </pc:spChg>
        <pc:spChg chg="mod">
          <ac:chgData name="Jesse, Kevin" userId="6f05423f-cf98-4c12-b626-169f8a1317c4" providerId="ADAL" clId="{C12DEDC2-730C-5A22-9CCF-730A792D7847}" dt="2025-08-27T22:31:53.396" v="4766" actId="207"/>
          <ac:spMkLst>
            <pc:docMk/>
            <pc:sldMk cId="401554703" sldId="326"/>
            <ac:spMk id="26" creationId="{9E3667BD-41B5-0942-D867-8D28BB5B358D}"/>
          </ac:spMkLst>
        </pc:spChg>
        <pc:spChg chg="add mod">
          <ac:chgData name="Jesse, Kevin" userId="6f05423f-cf98-4c12-b626-169f8a1317c4" providerId="ADAL" clId="{C12DEDC2-730C-5A22-9CCF-730A792D7847}" dt="2025-08-27T22:26:36.059" v="4244"/>
          <ac:spMkLst>
            <pc:docMk/>
            <pc:sldMk cId="401554703" sldId="326"/>
            <ac:spMk id="28" creationId="{CE14A1E0-39A7-9EC3-1D2B-CB6EDCA52486}"/>
          </ac:spMkLst>
        </pc:spChg>
        <pc:spChg chg="add mod">
          <ac:chgData name="Jesse, Kevin" userId="6f05423f-cf98-4c12-b626-169f8a1317c4" providerId="ADAL" clId="{C12DEDC2-730C-5A22-9CCF-730A792D7847}" dt="2025-08-27T22:29:06.034" v="4256" actId="164"/>
          <ac:spMkLst>
            <pc:docMk/>
            <pc:sldMk cId="401554703" sldId="326"/>
            <ac:spMk id="29" creationId="{F03F3C90-AFB0-1FA4-E384-C29737E88129}"/>
          </ac:spMkLst>
        </pc:spChg>
        <pc:spChg chg="mod">
          <ac:chgData name="Jesse, Kevin" userId="6f05423f-cf98-4c12-b626-169f8a1317c4" providerId="ADAL" clId="{C12DEDC2-730C-5A22-9CCF-730A792D7847}" dt="2025-08-27T22:29:06.034" v="4256" actId="164"/>
          <ac:spMkLst>
            <pc:docMk/>
            <pc:sldMk cId="401554703" sldId="326"/>
            <ac:spMk id="30" creationId="{C73AAD47-D2A5-1E79-C11C-F6C0734E40FB}"/>
          </ac:spMkLst>
        </pc:spChg>
        <pc:spChg chg="add mod">
          <ac:chgData name="Jesse, Kevin" userId="6f05423f-cf98-4c12-b626-169f8a1317c4" providerId="ADAL" clId="{C12DEDC2-730C-5A22-9CCF-730A792D7847}" dt="2025-08-27T22:26:36.059" v="4244"/>
          <ac:spMkLst>
            <pc:docMk/>
            <pc:sldMk cId="401554703" sldId="326"/>
            <ac:spMk id="31" creationId="{DE7568B0-DB95-0FD0-8CEA-75D30A349BEB}"/>
          </ac:spMkLst>
        </pc:spChg>
        <pc:spChg chg="add mod">
          <ac:chgData name="Jesse, Kevin" userId="6f05423f-cf98-4c12-b626-169f8a1317c4" providerId="ADAL" clId="{C12DEDC2-730C-5A22-9CCF-730A792D7847}" dt="2025-08-27T22:32:44.187" v="4770" actId="1076"/>
          <ac:spMkLst>
            <pc:docMk/>
            <pc:sldMk cId="401554703" sldId="326"/>
            <ac:spMk id="32" creationId="{BC8315F9-ED47-597E-5A21-95659C8BF216}"/>
          </ac:spMkLst>
        </pc:spChg>
        <pc:spChg chg="mod">
          <ac:chgData name="Jesse, Kevin" userId="6f05423f-cf98-4c12-b626-169f8a1317c4" providerId="ADAL" clId="{C12DEDC2-730C-5A22-9CCF-730A792D7847}" dt="2025-08-27T22:32:44.187" v="4770" actId="1076"/>
          <ac:spMkLst>
            <pc:docMk/>
            <pc:sldMk cId="401554703" sldId="326"/>
            <ac:spMk id="33" creationId="{30BB6B29-D438-CEA2-6C68-74F190E5C697}"/>
          </ac:spMkLst>
        </pc:spChg>
        <pc:spChg chg="mod">
          <ac:chgData name="Jesse, Kevin" userId="6f05423f-cf98-4c12-b626-169f8a1317c4" providerId="ADAL" clId="{C12DEDC2-730C-5A22-9CCF-730A792D7847}" dt="2025-08-27T22:32:44.187" v="4770" actId="1076"/>
          <ac:spMkLst>
            <pc:docMk/>
            <pc:sldMk cId="401554703" sldId="326"/>
            <ac:spMk id="34" creationId="{E2FED09D-D6DC-21F6-C588-3C62D3D5D1D0}"/>
          </ac:spMkLst>
        </pc:spChg>
        <pc:spChg chg="mod topLvl">
          <ac:chgData name="Jesse, Kevin" userId="6f05423f-cf98-4c12-b626-169f8a1317c4" providerId="ADAL" clId="{C12DEDC2-730C-5A22-9CCF-730A792D7847}" dt="2025-08-27T22:34:43.502" v="4856" actId="1076"/>
          <ac:spMkLst>
            <pc:docMk/>
            <pc:sldMk cId="401554703" sldId="326"/>
            <ac:spMk id="39" creationId="{5FC9BB7B-3C96-11DC-7EB2-BA1CEC35E6D2}"/>
          </ac:spMkLst>
        </pc:spChg>
        <pc:spChg chg="mod topLvl">
          <ac:chgData name="Jesse, Kevin" userId="6f05423f-cf98-4c12-b626-169f8a1317c4" providerId="ADAL" clId="{C12DEDC2-730C-5A22-9CCF-730A792D7847}" dt="2025-08-27T22:35:06.401" v="4863" actId="1076"/>
          <ac:spMkLst>
            <pc:docMk/>
            <pc:sldMk cId="401554703" sldId="326"/>
            <ac:spMk id="45" creationId="{94896E6E-26D9-943D-0C9B-99443B1AA62E}"/>
          </ac:spMkLst>
        </pc:spChg>
        <pc:spChg chg="mod topLvl">
          <ac:chgData name="Jesse, Kevin" userId="6f05423f-cf98-4c12-b626-169f8a1317c4" providerId="ADAL" clId="{C12DEDC2-730C-5A22-9CCF-730A792D7847}" dt="2025-08-27T22:35:08.652" v="4864" actId="1076"/>
          <ac:spMkLst>
            <pc:docMk/>
            <pc:sldMk cId="401554703" sldId="326"/>
            <ac:spMk id="48" creationId="{D7189A62-C1D2-A4E4-FF60-210E7FB7D919}"/>
          </ac:spMkLst>
        </pc:spChg>
        <pc:grpChg chg="mod">
          <ac:chgData name="Jesse, Kevin" userId="6f05423f-cf98-4c12-b626-169f8a1317c4" providerId="ADAL" clId="{C12DEDC2-730C-5A22-9CCF-730A792D7847}" dt="2025-08-27T22:34:56.337" v="4860" actId="1076"/>
          <ac:grpSpMkLst>
            <pc:docMk/>
            <pc:sldMk cId="401554703" sldId="326"/>
            <ac:grpSpMk id="52" creationId="{BC7D1B7F-B6BD-D210-74A5-BAE8B97C8F2D}"/>
          </ac:grpSpMkLst>
        </pc:grpChg>
      </pc:sldChg>
      <pc:sldChg chg="addSp modSp mod">
        <pc:chgData name="Jesse, Kevin" userId="6f05423f-cf98-4c12-b626-169f8a1317c4" providerId="ADAL" clId="{C12DEDC2-730C-5A22-9CCF-730A792D7847}" dt="2025-08-27T19:13:47.600" v="276" actId="20577"/>
        <pc:sldMkLst>
          <pc:docMk/>
          <pc:sldMk cId="2499159629" sldId="330"/>
        </pc:sldMkLst>
        <pc:spChg chg="mod">
          <ac:chgData name="Jesse, Kevin" userId="6f05423f-cf98-4c12-b626-169f8a1317c4" providerId="ADAL" clId="{C12DEDC2-730C-5A22-9CCF-730A792D7847}" dt="2025-08-27T19:13:47.600" v="276" actId="20577"/>
          <ac:spMkLst>
            <pc:docMk/>
            <pc:sldMk cId="2499159629" sldId="330"/>
            <ac:spMk id="2" creationId="{77645F8F-7007-E90B-85B7-488509D8A5A7}"/>
          </ac:spMkLst>
        </pc:spChg>
        <pc:spChg chg="mod">
          <ac:chgData name="Jesse, Kevin" userId="6f05423f-cf98-4c12-b626-169f8a1317c4" providerId="ADAL" clId="{C12DEDC2-730C-5A22-9CCF-730A792D7847}" dt="2025-08-27T19:12:48.194" v="266" actId="14100"/>
          <ac:spMkLst>
            <pc:docMk/>
            <pc:sldMk cId="2499159629" sldId="330"/>
            <ac:spMk id="3" creationId="{FAA9E0E3-7BD7-E554-C0AA-621C61ADFDBE}"/>
          </ac:spMkLst>
        </pc:spChg>
        <pc:picChg chg="add mod modCrop">
          <ac:chgData name="Jesse, Kevin" userId="6f05423f-cf98-4c12-b626-169f8a1317c4" providerId="ADAL" clId="{C12DEDC2-730C-5A22-9CCF-730A792D7847}" dt="2025-08-27T19:13:30.385" v="275" actId="1076"/>
          <ac:picMkLst>
            <pc:docMk/>
            <pc:sldMk cId="2499159629" sldId="330"/>
            <ac:picMk id="5" creationId="{15208242-CFB2-5079-4E3B-2E1D66936EBC}"/>
          </ac:picMkLst>
        </pc:picChg>
      </pc:sldChg>
      <pc:sldChg chg="addSp modSp mod modAnim">
        <pc:chgData name="Jesse, Kevin" userId="6f05423f-cf98-4c12-b626-169f8a1317c4" providerId="ADAL" clId="{C12DEDC2-730C-5A22-9CCF-730A792D7847}" dt="2025-08-26T18:37:20.235" v="20"/>
        <pc:sldMkLst>
          <pc:docMk/>
          <pc:sldMk cId="299911052" sldId="331"/>
        </pc:sldMkLst>
        <pc:picChg chg="add mod">
          <ac:chgData name="Jesse, Kevin" userId="6f05423f-cf98-4c12-b626-169f8a1317c4" providerId="ADAL" clId="{C12DEDC2-730C-5A22-9CCF-730A792D7847}" dt="2025-08-26T18:34:38.623" v="14" actId="1076"/>
          <ac:picMkLst>
            <pc:docMk/>
            <pc:sldMk cId="299911052" sldId="331"/>
            <ac:picMk id="8" creationId="{F939ED94-7E2D-8F88-02B2-88271F485A76}"/>
          </ac:picMkLst>
        </pc:picChg>
        <pc:picChg chg="add mod">
          <ac:chgData name="Jesse, Kevin" userId="6f05423f-cf98-4c12-b626-169f8a1317c4" providerId="ADAL" clId="{C12DEDC2-730C-5A22-9CCF-730A792D7847}" dt="2025-08-26T18:37:00.294" v="17" actId="167"/>
          <ac:picMkLst>
            <pc:docMk/>
            <pc:sldMk cId="299911052" sldId="331"/>
            <ac:picMk id="10" creationId="{A0BC6C47-E95B-BFD0-672D-09C13A8DA6F2}"/>
          </ac:picMkLst>
        </pc:picChg>
      </pc:sldChg>
      <pc:sldChg chg="addSp delSp modSp add mod">
        <pc:chgData name="Jesse, Kevin" userId="6f05423f-cf98-4c12-b626-169f8a1317c4" providerId="ADAL" clId="{C12DEDC2-730C-5A22-9CCF-730A792D7847}" dt="2025-08-27T21:48:09.019" v="3320" actId="20577"/>
        <pc:sldMkLst>
          <pc:docMk/>
          <pc:sldMk cId="430682748" sldId="332"/>
        </pc:sldMkLst>
        <pc:spChg chg="mod">
          <ac:chgData name="Jesse, Kevin" userId="6f05423f-cf98-4c12-b626-169f8a1317c4" providerId="ADAL" clId="{C12DEDC2-730C-5A22-9CCF-730A792D7847}" dt="2025-08-27T21:48:09.019" v="3320" actId="20577"/>
          <ac:spMkLst>
            <pc:docMk/>
            <pc:sldMk cId="430682748" sldId="332"/>
            <ac:spMk id="2" creationId="{F9942563-8311-68F6-5416-D8250F1D9037}"/>
          </ac:spMkLst>
        </pc:spChg>
        <pc:spChg chg="add mod">
          <ac:chgData name="Jesse, Kevin" userId="6f05423f-cf98-4c12-b626-169f8a1317c4" providerId="ADAL" clId="{C12DEDC2-730C-5A22-9CCF-730A792D7847}" dt="2025-08-27T21:40:56.892" v="2425" actId="14826"/>
          <ac:spMkLst>
            <pc:docMk/>
            <pc:sldMk cId="430682748" sldId="332"/>
            <ac:spMk id="4" creationId="{1AB18EB4-3703-0800-62F8-E5F697BEEA28}"/>
          </ac:spMkLst>
        </pc:spChg>
        <pc:spChg chg="add mod">
          <ac:chgData name="Jesse, Kevin" userId="6f05423f-cf98-4c12-b626-169f8a1317c4" providerId="ADAL" clId="{C12DEDC2-730C-5A22-9CCF-730A792D7847}" dt="2025-08-27T21:40:56.892" v="2425" actId="14826"/>
          <ac:spMkLst>
            <pc:docMk/>
            <pc:sldMk cId="430682748" sldId="332"/>
            <ac:spMk id="5" creationId="{2744D1D4-4573-678B-CEBF-52D9DBD5080B}"/>
          </ac:spMkLst>
        </pc:spChg>
        <pc:spChg chg="add mod">
          <ac:chgData name="Jesse, Kevin" userId="6f05423f-cf98-4c12-b626-169f8a1317c4" providerId="ADAL" clId="{C12DEDC2-730C-5A22-9CCF-730A792D7847}" dt="2025-08-27T21:40:56.892" v="2425" actId="14826"/>
          <ac:spMkLst>
            <pc:docMk/>
            <pc:sldMk cId="430682748" sldId="332"/>
            <ac:spMk id="9" creationId="{4CA98573-4804-E4BA-9D23-591176AED3A3}"/>
          </ac:spMkLst>
        </pc:spChg>
        <pc:spChg chg="add mod">
          <ac:chgData name="Jesse, Kevin" userId="6f05423f-cf98-4c12-b626-169f8a1317c4" providerId="ADAL" clId="{C12DEDC2-730C-5A22-9CCF-730A792D7847}" dt="2025-08-27T21:40:56.892" v="2425" actId="14826"/>
          <ac:spMkLst>
            <pc:docMk/>
            <pc:sldMk cId="430682748" sldId="332"/>
            <ac:spMk id="10" creationId="{575B29A8-7AB1-11D0-F27A-021B7B53A3A9}"/>
          </ac:spMkLst>
        </pc:spChg>
        <pc:spChg chg="mod">
          <ac:chgData name="Jesse, Kevin" userId="6f05423f-cf98-4c12-b626-169f8a1317c4" providerId="ADAL" clId="{C12DEDC2-730C-5A22-9CCF-730A792D7847}" dt="2025-08-27T21:40:56.892" v="2425" actId="14826"/>
          <ac:spMkLst>
            <pc:docMk/>
            <pc:sldMk cId="430682748" sldId="332"/>
            <ac:spMk id="11" creationId="{3FB3B283-488E-4CC3-E3EF-901FD21E05C0}"/>
          </ac:spMkLst>
        </pc:spChg>
        <pc:spChg chg="mod">
          <ac:chgData name="Jesse, Kevin" userId="6f05423f-cf98-4c12-b626-169f8a1317c4" providerId="ADAL" clId="{C12DEDC2-730C-5A22-9CCF-730A792D7847}" dt="2025-08-27T21:40:56.892" v="2425" actId="14826"/>
          <ac:spMkLst>
            <pc:docMk/>
            <pc:sldMk cId="430682748" sldId="332"/>
            <ac:spMk id="17" creationId="{13F0BCBC-2E9D-35AF-AFD3-7F57ECB660BB}"/>
          </ac:spMkLst>
        </pc:spChg>
        <pc:spChg chg="mod">
          <ac:chgData name="Jesse, Kevin" userId="6f05423f-cf98-4c12-b626-169f8a1317c4" providerId="ADAL" clId="{C12DEDC2-730C-5A22-9CCF-730A792D7847}" dt="2025-08-27T21:40:56.892" v="2425" actId="14826"/>
          <ac:spMkLst>
            <pc:docMk/>
            <pc:sldMk cId="430682748" sldId="332"/>
            <ac:spMk id="18" creationId="{2C17BAA7-33F4-21A9-FEFA-5124866A4C8A}"/>
          </ac:spMkLst>
        </pc:spChg>
        <pc:spChg chg="mod">
          <ac:chgData name="Jesse, Kevin" userId="6f05423f-cf98-4c12-b626-169f8a1317c4" providerId="ADAL" clId="{C12DEDC2-730C-5A22-9CCF-730A792D7847}" dt="2025-08-27T21:40:56.892" v="2425" actId="14826"/>
          <ac:spMkLst>
            <pc:docMk/>
            <pc:sldMk cId="430682748" sldId="332"/>
            <ac:spMk id="19" creationId="{D22A9162-146C-E972-5742-622A4BE96BA5}"/>
          </ac:spMkLst>
        </pc:spChg>
        <pc:spChg chg="mod">
          <ac:chgData name="Jesse, Kevin" userId="6f05423f-cf98-4c12-b626-169f8a1317c4" providerId="ADAL" clId="{C12DEDC2-730C-5A22-9CCF-730A792D7847}" dt="2025-08-27T21:40:56.892" v="2425" actId="14826"/>
          <ac:spMkLst>
            <pc:docMk/>
            <pc:sldMk cId="430682748" sldId="332"/>
            <ac:spMk id="20" creationId="{08DE21A1-3D7D-2DBC-4B72-2C76611D02B6}"/>
          </ac:spMkLst>
        </pc:spChg>
        <pc:spChg chg="mod">
          <ac:chgData name="Jesse, Kevin" userId="6f05423f-cf98-4c12-b626-169f8a1317c4" providerId="ADAL" clId="{C12DEDC2-730C-5A22-9CCF-730A792D7847}" dt="2025-08-27T21:42:47.353" v="2750" actId="20577"/>
          <ac:spMkLst>
            <pc:docMk/>
            <pc:sldMk cId="430682748" sldId="332"/>
            <ac:spMk id="22" creationId="{F8C51241-CD7F-07C1-9671-C71EF48ECB59}"/>
          </ac:spMkLst>
        </pc:spChg>
        <pc:spChg chg="mod">
          <ac:chgData name="Jesse, Kevin" userId="6f05423f-cf98-4c12-b626-169f8a1317c4" providerId="ADAL" clId="{C12DEDC2-730C-5A22-9CCF-730A792D7847}" dt="2025-08-27T21:38:12.587" v="2214" actId="20577"/>
          <ac:spMkLst>
            <pc:docMk/>
            <pc:sldMk cId="430682748" sldId="332"/>
            <ac:spMk id="23" creationId="{EA29D471-631A-CCC2-3722-DF67CFA410BB}"/>
          </ac:spMkLst>
        </pc:spChg>
        <pc:spChg chg="mod">
          <ac:chgData name="Jesse, Kevin" userId="6f05423f-cf98-4c12-b626-169f8a1317c4" providerId="ADAL" clId="{C12DEDC2-730C-5A22-9CCF-730A792D7847}" dt="2025-08-27T21:41:03.015" v="2428" actId="20577"/>
          <ac:spMkLst>
            <pc:docMk/>
            <pc:sldMk cId="430682748" sldId="332"/>
            <ac:spMk id="25" creationId="{E909C662-EB4F-27E0-B4AC-26FB4C6BA085}"/>
          </ac:spMkLst>
        </pc:spChg>
        <pc:spChg chg="mod">
          <ac:chgData name="Jesse, Kevin" userId="6f05423f-cf98-4c12-b626-169f8a1317c4" providerId="ADAL" clId="{C12DEDC2-730C-5A22-9CCF-730A792D7847}" dt="2025-08-27T21:39:23.625" v="2419" actId="20577"/>
          <ac:spMkLst>
            <pc:docMk/>
            <pc:sldMk cId="430682748" sldId="332"/>
            <ac:spMk id="26" creationId="{BA82566A-32E2-3159-483C-F253046D939A}"/>
          </ac:spMkLst>
        </pc:spChg>
        <pc:spChg chg="mod">
          <ac:chgData name="Jesse, Kevin" userId="6f05423f-cf98-4c12-b626-169f8a1317c4" providerId="ADAL" clId="{C12DEDC2-730C-5A22-9CCF-730A792D7847}" dt="2025-08-27T21:42:50.352" v="2753" actId="20577"/>
          <ac:spMkLst>
            <pc:docMk/>
            <pc:sldMk cId="430682748" sldId="332"/>
            <ac:spMk id="28" creationId="{91A748A0-8DB5-25F4-CC4F-50D9AE2D103D}"/>
          </ac:spMkLst>
        </pc:spChg>
        <pc:spChg chg="mod">
          <ac:chgData name="Jesse, Kevin" userId="6f05423f-cf98-4c12-b626-169f8a1317c4" providerId="ADAL" clId="{C12DEDC2-730C-5A22-9CCF-730A792D7847}" dt="2025-08-27T21:42:33.946" v="2746" actId="20577"/>
          <ac:spMkLst>
            <pc:docMk/>
            <pc:sldMk cId="430682748" sldId="332"/>
            <ac:spMk id="29" creationId="{900DD160-05A4-C0D1-0B5B-33AF166AA603}"/>
          </ac:spMkLst>
        </pc:spChg>
        <pc:spChg chg="mod">
          <ac:chgData name="Jesse, Kevin" userId="6f05423f-cf98-4c12-b626-169f8a1317c4" providerId="ADAL" clId="{C12DEDC2-730C-5A22-9CCF-730A792D7847}" dt="2025-08-27T21:43:10.519" v="2781" actId="20577"/>
          <ac:spMkLst>
            <pc:docMk/>
            <pc:sldMk cId="430682748" sldId="332"/>
            <ac:spMk id="31" creationId="{38B44C92-8884-1F34-6D07-D1943B489480}"/>
          </ac:spMkLst>
        </pc:spChg>
        <pc:spChg chg="mod">
          <ac:chgData name="Jesse, Kevin" userId="6f05423f-cf98-4c12-b626-169f8a1317c4" providerId="ADAL" clId="{C12DEDC2-730C-5A22-9CCF-730A792D7847}" dt="2025-08-27T21:44:30.092" v="3127" actId="20577"/>
          <ac:spMkLst>
            <pc:docMk/>
            <pc:sldMk cId="430682748" sldId="332"/>
            <ac:spMk id="32" creationId="{CA6E8919-C75D-30DF-E57F-4C74AD63BBD8}"/>
          </ac:spMkLst>
        </pc:spChg>
        <pc:spChg chg="add mod">
          <ac:chgData name="Jesse, Kevin" userId="6f05423f-cf98-4c12-b626-169f8a1317c4" providerId="ADAL" clId="{C12DEDC2-730C-5A22-9CCF-730A792D7847}" dt="2025-08-27T21:46:56.456" v="3261" actId="1076"/>
          <ac:spMkLst>
            <pc:docMk/>
            <pc:sldMk cId="430682748" sldId="332"/>
            <ac:spMk id="38" creationId="{41555399-97AA-2E8B-CAE1-69164D8C2B21}"/>
          </ac:spMkLst>
        </pc:spChg>
        <pc:grpChg chg="mod">
          <ac:chgData name="Jesse, Kevin" userId="6f05423f-cf98-4c12-b626-169f8a1317c4" providerId="ADAL" clId="{C12DEDC2-730C-5A22-9CCF-730A792D7847}" dt="2025-08-27T21:37:15.214" v="2021" actId="1076"/>
          <ac:grpSpMkLst>
            <pc:docMk/>
            <pc:sldMk cId="430682748" sldId="332"/>
            <ac:grpSpMk id="6" creationId="{C887B5AD-C8C5-E94F-57CB-E2147E9CFA35}"/>
          </ac:grpSpMkLst>
        </pc:grpChg>
        <pc:grpChg chg="mod">
          <ac:chgData name="Jesse, Kevin" userId="6f05423f-cf98-4c12-b626-169f8a1317c4" providerId="ADAL" clId="{C12DEDC2-730C-5A22-9CCF-730A792D7847}" dt="2025-08-27T21:38:16.001" v="2215" actId="1076"/>
          <ac:grpSpMkLst>
            <pc:docMk/>
            <pc:sldMk cId="430682748" sldId="332"/>
            <ac:grpSpMk id="21" creationId="{AD95A150-3394-6AE7-6DA4-26B911A51493}"/>
          </ac:grpSpMkLst>
        </pc:grpChg>
        <pc:grpChg chg="mod">
          <ac:chgData name="Jesse, Kevin" userId="6f05423f-cf98-4c12-b626-169f8a1317c4" providerId="ADAL" clId="{C12DEDC2-730C-5A22-9CCF-730A792D7847}" dt="2025-08-27T21:44:37.947" v="3128" actId="1076"/>
          <ac:grpSpMkLst>
            <pc:docMk/>
            <pc:sldMk cId="430682748" sldId="332"/>
            <ac:grpSpMk id="24" creationId="{63679A4A-9A0B-C55C-632B-26591F7F8DEE}"/>
          </ac:grpSpMkLst>
        </pc:grpChg>
        <pc:grpChg chg="mod">
          <ac:chgData name="Jesse, Kevin" userId="6f05423f-cf98-4c12-b626-169f8a1317c4" providerId="ADAL" clId="{C12DEDC2-730C-5A22-9CCF-730A792D7847}" dt="2025-08-27T21:46:15.194" v="3252" actId="1076"/>
          <ac:grpSpMkLst>
            <pc:docMk/>
            <pc:sldMk cId="430682748" sldId="332"/>
            <ac:grpSpMk id="27" creationId="{E3ACA10F-0B10-5C52-7BA8-DD290CF3F171}"/>
          </ac:grpSpMkLst>
        </pc:grpChg>
        <pc:grpChg chg="mod">
          <ac:chgData name="Jesse, Kevin" userId="6f05423f-cf98-4c12-b626-169f8a1317c4" providerId="ADAL" clId="{C12DEDC2-730C-5A22-9CCF-730A792D7847}" dt="2025-08-27T21:44:48.748" v="3131" actId="1076"/>
          <ac:grpSpMkLst>
            <pc:docMk/>
            <pc:sldMk cId="430682748" sldId="332"/>
            <ac:grpSpMk id="30" creationId="{D18675AE-FF10-41E2-C923-61580491C57E}"/>
          </ac:grpSpMkLst>
        </pc:grpChg>
        <pc:picChg chg="mod">
          <ac:chgData name="Jesse, Kevin" userId="6f05423f-cf98-4c12-b626-169f8a1317c4" providerId="ADAL" clId="{C12DEDC2-730C-5A22-9CCF-730A792D7847}" dt="2025-08-27T21:40:56.892" v="2425" actId="14826"/>
          <ac:picMkLst>
            <pc:docMk/>
            <pc:sldMk cId="430682748" sldId="332"/>
            <ac:picMk id="16" creationId="{483FE0B4-F11F-6DFF-8DA9-0F236649CB1A}"/>
          </ac:picMkLst>
        </pc:picChg>
        <pc:picChg chg="add mod">
          <ac:chgData name="Jesse, Kevin" userId="6f05423f-cf98-4c12-b626-169f8a1317c4" providerId="ADAL" clId="{C12DEDC2-730C-5A22-9CCF-730A792D7847}" dt="2025-08-27T21:47:38.709" v="3269" actId="1076"/>
          <ac:picMkLst>
            <pc:docMk/>
            <pc:sldMk cId="430682748" sldId="332"/>
            <ac:picMk id="40" creationId="{6590A469-00AB-B831-5F51-060F1548D8C2}"/>
          </ac:picMkLst>
        </pc:picChg>
      </pc:sldChg>
      <pc:sldChg chg="addSp delSp modSp new mod">
        <pc:chgData name="Jesse, Kevin" userId="6f05423f-cf98-4c12-b626-169f8a1317c4" providerId="ADAL" clId="{C12DEDC2-730C-5A22-9CCF-730A792D7847}" dt="2025-08-27T22:00:30.705" v="3497" actId="20577"/>
        <pc:sldMkLst>
          <pc:docMk/>
          <pc:sldMk cId="3148518070" sldId="333"/>
        </pc:sldMkLst>
        <pc:spChg chg="mod">
          <ac:chgData name="Jesse, Kevin" userId="6f05423f-cf98-4c12-b626-169f8a1317c4" providerId="ADAL" clId="{C12DEDC2-730C-5A22-9CCF-730A792D7847}" dt="2025-08-27T21:49:26.972" v="3369" actId="20577"/>
          <ac:spMkLst>
            <pc:docMk/>
            <pc:sldMk cId="3148518070" sldId="333"/>
            <ac:spMk id="2" creationId="{13270F95-3FB9-40BB-630E-9F3F5F98EE0C}"/>
          </ac:spMkLst>
        </pc:spChg>
        <pc:spChg chg="mod">
          <ac:chgData name="Jesse, Kevin" userId="6f05423f-cf98-4c12-b626-169f8a1317c4" providerId="ADAL" clId="{C12DEDC2-730C-5A22-9CCF-730A792D7847}" dt="2025-08-27T22:00:30.705" v="3497" actId="20577"/>
          <ac:spMkLst>
            <pc:docMk/>
            <pc:sldMk cId="3148518070" sldId="333"/>
            <ac:spMk id="3" creationId="{A846FE15-DA10-17C0-8AF0-CB6F101A2B53}"/>
          </ac:spMkLst>
        </pc:spChg>
        <pc:spChg chg="mod">
          <ac:chgData name="Jesse, Kevin" userId="6f05423f-cf98-4c12-b626-169f8a1317c4" providerId="ADAL" clId="{C12DEDC2-730C-5A22-9CCF-730A792D7847}" dt="2025-08-27T21:52:42.884" v="3456"/>
          <ac:spMkLst>
            <pc:docMk/>
            <pc:sldMk cId="3148518070" sldId="333"/>
            <ac:spMk id="6" creationId="{927EE64F-6E41-527D-C7E1-E79B7067FC96}"/>
          </ac:spMkLst>
        </pc:spChg>
        <pc:spChg chg="mod">
          <ac:chgData name="Jesse, Kevin" userId="6f05423f-cf98-4c12-b626-169f8a1317c4" providerId="ADAL" clId="{C12DEDC2-730C-5A22-9CCF-730A792D7847}" dt="2025-08-27T21:52:42.884" v="3456"/>
          <ac:spMkLst>
            <pc:docMk/>
            <pc:sldMk cId="3148518070" sldId="333"/>
            <ac:spMk id="7" creationId="{0B514BF4-BEB0-1345-4296-489B825972B2}"/>
          </ac:spMkLst>
        </pc:spChg>
        <pc:spChg chg="add mod">
          <ac:chgData name="Jesse, Kevin" userId="6f05423f-cf98-4c12-b626-169f8a1317c4" providerId="ADAL" clId="{C12DEDC2-730C-5A22-9CCF-730A792D7847}" dt="2025-08-27T21:53:09.625" v="3480" actId="20577"/>
          <ac:spMkLst>
            <pc:docMk/>
            <pc:sldMk cId="3148518070" sldId="333"/>
            <ac:spMk id="10" creationId="{4C82302E-5217-C81B-A333-E488A6207AB8}"/>
          </ac:spMkLst>
        </pc:spChg>
        <pc:grpChg chg="add mod">
          <ac:chgData name="Jesse, Kevin" userId="6f05423f-cf98-4c12-b626-169f8a1317c4" providerId="ADAL" clId="{C12DEDC2-730C-5A22-9CCF-730A792D7847}" dt="2025-08-27T21:52:42.884" v="3456"/>
          <ac:grpSpMkLst>
            <pc:docMk/>
            <pc:sldMk cId="3148518070" sldId="333"/>
            <ac:grpSpMk id="5" creationId="{B9607A8C-4F55-E9D6-97E0-C1A6AF6C5D3B}"/>
          </ac:grpSpMkLst>
        </pc:grpChg>
      </pc:sldChg>
      <pc:sldChg chg="modSp add mod">
        <pc:chgData name="Jesse, Kevin" userId="6f05423f-cf98-4c12-b626-169f8a1317c4" providerId="ADAL" clId="{C12DEDC2-730C-5A22-9CCF-730A792D7847}" dt="2025-09-03T04:54:43.428" v="4973" actId="20577"/>
        <pc:sldMkLst>
          <pc:docMk/>
          <pc:sldMk cId="3573303821" sldId="334"/>
        </pc:sldMkLst>
        <pc:spChg chg="mod">
          <ac:chgData name="Jesse, Kevin" userId="6f05423f-cf98-4c12-b626-169f8a1317c4" providerId="ADAL" clId="{C12DEDC2-730C-5A22-9CCF-730A792D7847}" dt="2025-09-03T04:54:43.428" v="4973" actId="20577"/>
          <ac:spMkLst>
            <pc:docMk/>
            <pc:sldMk cId="3573303821" sldId="334"/>
            <ac:spMk id="3" creationId="{B29FA777-7A8A-774A-4E9A-DCF0E4112492}"/>
          </ac:spMkLst>
        </pc:spChg>
        <pc:grpChg chg="mod">
          <ac:chgData name="Jesse, Kevin" userId="6f05423f-cf98-4c12-b626-169f8a1317c4" providerId="ADAL" clId="{C12DEDC2-730C-5A22-9CCF-730A792D7847}" dt="2025-08-27T22:04:50.184" v="4052" actId="1076"/>
          <ac:grpSpMkLst>
            <pc:docMk/>
            <pc:sldMk cId="3573303821" sldId="334"/>
            <ac:grpSpMk id="5" creationId="{0F291086-AC5A-850E-36F4-A87CED9AFB58}"/>
          </ac:grpSpMkLst>
        </pc:grpChg>
      </pc:sldChg>
      <pc:sldChg chg="addSp modSp new mod">
        <pc:chgData name="Jesse, Kevin" userId="6f05423f-cf98-4c12-b626-169f8a1317c4" providerId="ADAL" clId="{C12DEDC2-730C-5A22-9CCF-730A792D7847}" dt="2025-09-03T06:42:39.769" v="12116" actId="1076"/>
        <pc:sldMkLst>
          <pc:docMk/>
          <pc:sldMk cId="2437377200" sldId="335"/>
        </pc:sldMkLst>
        <pc:spChg chg="mod">
          <ac:chgData name="Jesse, Kevin" userId="6f05423f-cf98-4c12-b626-169f8a1317c4" providerId="ADAL" clId="{C12DEDC2-730C-5A22-9CCF-730A792D7847}" dt="2025-08-27T22:36:56.131" v="4972" actId="20577"/>
          <ac:spMkLst>
            <pc:docMk/>
            <pc:sldMk cId="2437377200" sldId="335"/>
            <ac:spMk id="2" creationId="{C9F1FE19-9B69-AEC1-137B-54B9EA4D9AA1}"/>
          </ac:spMkLst>
        </pc:spChg>
        <pc:spChg chg="mod">
          <ac:chgData name="Jesse, Kevin" userId="6f05423f-cf98-4c12-b626-169f8a1317c4" providerId="ADAL" clId="{C12DEDC2-730C-5A22-9CCF-730A792D7847}" dt="2025-09-03T06:42:16.616" v="12110"/>
          <ac:spMkLst>
            <pc:docMk/>
            <pc:sldMk cId="2437377200" sldId="335"/>
            <ac:spMk id="3" creationId="{5FD849CD-37EF-40AC-E20B-8FF4D77E90D3}"/>
          </ac:spMkLst>
        </pc:spChg>
        <pc:spChg chg="add mod">
          <ac:chgData name="Jesse, Kevin" userId="6f05423f-cf98-4c12-b626-169f8a1317c4" providerId="ADAL" clId="{C12DEDC2-730C-5A22-9CCF-730A792D7847}" dt="2025-09-03T06:40:29.784" v="12077" actId="164"/>
          <ac:spMkLst>
            <pc:docMk/>
            <pc:sldMk cId="2437377200" sldId="335"/>
            <ac:spMk id="4" creationId="{E591DD57-DEC0-B636-C415-5D2E06F9F438}"/>
          </ac:spMkLst>
        </pc:spChg>
        <pc:spChg chg="mod">
          <ac:chgData name="Jesse, Kevin" userId="6f05423f-cf98-4c12-b626-169f8a1317c4" providerId="ADAL" clId="{C12DEDC2-730C-5A22-9CCF-730A792D7847}" dt="2025-09-03T06:40:28.348" v="12076" actId="164"/>
          <ac:spMkLst>
            <pc:docMk/>
            <pc:sldMk cId="2437377200" sldId="335"/>
            <ac:spMk id="6" creationId="{C04C1B29-C7C4-7D5A-AA12-98B95D1225AF}"/>
          </ac:spMkLst>
        </pc:spChg>
        <pc:spChg chg="mod">
          <ac:chgData name="Jesse, Kevin" userId="6f05423f-cf98-4c12-b626-169f8a1317c4" providerId="ADAL" clId="{C12DEDC2-730C-5A22-9CCF-730A792D7847}" dt="2025-09-03T06:40:28.348" v="12076" actId="164"/>
          <ac:spMkLst>
            <pc:docMk/>
            <pc:sldMk cId="2437377200" sldId="335"/>
            <ac:spMk id="7" creationId="{6AD490E1-11C5-8B5F-9A12-365E7CD8B847}"/>
          </ac:spMkLst>
        </pc:spChg>
        <pc:spChg chg="mod">
          <ac:chgData name="Jesse, Kevin" userId="6f05423f-cf98-4c12-b626-169f8a1317c4" providerId="ADAL" clId="{C12DEDC2-730C-5A22-9CCF-730A792D7847}" dt="2025-09-03T06:40:28.348" v="12076" actId="164"/>
          <ac:spMkLst>
            <pc:docMk/>
            <pc:sldMk cId="2437377200" sldId="335"/>
            <ac:spMk id="8" creationId="{FB8E3814-6A38-71F5-0CE2-422E476306FA}"/>
          </ac:spMkLst>
        </pc:spChg>
        <pc:spChg chg="add mod">
          <ac:chgData name="Jesse, Kevin" userId="6f05423f-cf98-4c12-b626-169f8a1317c4" providerId="ADAL" clId="{C12DEDC2-730C-5A22-9CCF-730A792D7847}" dt="2025-09-03T06:40:29.784" v="12077" actId="164"/>
          <ac:spMkLst>
            <pc:docMk/>
            <pc:sldMk cId="2437377200" sldId="335"/>
            <ac:spMk id="9" creationId="{16CBB660-D30F-34B8-9173-6264E14FB6A1}"/>
          </ac:spMkLst>
        </pc:spChg>
        <pc:spChg chg="mod">
          <ac:chgData name="Jesse, Kevin" userId="6f05423f-cf98-4c12-b626-169f8a1317c4" providerId="ADAL" clId="{C12DEDC2-730C-5A22-9CCF-730A792D7847}" dt="2025-09-03T06:41:16.928" v="12096" actId="404"/>
          <ac:spMkLst>
            <pc:docMk/>
            <pc:sldMk cId="2437377200" sldId="335"/>
            <ac:spMk id="11" creationId="{F1183EF9-2589-B700-A181-689AA91A1D62}"/>
          </ac:spMkLst>
        </pc:spChg>
        <pc:spChg chg="mod">
          <ac:chgData name="Jesse, Kevin" userId="6f05423f-cf98-4c12-b626-169f8a1317c4" providerId="ADAL" clId="{C12DEDC2-730C-5A22-9CCF-730A792D7847}" dt="2025-09-03T06:41:20.063" v="12097" actId="120"/>
          <ac:spMkLst>
            <pc:docMk/>
            <pc:sldMk cId="2437377200" sldId="335"/>
            <ac:spMk id="12" creationId="{E46B1DA7-67EB-8D33-B458-52D9ED583FF4}"/>
          </ac:spMkLst>
        </pc:spChg>
        <pc:spChg chg="mod">
          <ac:chgData name="Jesse, Kevin" userId="6f05423f-cf98-4c12-b626-169f8a1317c4" providerId="ADAL" clId="{C12DEDC2-730C-5A22-9CCF-730A792D7847}" dt="2025-09-03T06:41:07.041" v="12092" actId="404"/>
          <ac:spMkLst>
            <pc:docMk/>
            <pc:sldMk cId="2437377200" sldId="335"/>
            <ac:spMk id="14" creationId="{C684E70A-75F1-F998-91FB-3108AA13C5BC}"/>
          </ac:spMkLst>
        </pc:spChg>
        <pc:spChg chg="mod">
          <ac:chgData name="Jesse, Kevin" userId="6f05423f-cf98-4c12-b626-169f8a1317c4" providerId="ADAL" clId="{C12DEDC2-730C-5A22-9CCF-730A792D7847}" dt="2025-09-03T06:41:23.140" v="12098" actId="120"/>
          <ac:spMkLst>
            <pc:docMk/>
            <pc:sldMk cId="2437377200" sldId="335"/>
            <ac:spMk id="15" creationId="{4D77E5C3-FF0F-1CD7-5126-4C4359196FB0}"/>
          </ac:spMkLst>
        </pc:spChg>
        <pc:spChg chg="mod">
          <ac:chgData name="Jesse, Kevin" userId="6f05423f-cf98-4c12-b626-169f8a1317c4" providerId="ADAL" clId="{C12DEDC2-730C-5A22-9CCF-730A792D7847}" dt="2025-09-03T06:41:12.576" v="12093" actId="404"/>
          <ac:spMkLst>
            <pc:docMk/>
            <pc:sldMk cId="2437377200" sldId="335"/>
            <ac:spMk id="17" creationId="{20C9B058-5C59-576A-8E9C-8AAE5E53D158}"/>
          </ac:spMkLst>
        </pc:spChg>
        <pc:spChg chg="mod">
          <ac:chgData name="Jesse, Kevin" userId="6f05423f-cf98-4c12-b626-169f8a1317c4" providerId="ADAL" clId="{C12DEDC2-730C-5A22-9CCF-730A792D7847}" dt="2025-09-03T06:39:47.839" v="12062" actId="403"/>
          <ac:spMkLst>
            <pc:docMk/>
            <pc:sldMk cId="2437377200" sldId="335"/>
            <ac:spMk id="18" creationId="{A611C08A-53E4-9845-28F9-2C945F3C5C98}"/>
          </ac:spMkLst>
        </pc:spChg>
        <pc:spChg chg="add mod">
          <ac:chgData name="Jesse, Kevin" userId="6f05423f-cf98-4c12-b626-169f8a1317c4" providerId="ADAL" clId="{C12DEDC2-730C-5A22-9CCF-730A792D7847}" dt="2025-09-03T06:42:39.769" v="12116" actId="1076"/>
          <ac:spMkLst>
            <pc:docMk/>
            <pc:sldMk cId="2437377200" sldId="335"/>
            <ac:spMk id="20" creationId="{33B01068-B981-149A-C1B6-649C6CFED6DC}"/>
          </ac:spMkLst>
        </pc:spChg>
        <pc:grpChg chg="mod">
          <ac:chgData name="Jesse, Kevin" userId="6f05423f-cf98-4c12-b626-169f8a1317c4" providerId="ADAL" clId="{C12DEDC2-730C-5A22-9CCF-730A792D7847}" dt="2025-09-03T06:40:29.784" v="12077" actId="164"/>
          <ac:grpSpMkLst>
            <pc:docMk/>
            <pc:sldMk cId="2437377200" sldId="335"/>
            <ac:grpSpMk id="5" creationId="{C462BE92-153E-7314-95F9-83DEF4A22D31}"/>
          </ac:grpSpMkLst>
        </pc:grpChg>
        <pc:grpChg chg="add mod">
          <ac:chgData name="Jesse, Kevin" userId="6f05423f-cf98-4c12-b626-169f8a1317c4" providerId="ADAL" clId="{C12DEDC2-730C-5A22-9CCF-730A792D7847}" dt="2025-09-03T06:40:55.556" v="12087" actId="1076"/>
          <ac:grpSpMkLst>
            <pc:docMk/>
            <pc:sldMk cId="2437377200" sldId="335"/>
            <ac:grpSpMk id="19" creationId="{00B7A3E1-D047-D01F-C6D0-B47E3330D184}"/>
          </ac:grpSpMkLst>
        </pc:grpChg>
      </pc:sldChg>
      <pc:sldChg chg="addSp delSp modSp add mod">
        <pc:chgData name="Jesse, Kevin" userId="6f05423f-cf98-4c12-b626-169f8a1317c4" providerId="ADAL" clId="{C12DEDC2-730C-5A22-9CCF-730A792D7847}" dt="2025-09-08T20:51:32.937" v="30900" actId="313"/>
        <pc:sldMkLst>
          <pc:docMk/>
          <pc:sldMk cId="33785871" sldId="336"/>
        </pc:sldMkLst>
        <pc:spChg chg="mod">
          <ac:chgData name="Jesse, Kevin" userId="6f05423f-cf98-4c12-b626-169f8a1317c4" providerId="ADAL" clId="{C12DEDC2-730C-5A22-9CCF-730A792D7847}" dt="2025-09-03T05:04:57.101" v="5581" actId="20577"/>
          <ac:spMkLst>
            <pc:docMk/>
            <pc:sldMk cId="33785871" sldId="336"/>
            <ac:spMk id="2" creationId="{D1B67A21-2E2C-8F22-1646-AFD2D069FC2C}"/>
          </ac:spMkLst>
        </pc:spChg>
        <pc:spChg chg="add mod">
          <ac:chgData name="Jesse, Kevin" userId="6f05423f-cf98-4c12-b626-169f8a1317c4" providerId="ADAL" clId="{C12DEDC2-730C-5A22-9CCF-730A792D7847}" dt="2025-09-03T05:12:33.040" v="6007" actId="1076"/>
          <ac:spMkLst>
            <pc:docMk/>
            <pc:sldMk cId="33785871" sldId="336"/>
            <ac:spMk id="7" creationId="{CF33A94D-0B6F-BC05-8D24-016AC25453B6}"/>
          </ac:spMkLst>
        </pc:spChg>
        <pc:spChg chg="add mod">
          <ac:chgData name="Jesse, Kevin" userId="6f05423f-cf98-4c12-b626-169f8a1317c4" providerId="ADAL" clId="{C12DEDC2-730C-5A22-9CCF-730A792D7847}" dt="2025-09-03T05:13:09.343" v="6028" actId="1037"/>
          <ac:spMkLst>
            <pc:docMk/>
            <pc:sldMk cId="33785871" sldId="336"/>
            <ac:spMk id="10" creationId="{7A3A43AC-9420-4E2F-6EB5-B5204306FF1D}"/>
          </ac:spMkLst>
        </pc:spChg>
        <pc:spChg chg="add mod">
          <ac:chgData name="Jesse, Kevin" userId="6f05423f-cf98-4c12-b626-169f8a1317c4" providerId="ADAL" clId="{C12DEDC2-730C-5A22-9CCF-730A792D7847}" dt="2025-09-03T05:20:03.772" v="6208" actId="1076"/>
          <ac:spMkLst>
            <pc:docMk/>
            <pc:sldMk cId="33785871" sldId="336"/>
            <ac:spMk id="11" creationId="{F8288A2A-EE81-0FF9-7FB9-42F99221DE89}"/>
          </ac:spMkLst>
        </pc:spChg>
        <pc:spChg chg="add mod">
          <ac:chgData name="Jesse, Kevin" userId="6f05423f-cf98-4c12-b626-169f8a1317c4" providerId="ADAL" clId="{C12DEDC2-730C-5A22-9CCF-730A792D7847}" dt="2025-09-03T05:20:18.870" v="6213" actId="1076"/>
          <ac:spMkLst>
            <pc:docMk/>
            <pc:sldMk cId="33785871" sldId="336"/>
            <ac:spMk id="12" creationId="{F9034411-74E3-08AC-F64F-7D8216F5A88D}"/>
          </ac:spMkLst>
        </pc:spChg>
        <pc:spChg chg="add mod">
          <ac:chgData name="Jesse, Kevin" userId="6f05423f-cf98-4c12-b626-169f8a1317c4" providerId="ADAL" clId="{C12DEDC2-730C-5A22-9CCF-730A792D7847}" dt="2025-09-08T20:51:32.937" v="30900" actId="313"/>
          <ac:spMkLst>
            <pc:docMk/>
            <pc:sldMk cId="33785871" sldId="336"/>
            <ac:spMk id="13" creationId="{CF486B86-8DA0-EBD2-0AEE-7B90AA797E5F}"/>
          </ac:spMkLst>
        </pc:spChg>
        <pc:spChg chg="add mod">
          <ac:chgData name="Jesse, Kevin" userId="6f05423f-cf98-4c12-b626-169f8a1317c4" providerId="ADAL" clId="{C12DEDC2-730C-5A22-9CCF-730A792D7847}" dt="2025-09-03T05:21:04.686" v="6385" actId="20577"/>
          <ac:spMkLst>
            <pc:docMk/>
            <pc:sldMk cId="33785871" sldId="336"/>
            <ac:spMk id="14" creationId="{4B51A3A5-FCB4-3230-CB61-F4F48B57139A}"/>
          </ac:spMkLst>
        </pc:spChg>
        <pc:graphicFrameChg chg="add mod modGraphic">
          <ac:chgData name="Jesse, Kevin" userId="6f05423f-cf98-4c12-b626-169f8a1317c4" providerId="ADAL" clId="{C12DEDC2-730C-5A22-9CCF-730A792D7847}" dt="2025-09-03T05:12:23.451" v="5981" actId="14100"/>
          <ac:graphicFrameMkLst>
            <pc:docMk/>
            <pc:sldMk cId="33785871" sldId="336"/>
            <ac:graphicFrameMk id="6" creationId="{54CAFFE1-322F-D1F1-761A-7B6117AA867C}"/>
          </ac:graphicFrameMkLst>
        </pc:graphicFrameChg>
      </pc:sldChg>
      <pc:sldChg chg="add">
        <pc:chgData name="Jesse, Kevin" userId="6f05423f-cf98-4c12-b626-169f8a1317c4" providerId="ADAL" clId="{C12DEDC2-730C-5A22-9CCF-730A792D7847}" dt="2025-09-03T05:33:49.537" v="6811" actId="2890"/>
        <pc:sldMkLst>
          <pc:docMk/>
          <pc:sldMk cId="1962059769" sldId="337"/>
        </pc:sldMkLst>
      </pc:sldChg>
      <pc:sldChg chg="addSp delSp modSp add mod">
        <pc:chgData name="Jesse, Kevin" userId="6f05423f-cf98-4c12-b626-169f8a1317c4" providerId="ADAL" clId="{C12DEDC2-730C-5A22-9CCF-730A792D7847}" dt="2025-09-03T06:04:26.510" v="8744" actId="1076"/>
        <pc:sldMkLst>
          <pc:docMk/>
          <pc:sldMk cId="1829120865" sldId="338"/>
        </pc:sldMkLst>
        <pc:spChg chg="mod">
          <ac:chgData name="Jesse, Kevin" userId="6f05423f-cf98-4c12-b626-169f8a1317c4" providerId="ADAL" clId="{C12DEDC2-730C-5A22-9CCF-730A792D7847}" dt="2025-09-03T06:02:23.603" v="8703" actId="1076"/>
          <ac:spMkLst>
            <pc:docMk/>
            <pc:sldMk cId="1829120865" sldId="338"/>
            <ac:spMk id="2" creationId="{42BFB565-1724-09FE-6F75-4E286728C8C9}"/>
          </ac:spMkLst>
        </pc:spChg>
        <pc:spChg chg="mod">
          <ac:chgData name="Jesse, Kevin" userId="6f05423f-cf98-4c12-b626-169f8a1317c4" providerId="ADAL" clId="{C12DEDC2-730C-5A22-9CCF-730A792D7847}" dt="2025-09-03T06:04:26.510" v="8744" actId="1076"/>
          <ac:spMkLst>
            <pc:docMk/>
            <pc:sldMk cId="1829120865" sldId="338"/>
            <ac:spMk id="3" creationId="{17AA403B-53C1-0173-E705-404D1737EE5B}"/>
          </ac:spMkLst>
        </pc:spChg>
        <pc:spChg chg="mod topLvl">
          <ac:chgData name="Jesse, Kevin" userId="6f05423f-cf98-4c12-b626-169f8a1317c4" providerId="ADAL" clId="{C12DEDC2-730C-5A22-9CCF-730A792D7847}" dt="2025-09-03T06:04:01.314" v="8736" actId="338"/>
          <ac:spMkLst>
            <pc:docMk/>
            <pc:sldMk cId="1829120865" sldId="338"/>
            <ac:spMk id="5" creationId="{5825EDAF-5CEC-C9F5-BF73-F8DCB9858968}"/>
          </ac:spMkLst>
        </pc:spChg>
        <pc:spChg chg="mod topLvl">
          <ac:chgData name="Jesse, Kevin" userId="6f05423f-cf98-4c12-b626-169f8a1317c4" providerId="ADAL" clId="{C12DEDC2-730C-5A22-9CCF-730A792D7847}" dt="2025-09-03T06:04:01.314" v="8736" actId="338"/>
          <ac:spMkLst>
            <pc:docMk/>
            <pc:sldMk cId="1829120865" sldId="338"/>
            <ac:spMk id="6" creationId="{C66AEB9D-F081-4BE4-31E7-5DDC727F0418}"/>
          </ac:spMkLst>
        </pc:spChg>
        <pc:spChg chg="add del mod">
          <ac:chgData name="Jesse, Kevin" userId="6f05423f-cf98-4c12-b626-169f8a1317c4" providerId="ADAL" clId="{C12DEDC2-730C-5A22-9CCF-730A792D7847}" dt="2025-09-03T06:04:01.314" v="8736" actId="338"/>
          <ac:spMkLst>
            <pc:docMk/>
            <pc:sldMk cId="1829120865" sldId="338"/>
            <ac:spMk id="7" creationId="{A10CC94D-F6CD-EE82-B890-972AA83DE510}"/>
          </ac:spMkLst>
        </pc:spChg>
        <pc:spChg chg="mod topLvl">
          <ac:chgData name="Jesse, Kevin" userId="6f05423f-cf98-4c12-b626-169f8a1317c4" providerId="ADAL" clId="{C12DEDC2-730C-5A22-9CCF-730A792D7847}" dt="2025-09-03T06:04:01.314" v="8736" actId="338"/>
          <ac:spMkLst>
            <pc:docMk/>
            <pc:sldMk cId="1829120865" sldId="338"/>
            <ac:spMk id="8" creationId="{3CF44F75-8F0B-6620-633F-69EEDEF7684F}"/>
          </ac:spMkLst>
        </pc:spChg>
        <pc:spChg chg="mod">
          <ac:chgData name="Jesse, Kevin" userId="6f05423f-cf98-4c12-b626-169f8a1317c4" providerId="ADAL" clId="{C12DEDC2-730C-5A22-9CCF-730A792D7847}" dt="2025-09-03T06:04:01.314" v="8736" actId="338"/>
          <ac:spMkLst>
            <pc:docMk/>
            <pc:sldMk cId="1829120865" sldId="338"/>
            <ac:spMk id="9" creationId="{6AE170E8-129D-39A6-97A7-0D26B31D9680}"/>
          </ac:spMkLst>
        </pc:spChg>
        <pc:spChg chg="mod topLvl">
          <ac:chgData name="Jesse, Kevin" userId="6f05423f-cf98-4c12-b626-169f8a1317c4" providerId="ADAL" clId="{C12DEDC2-730C-5A22-9CCF-730A792D7847}" dt="2025-09-03T06:04:01.314" v="8736" actId="338"/>
          <ac:spMkLst>
            <pc:docMk/>
            <pc:sldMk cId="1829120865" sldId="338"/>
            <ac:spMk id="10" creationId="{ED670598-DE8B-53ED-3D74-4FB9F6F00CE0}"/>
          </ac:spMkLst>
        </pc:spChg>
        <pc:spChg chg="mod">
          <ac:chgData name="Jesse, Kevin" userId="6f05423f-cf98-4c12-b626-169f8a1317c4" providerId="ADAL" clId="{C12DEDC2-730C-5A22-9CCF-730A792D7847}" dt="2025-09-03T06:04:01.314" v="8736" actId="338"/>
          <ac:spMkLst>
            <pc:docMk/>
            <pc:sldMk cId="1829120865" sldId="338"/>
            <ac:spMk id="11" creationId="{F64489AA-0FCB-A052-F354-1574A49B1716}"/>
          </ac:spMkLst>
        </pc:spChg>
        <pc:spChg chg="mod topLvl">
          <ac:chgData name="Jesse, Kevin" userId="6f05423f-cf98-4c12-b626-169f8a1317c4" providerId="ADAL" clId="{C12DEDC2-730C-5A22-9CCF-730A792D7847}" dt="2025-09-03T06:04:01.314" v="8736" actId="338"/>
          <ac:spMkLst>
            <pc:docMk/>
            <pc:sldMk cId="1829120865" sldId="338"/>
            <ac:spMk id="12" creationId="{85CC02D7-22EB-375D-C5F0-1E8BE0CD967D}"/>
          </ac:spMkLst>
        </pc:spChg>
        <pc:spChg chg="mod">
          <ac:chgData name="Jesse, Kevin" userId="6f05423f-cf98-4c12-b626-169f8a1317c4" providerId="ADAL" clId="{C12DEDC2-730C-5A22-9CCF-730A792D7847}" dt="2025-09-03T06:04:01.314" v="8736" actId="338"/>
          <ac:spMkLst>
            <pc:docMk/>
            <pc:sldMk cId="1829120865" sldId="338"/>
            <ac:spMk id="13" creationId="{3EBDACFD-8DDD-B3EC-582C-5748CE57E885}"/>
          </ac:spMkLst>
        </pc:spChg>
        <pc:grpChg chg="add mod">
          <ac:chgData name="Jesse, Kevin" userId="6f05423f-cf98-4c12-b626-169f8a1317c4" providerId="ADAL" clId="{C12DEDC2-730C-5A22-9CCF-730A792D7847}" dt="2025-09-03T06:04:11.367" v="8739" actId="1076"/>
          <ac:grpSpMkLst>
            <pc:docMk/>
            <pc:sldMk cId="1829120865" sldId="338"/>
            <ac:grpSpMk id="62" creationId="{92008DE5-F008-0630-640C-A4026026737D}"/>
          </ac:grpSpMkLst>
        </pc:grpChg>
      </pc:sldChg>
      <pc:sldChg chg="addSp modSp add mod modAnim">
        <pc:chgData name="Jesse, Kevin" userId="6f05423f-cf98-4c12-b626-169f8a1317c4" providerId="ADAL" clId="{C12DEDC2-730C-5A22-9CCF-730A792D7847}" dt="2025-09-03T05:57:31.151" v="8444" actId="1076"/>
        <pc:sldMkLst>
          <pc:docMk/>
          <pc:sldMk cId="2592372576" sldId="339"/>
        </pc:sldMkLst>
        <pc:spChg chg="mod">
          <ac:chgData name="Jesse, Kevin" userId="6f05423f-cf98-4c12-b626-169f8a1317c4" providerId="ADAL" clId="{C12DEDC2-730C-5A22-9CCF-730A792D7847}" dt="2025-09-03T05:52:26.869" v="7828" actId="20577"/>
          <ac:spMkLst>
            <pc:docMk/>
            <pc:sldMk cId="2592372576" sldId="339"/>
            <ac:spMk id="2" creationId="{4E36A33B-2056-33CB-B777-52CB18F7EFE9}"/>
          </ac:spMkLst>
        </pc:spChg>
        <pc:spChg chg="mod">
          <ac:chgData name="Jesse, Kevin" userId="6f05423f-cf98-4c12-b626-169f8a1317c4" providerId="ADAL" clId="{C12DEDC2-730C-5A22-9CCF-730A792D7847}" dt="2025-09-03T05:56:54.364" v="8438" actId="1076"/>
          <ac:spMkLst>
            <pc:docMk/>
            <pc:sldMk cId="2592372576" sldId="339"/>
            <ac:spMk id="3" creationId="{1AE89837-C316-3F49-D7DA-2D9DDC52B12E}"/>
          </ac:spMkLst>
        </pc:spChg>
        <pc:spChg chg="add mod">
          <ac:chgData name="Jesse, Kevin" userId="6f05423f-cf98-4c12-b626-169f8a1317c4" providerId="ADAL" clId="{C12DEDC2-730C-5A22-9CCF-730A792D7847}" dt="2025-09-03T05:52:07.873" v="7804" actId="164"/>
          <ac:spMkLst>
            <pc:docMk/>
            <pc:sldMk cId="2592372576" sldId="339"/>
            <ac:spMk id="29" creationId="{26025CEB-2DF4-DADC-4317-6CDC0D2131D9}"/>
          </ac:spMkLst>
        </pc:spChg>
        <pc:spChg chg="add mod">
          <ac:chgData name="Jesse, Kevin" userId="6f05423f-cf98-4c12-b626-169f8a1317c4" providerId="ADAL" clId="{C12DEDC2-730C-5A22-9CCF-730A792D7847}" dt="2025-09-03T05:52:07.873" v="7804" actId="164"/>
          <ac:spMkLst>
            <pc:docMk/>
            <pc:sldMk cId="2592372576" sldId="339"/>
            <ac:spMk id="30" creationId="{4D487529-62E7-E794-409D-DE080D3474B1}"/>
          </ac:spMkLst>
        </pc:spChg>
        <pc:spChg chg="add mod">
          <ac:chgData name="Jesse, Kevin" userId="6f05423f-cf98-4c12-b626-169f8a1317c4" providerId="ADAL" clId="{C12DEDC2-730C-5A22-9CCF-730A792D7847}" dt="2025-09-03T05:52:07.873" v="7804" actId="164"/>
          <ac:spMkLst>
            <pc:docMk/>
            <pc:sldMk cId="2592372576" sldId="339"/>
            <ac:spMk id="31" creationId="{EF10ADC2-14C3-9231-776F-0059D790BB17}"/>
          </ac:spMkLst>
        </pc:spChg>
        <pc:spChg chg="add mod">
          <ac:chgData name="Jesse, Kevin" userId="6f05423f-cf98-4c12-b626-169f8a1317c4" providerId="ADAL" clId="{C12DEDC2-730C-5A22-9CCF-730A792D7847}" dt="2025-09-03T05:52:07.873" v="7804" actId="164"/>
          <ac:spMkLst>
            <pc:docMk/>
            <pc:sldMk cId="2592372576" sldId="339"/>
            <ac:spMk id="34" creationId="{D3993CB4-C151-FE1A-0AD7-42AF7466E1D8}"/>
          </ac:spMkLst>
        </pc:spChg>
        <pc:spChg chg="add mod">
          <ac:chgData name="Jesse, Kevin" userId="6f05423f-cf98-4c12-b626-169f8a1317c4" providerId="ADAL" clId="{C12DEDC2-730C-5A22-9CCF-730A792D7847}" dt="2025-09-03T05:52:07.873" v="7804" actId="164"/>
          <ac:spMkLst>
            <pc:docMk/>
            <pc:sldMk cId="2592372576" sldId="339"/>
            <ac:spMk id="37" creationId="{EF834C7F-79DB-EF4B-29E2-D9E5E35363AE}"/>
          </ac:spMkLst>
        </pc:spChg>
        <pc:spChg chg="add mod">
          <ac:chgData name="Jesse, Kevin" userId="6f05423f-cf98-4c12-b626-169f8a1317c4" providerId="ADAL" clId="{C12DEDC2-730C-5A22-9CCF-730A792D7847}" dt="2025-09-03T05:52:07.873" v="7804" actId="164"/>
          <ac:spMkLst>
            <pc:docMk/>
            <pc:sldMk cId="2592372576" sldId="339"/>
            <ac:spMk id="38" creationId="{EC097CE5-CE66-C0A3-3077-7ECE3965FBD6}"/>
          </ac:spMkLst>
        </pc:spChg>
        <pc:spChg chg="add mod">
          <ac:chgData name="Jesse, Kevin" userId="6f05423f-cf98-4c12-b626-169f8a1317c4" providerId="ADAL" clId="{C12DEDC2-730C-5A22-9CCF-730A792D7847}" dt="2025-09-03T05:52:07.873" v="7804" actId="164"/>
          <ac:spMkLst>
            <pc:docMk/>
            <pc:sldMk cId="2592372576" sldId="339"/>
            <ac:spMk id="39" creationId="{807FDB22-D09A-F017-DE81-31AA2F9FAF35}"/>
          </ac:spMkLst>
        </pc:spChg>
        <pc:spChg chg="add mod">
          <ac:chgData name="Jesse, Kevin" userId="6f05423f-cf98-4c12-b626-169f8a1317c4" providerId="ADAL" clId="{C12DEDC2-730C-5A22-9CCF-730A792D7847}" dt="2025-09-03T05:52:07.873" v="7804" actId="164"/>
          <ac:spMkLst>
            <pc:docMk/>
            <pc:sldMk cId="2592372576" sldId="339"/>
            <ac:spMk id="40" creationId="{986DC1FD-AB44-16E4-9A2F-9BE2B4DBBF89}"/>
          </ac:spMkLst>
        </pc:spChg>
        <pc:spChg chg="add mod">
          <ac:chgData name="Jesse, Kevin" userId="6f05423f-cf98-4c12-b626-169f8a1317c4" providerId="ADAL" clId="{C12DEDC2-730C-5A22-9CCF-730A792D7847}" dt="2025-09-03T05:52:07.873" v="7804" actId="164"/>
          <ac:spMkLst>
            <pc:docMk/>
            <pc:sldMk cId="2592372576" sldId="339"/>
            <ac:spMk id="45" creationId="{29E40229-4581-E9BE-E662-1FC0AD1D18FF}"/>
          </ac:spMkLst>
        </pc:spChg>
        <pc:spChg chg="add mod">
          <ac:chgData name="Jesse, Kevin" userId="6f05423f-cf98-4c12-b626-169f8a1317c4" providerId="ADAL" clId="{C12DEDC2-730C-5A22-9CCF-730A792D7847}" dt="2025-09-03T05:52:07.873" v="7804" actId="164"/>
          <ac:spMkLst>
            <pc:docMk/>
            <pc:sldMk cId="2592372576" sldId="339"/>
            <ac:spMk id="51" creationId="{F25C465C-47EC-F524-48E5-6CEC66DE2BDE}"/>
          </ac:spMkLst>
        </pc:spChg>
        <pc:spChg chg="add mod">
          <ac:chgData name="Jesse, Kevin" userId="6f05423f-cf98-4c12-b626-169f8a1317c4" providerId="ADAL" clId="{C12DEDC2-730C-5A22-9CCF-730A792D7847}" dt="2025-09-03T05:53:33.916" v="7991" actId="1076"/>
          <ac:spMkLst>
            <pc:docMk/>
            <pc:sldMk cId="2592372576" sldId="339"/>
            <ac:spMk id="55" creationId="{6C0BDEC4-26C7-9D78-E941-CAC2767A7BE0}"/>
          </ac:spMkLst>
        </pc:spChg>
        <pc:grpChg chg="mod">
          <ac:chgData name="Jesse, Kevin" userId="6f05423f-cf98-4c12-b626-169f8a1317c4" providerId="ADAL" clId="{C12DEDC2-730C-5A22-9CCF-730A792D7847}" dt="2025-09-03T05:57:31.151" v="8444" actId="1076"/>
          <ac:grpSpMkLst>
            <pc:docMk/>
            <pc:sldMk cId="2592372576" sldId="339"/>
            <ac:grpSpMk id="54" creationId="{72A91DE5-4095-E631-EB56-66FDB6CB7BF1}"/>
          </ac:grpSpMkLst>
        </pc:grpChg>
      </pc:sldChg>
      <pc:sldChg chg="addSp delSp modSp add mod">
        <pc:chgData name="Jesse, Kevin" userId="6f05423f-cf98-4c12-b626-169f8a1317c4" providerId="ADAL" clId="{C12DEDC2-730C-5A22-9CCF-730A792D7847}" dt="2025-09-03T06:14:08.250" v="9320" actId="20577"/>
        <pc:sldMkLst>
          <pc:docMk/>
          <pc:sldMk cId="970198863" sldId="340"/>
        </pc:sldMkLst>
        <pc:spChg chg="mod">
          <ac:chgData name="Jesse, Kevin" userId="6f05423f-cf98-4c12-b626-169f8a1317c4" providerId="ADAL" clId="{C12DEDC2-730C-5A22-9CCF-730A792D7847}" dt="2025-09-03T06:13:24.569" v="9203" actId="1076"/>
          <ac:spMkLst>
            <pc:docMk/>
            <pc:sldMk cId="970198863" sldId="340"/>
            <ac:spMk id="2" creationId="{62D72BFA-99E3-0452-22D5-F7C85A34BF43}"/>
          </ac:spMkLst>
        </pc:spChg>
        <pc:spChg chg="add del mod">
          <ac:chgData name="Jesse, Kevin" userId="6f05423f-cf98-4c12-b626-169f8a1317c4" providerId="ADAL" clId="{C12DEDC2-730C-5A22-9CCF-730A792D7847}" dt="2025-09-03T06:14:08.250" v="9320" actId="20577"/>
          <ac:spMkLst>
            <pc:docMk/>
            <pc:sldMk cId="970198863" sldId="340"/>
            <ac:spMk id="14" creationId="{13DA53D5-AA8A-E478-B023-0C2CD5A7F8A0}"/>
          </ac:spMkLst>
        </pc:spChg>
        <pc:spChg chg="add del mod topLvl">
          <ac:chgData name="Jesse, Kevin" userId="6f05423f-cf98-4c12-b626-169f8a1317c4" providerId="ADAL" clId="{C12DEDC2-730C-5A22-9CCF-730A792D7847}" dt="2025-09-03T06:13:30.420" v="9204" actId="164"/>
          <ac:spMkLst>
            <pc:docMk/>
            <pc:sldMk cId="970198863" sldId="340"/>
            <ac:spMk id="15" creationId="{53BAC5D0-4BAC-7FEC-79AD-C9BF9B9AB106}"/>
          </ac:spMkLst>
        </pc:spChg>
        <pc:spChg chg="add del mod topLvl">
          <ac:chgData name="Jesse, Kevin" userId="6f05423f-cf98-4c12-b626-169f8a1317c4" providerId="ADAL" clId="{C12DEDC2-730C-5A22-9CCF-730A792D7847}" dt="2025-09-03T06:13:30.420" v="9204" actId="164"/>
          <ac:spMkLst>
            <pc:docMk/>
            <pc:sldMk cId="970198863" sldId="340"/>
            <ac:spMk id="16" creationId="{91BFD2DC-9AAE-5E41-CCC6-DD023D9FDCC6}"/>
          </ac:spMkLst>
        </pc:spChg>
        <pc:spChg chg="add del mod topLvl">
          <ac:chgData name="Jesse, Kevin" userId="6f05423f-cf98-4c12-b626-169f8a1317c4" providerId="ADAL" clId="{C12DEDC2-730C-5A22-9CCF-730A792D7847}" dt="2025-09-03T06:13:30.420" v="9204" actId="164"/>
          <ac:spMkLst>
            <pc:docMk/>
            <pc:sldMk cId="970198863" sldId="340"/>
            <ac:spMk id="17" creationId="{52551059-4F2B-984F-ED1A-4A14D81E0DB2}"/>
          </ac:spMkLst>
        </pc:spChg>
        <pc:spChg chg="add del mod topLvl">
          <ac:chgData name="Jesse, Kevin" userId="6f05423f-cf98-4c12-b626-169f8a1317c4" providerId="ADAL" clId="{C12DEDC2-730C-5A22-9CCF-730A792D7847}" dt="2025-09-03T06:13:30.420" v="9204" actId="164"/>
          <ac:spMkLst>
            <pc:docMk/>
            <pc:sldMk cId="970198863" sldId="340"/>
            <ac:spMk id="34" creationId="{3673B209-D9BD-4054-CF72-852521F7BE01}"/>
          </ac:spMkLst>
        </pc:spChg>
        <pc:spChg chg="add del mod topLvl">
          <ac:chgData name="Jesse, Kevin" userId="6f05423f-cf98-4c12-b626-169f8a1317c4" providerId="ADAL" clId="{C12DEDC2-730C-5A22-9CCF-730A792D7847}" dt="2025-09-03T06:13:30.420" v="9204" actId="164"/>
          <ac:spMkLst>
            <pc:docMk/>
            <pc:sldMk cId="970198863" sldId="340"/>
            <ac:spMk id="35" creationId="{4A5E1785-946A-5330-0948-9B7C84D9056A}"/>
          </ac:spMkLst>
        </pc:spChg>
        <pc:spChg chg="add del mod topLvl">
          <ac:chgData name="Jesse, Kevin" userId="6f05423f-cf98-4c12-b626-169f8a1317c4" providerId="ADAL" clId="{C12DEDC2-730C-5A22-9CCF-730A792D7847}" dt="2025-09-03T06:13:30.420" v="9204" actId="164"/>
          <ac:spMkLst>
            <pc:docMk/>
            <pc:sldMk cId="970198863" sldId="340"/>
            <ac:spMk id="36" creationId="{F009F18C-B0C8-3867-03F1-F1FC560FFFBF}"/>
          </ac:spMkLst>
        </pc:spChg>
        <pc:grpChg chg="mod">
          <ac:chgData name="Jesse, Kevin" userId="6f05423f-cf98-4c12-b626-169f8a1317c4" providerId="ADAL" clId="{C12DEDC2-730C-5A22-9CCF-730A792D7847}" dt="2025-09-03T06:13:32.775" v="9205" actId="1076"/>
          <ac:grpSpMkLst>
            <pc:docMk/>
            <pc:sldMk cId="970198863" sldId="340"/>
            <ac:grpSpMk id="38" creationId="{0A19289C-4336-659D-3C58-5A90FA954E63}"/>
          </ac:grpSpMkLst>
        </pc:grpChg>
        <pc:picChg chg="add del mod topLvl">
          <ac:chgData name="Jesse, Kevin" userId="6f05423f-cf98-4c12-b626-169f8a1317c4" providerId="ADAL" clId="{C12DEDC2-730C-5A22-9CCF-730A792D7847}" dt="2025-09-03T06:13:30.420" v="9204" actId="164"/>
          <ac:picMkLst>
            <pc:docMk/>
            <pc:sldMk cId="970198863" sldId="340"/>
            <ac:picMk id="30" creationId="{498A4D20-E83E-4581-10B3-9C731C672D47}"/>
          </ac:picMkLst>
        </pc:picChg>
        <pc:picChg chg="add del mod topLvl">
          <ac:chgData name="Jesse, Kevin" userId="6f05423f-cf98-4c12-b626-169f8a1317c4" providerId="ADAL" clId="{C12DEDC2-730C-5A22-9CCF-730A792D7847}" dt="2025-09-03T06:13:30.420" v="9204" actId="164"/>
          <ac:picMkLst>
            <pc:docMk/>
            <pc:sldMk cId="970198863" sldId="340"/>
            <ac:picMk id="31" creationId="{8F218904-D397-8345-6AB3-7FC264D45DC5}"/>
          </ac:picMkLst>
        </pc:picChg>
        <pc:picChg chg="add del mod topLvl">
          <ac:chgData name="Jesse, Kevin" userId="6f05423f-cf98-4c12-b626-169f8a1317c4" providerId="ADAL" clId="{C12DEDC2-730C-5A22-9CCF-730A792D7847}" dt="2025-09-03T06:13:30.420" v="9204" actId="164"/>
          <ac:picMkLst>
            <pc:docMk/>
            <pc:sldMk cId="970198863" sldId="340"/>
            <ac:picMk id="32" creationId="{770B429C-C94F-7DF7-F35F-3068055EF010}"/>
          </ac:picMkLst>
        </pc:picChg>
        <pc:picChg chg="add del mod topLvl">
          <ac:chgData name="Jesse, Kevin" userId="6f05423f-cf98-4c12-b626-169f8a1317c4" providerId="ADAL" clId="{C12DEDC2-730C-5A22-9CCF-730A792D7847}" dt="2025-09-03T06:13:30.420" v="9204" actId="164"/>
          <ac:picMkLst>
            <pc:docMk/>
            <pc:sldMk cId="970198863" sldId="340"/>
            <ac:picMk id="33" creationId="{1A54AFA1-CCED-5D8A-1932-5B2B71D82DF5}"/>
          </ac:picMkLst>
        </pc:picChg>
      </pc:sldChg>
      <pc:sldChg chg="addSp delSp modSp add del mod modClrScheme chgLayout">
        <pc:chgData name="Jesse, Kevin" userId="6f05423f-cf98-4c12-b626-169f8a1317c4" providerId="ADAL" clId="{C12DEDC2-730C-5A22-9CCF-730A792D7847}" dt="2025-09-19T10:43:21.897" v="32108" actId="2696"/>
        <pc:sldMkLst>
          <pc:docMk/>
          <pc:sldMk cId="3258777059" sldId="341"/>
        </pc:sldMkLst>
      </pc:sldChg>
      <pc:sldChg chg="modSp add mod">
        <pc:chgData name="Jesse, Kevin" userId="6f05423f-cf98-4c12-b626-169f8a1317c4" providerId="ADAL" clId="{C12DEDC2-730C-5A22-9CCF-730A792D7847}" dt="2025-09-08T19:57:56.754" v="30676" actId="20577"/>
        <pc:sldMkLst>
          <pc:docMk/>
          <pc:sldMk cId="4002201035" sldId="342"/>
        </pc:sldMkLst>
        <pc:graphicFrameChg chg="mod">
          <ac:chgData name="Jesse, Kevin" userId="6f05423f-cf98-4c12-b626-169f8a1317c4" providerId="ADAL" clId="{C12DEDC2-730C-5A22-9CCF-730A792D7847}" dt="2025-09-08T19:57:56.754" v="30676" actId="20577"/>
          <ac:graphicFrameMkLst>
            <pc:docMk/>
            <pc:sldMk cId="4002201035" sldId="342"/>
            <ac:graphicFrameMk id="3" creationId="{C2A1E5A2-B2FC-54DB-CA4E-528A8217FC16}"/>
          </ac:graphicFrameMkLst>
        </pc:graphicFrameChg>
      </pc:sldChg>
      <pc:sldChg chg="addSp delSp modSp new mod modClrScheme chgLayout">
        <pc:chgData name="Jesse, Kevin" userId="6f05423f-cf98-4c12-b626-169f8a1317c4" providerId="ADAL" clId="{C12DEDC2-730C-5A22-9CCF-730A792D7847}" dt="2025-09-03T14:27:54.749" v="12898" actId="1076"/>
        <pc:sldMkLst>
          <pc:docMk/>
          <pc:sldMk cId="3280180954" sldId="343"/>
        </pc:sldMkLst>
        <pc:spChg chg="add mod ord">
          <ac:chgData name="Jesse, Kevin" userId="6f05423f-cf98-4c12-b626-169f8a1317c4" providerId="ADAL" clId="{C12DEDC2-730C-5A22-9CCF-730A792D7847}" dt="2025-09-03T14:19:02.423" v="12170" actId="20577"/>
          <ac:spMkLst>
            <pc:docMk/>
            <pc:sldMk cId="3280180954" sldId="343"/>
            <ac:spMk id="3" creationId="{121493D6-C779-1B17-2601-4287C5C98B31}"/>
          </ac:spMkLst>
        </pc:spChg>
        <pc:spChg chg="add mod ord">
          <ac:chgData name="Jesse, Kevin" userId="6f05423f-cf98-4c12-b626-169f8a1317c4" providerId="ADAL" clId="{C12DEDC2-730C-5A22-9CCF-730A792D7847}" dt="2025-09-03T14:27:49.138" v="12895" actId="20577"/>
          <ac:spMkLst>
            <pc:docMk/>
            <pc:sldMk cId="3280180954" sldId="343"/>
            <ac:spMk id="4" creationId="{753C1094-3D35-517C-C1B3-65FFF9C7714B}"/>
          </ac:spMkLst>
        </pc:spChg>
        <pc:spChg chg="mod">
          <ac:chgData name="Jesse, Kevin" userId="6f05423f-cf98-4c12-b626-169f8a1317c4" providerId="ADAL" clId="{C12DEDC2-730C-5A22-9CCF-730A792D7847}" dt="2025-09-03T14:23:40.602" v="12341"/>
          <ac:spMkLst>
            <pc:docMk/>
            <pc:sldMk cId="3280180954" sldId="343"/>
            <ac:spMk id="6" creationId="{313F479F-0AA2-1223-6263-9AEF86CF5924}"/>
          </ac:spMkLst>
        </pc:spChg>
        <pc:spChg chg="mod">
          <ac:chgData name="Jesse, Kevin" userId="6f05423f-cf98-4c12-b626-169f8a1317c4" providerId="ADAL" clId="{C12DEDC2-730C-5A22-9CCF-730A792D7847}" dt="2025-09-03T14:23:40.602" v="12341"/>
          <ac:spMkLst>
            <pc:docMk/>
            <pc:sldMk cId="3280180954" sldId="343"/>
            <ac:spMk id="7" creationId="{6E03B7F3-A420-2957-6FA1-EA4DEBDF9448}"/>
          </ac:spMkLst>
        </pc:spChg>
        <pc:spChg chg="mod">
          <ac:chgData name="Jesse, Kevin" userId="6f05423f-cf98-4c12-b626-169f8a1317c4" providerId="ADAL" clId="{C12DEDC2-730C-5A22-9CCF-730A792D7847}" dt="2025-09-03T14:23:40.602" v="12341"/>
          <ac:spMkLst>
            <pc:docMk/>
            <pc:sldMk cId="3280180954" sldId="343"/>
            <ac:spMk id="8" creationId="{69A5901C-72C1-5E96-9F07-7A7AF1D447DA}"/>
          </ac:spMkLst>
        </pc:spChg>
        <pc:spChg chg="mod">
          <ac:chgData name="Jesse, Kevin" userId="6f05423f-cf98-4c12-b626-169f8a1317c4" providerId="ADAL" clId="{C12DEDC2-730C-5A22-9CCF-730A792D7847}" dt="2025-09-03T14:23:40.602" v="12341"/>
          <ac:spMkLst>
            <pc:docMk/>
            <pc:sldMk cId="3280180954" sldId="343"/>
            <ac:spMk id="9" creationId="{8509A59B-E421-27D1-5CC7-D6D6D6E58263}"/>
          </ac:spMkLst>
        </pc:spChg>
        <pc:spChg chg="mod">
          <ac:chgData name="Jesse, Kevin" userId="6f05423f-cf98-4c12-b626-169f8a1317c4" providerId="ADAL" clId="{C12DEDC2-730C-5A22-9CCF-730A792D7847}" dt="2025-09-03T14:23:40.602" v="12341"/>
          <ac:spMkLst>
            <pc:docMk/>
            <pc:sldMk cId="3280180954" sldId="343"/>
            <ac:spMk id="10" creationId="{71B34FC6-2750-071E-297A-3E5DE756297D}"/>
          </ac:spMkLst>
        </pc:spChg>
        <pc:spChg chg="mod">
          <ac:chgData name="Jesse, Kevin" userId="6f05423f-cf98-4c12-b626-169f8a1317c4" providerId="ADAL" clId="{C12DEDC2-730C-5A22-9CCF-730A792D7847}" dt="2025-09-03T14:23:40.602" v="12341"/>
          <ac:spMkLst>
            <pc:docMk/>
            <pc:sldMk cId="3280180954" sldId="343"/>
            <ac:spMk id="11" creationId="{BEE412B2-4C93-FC71-8E2F-E7F32832D7A7}"/>
          </ac:spMkLst>
        </pc:spChg>
        <pc:spChg chg="mod">
          <ac:chgData name="Jesse, Kevin" userId="6f05423f-cf98-4c12-b626-169f8a1317c4" providerId="ADAL" clId="{C12DEDC2-730C-5A22-9CCF-730A792D7847}" dt="2025-09-03T14:23:40.602" v="12341"/>
          <ac:spMkLst>
            <pc:docMk/>
            <pc:sldMk cId="3280180954" sldId="343"/>
            <ac:spMk id="13" creationId="{2280B70B-E6AB-70D1-CCD4-251E6800C880}"/>
          </ac:spMkLst>
        </pc:spChg>
        <pc:spChg chg="add mod">
          <ac:chgData name="Jesse, Kevin" userId="6f05423f-cf98-4c12-b626-169f8a1317c4" providerId="ADAL" clId="{C12DEDC2-730C-5A22-9CCF-730A792D7847}" dt="2025-09-03T14:23:40.602" v="12341"/>
          <ac:spMkLst>
            <pc:docMk/>
            <pc:sldMk cId="3280180954" sldId="343"/>
            <ac:spMk id="17" creationId="{D9AE93DD-7C5E-A025-1782-E4B6A2DB5B8C}"/>
          </ac:spMkLst>
        </pc:spChg>
        <pc:spChg chg="add mod">
          <ac:chgData name="Jesse, Kevin" userId="6f05423f-cf98-4c12-b626-169f8a1317c4" providerId="ADAL" clId="{C12DEDC2-730C-5A22-9CCF-730A792D7847}" dt="2025-09-03T14:24:38.631" v="12442" actId="1035"/>
          <ac:spMkLst>
            <pc:docMk/>
            <pc:sldMk cId="3280180954" sldId="343"/>
            <ac:spMk id="18" creationId="{29D32807-7110-6C1C-5F2C-1911F4E31C9F}"/>
          </ac:spMkLst>
        </pc:spChg>
        <pc:spChg chg="mod">
          <ac:chgData name="Jesse, Kevin" userId="6f05423f-cf98-4c12-b626-169f8a1317c4" providerId="ADAL" clId="{C12DEDC2-730C-5A22-9CCF-730A792D7847}" dt="2025-09-03T14:24:45.689" v="12451" actId="1035"/>
          <ac:spMkLst>
            <pc:docMk/>
            <pc:sldMk cId="3280180954" sldId="343"/>
            <ac:spMk id="19" creationId="{5ED1AA16-856D-6F22-0E33-BC1C36B0B888}"/>
          </ac:spMkLst>
        </pc:spChg>
        <pc:spChg chg="add mod">
          <ac:chgData name="Jesse, Kevin" userId="6f05423f-cf98-4c12-b626-169f8a1317c4" providerId="ADAL" clId="{C12DEDC2-730C-5A22-9CCF-730A792D7847}" dt="2025-09-03T14:26:53.268" v="12828" actId="1076"/>
          <ac:spMkLst>
            <pc:docMk/>
            <pc:sldMk cId="3280180954" sldId="343"/>
            <ac:spMk id="23" creationId="{BFFA7BE2-0A37-1D13-9E08-654FFBD38256}"/>
          </ac:spMkLst>
        </pc:spChg>
        <pc:spChg chg="add mod">
          <ac:chgData name="Jesse, Kevin" userId="6f05423f-cf98-4c12-b626-169f8a1317c4" providerId="ADAL" clId="{C12DEDC2-730C-5A22-9CCF-730A792D7847}" dt="2025-09-03T14:27:54.749" v="12898" actId="1076"/>
          <ac:spMkLst>
            <pc:docMk/>
            <pc:sldMk cId="3280180954" sldId="343"/>
            <ac:spMk id="24" creationId="{964BF4B9-5633-5EEA-9402-A5D2BCC71332}"/>
          </ac:spMkLst>
        </pc:spChg>
      </pc:sldChg>
      <pc:sldChg chg="addSp modSp add mod">
        <pc:chgData name="Jesse, Kevin" userId="6f05423f-cf98-4c12-b626-169f8a1317c4" providerId="ADAL" clId="{C12DEDC2-730C-5A22-9CCF-730A792D7847}" dt="2025-09-04T00:11:48.652" v="14725" actId="14100"/>
        <pc:sldMkLst>
          <pc:docMk/>
          <pc:sldMk cId="290043540" sldId="344"/>
        </pc:sldMkLst>
        <pc:spChg chg="mod">
          <ac:chgData name="Jesse, Kevin" userId="6f05423f-cf98-4c12-b626-169f8a1317c4" providerId="ADAL" clId="{C12DEDC2-730C-5A22-9CCF-730A792D7847}" dt="2025-09-03T14:19:23.471" v="12234" actId="20577"/>
          <ac:spMkLst>
            <pc:docMk/>
            <pc:sldMk cId="290043540" sldId="344"/>
            <ac:spMk id="3" creationId="{9B12B1FA-14BE-3C4E-BB3F-49BE75897392}"/>
          </ac:spMkLst>
        </pc:spChg>
        <pc:spChg chg="mod">
          <ac:chgData name="Jesse, Kevin" userId="6f05423f-cf98-4c12-b626-169f8a1317c4" providerId="ADAL" clId="{C12DEDC2-730C-5A22-9CCF-730A792D7847}" dt="2025-09-04T00:11:48.652" v="14725" actId="14100"/>
          <ac:spMkLst>
            <pc:docMk/>
            <pc:sldMk cId="290043540" sldId="344"/>
            <ac:spMk id="4" creationId="{AC4880FF-2791-C04B-ED7D-3D8C1D5D471D}"/>
          </ac:spMkLst>
        </pc:spChg>
        <pc:picChg chg="add mod">
          <ac:chgData name="Jesse, Kevin" userId="6f05423f-cf98-4c12-b626-169f8a1317c4" providerId="ADAL" clId="{C12DEDC2-730C-5A22-9CCF-730A792D7847}" dt="2025-09-04T00:07:54.317" v="14199" actId="1076"/>
          <ac:picMkLst>
            <pc:docMk/>
            <pc:sldMk cId="290043540" sldId="344"/>
            <ac:picMk id="1026" creationId="{98CC5ED1-2B99-F29D-2C4C-CF1EAD293E2C}"/>
          </ac:picMkLst>
        </pc:picChg>
      </pc:sldChg>
      <pc:sldChg chg="addSp delSp modSp add mod">
        <pc:chgData name="Jesse, Kevin" userId="6f05423f-cf98-4c12-b626-169f8a1317c4" providerId="ADAL" clId="{C12DEDC2-730C-5A22-9CCF-730A792D7847}" dt="2025-09-04T00:45:40.453" v="17057" actId="14100"/>
        <pc:sldMkLst>
          <pc:docMk/>
          <pc:sldMk cId="1569349709" sldId="345"/>
        </pc:sldMkLst>
        <pc:spChg chg="mod">
          <ac:chgData name="Jesse, Kevin" userId="6f05423f-cf98-4c12-b626-169f8a1317c4" providerId="ADAL" clId="{C12DEDC2-730C-5A22-9CCF-730A792D7847}" dt="2025-09-03T14:20:03.646" v="12280" actId="20577"/>
          <ac:spMkLst>
            <pc:docMk/>
            <pc:sldMk cId="1569349709" sldId="345"/>
            <ac:spMk id="3" creationId="{5C787253-3586-E09C-A460-8EA44E602F10}"/>
          </ac:spMkLst>
        </pc:spChg>
        <pc:graphicFrameChg chg="add mod modGraphic">
          <ac:chgData name="Jesse, Kevin" userId="6f05423f-cf98-4c12-b626-169f8a1317c4" providerId="ADAL" clId="{C12DEDC2-730C-5A22-9CCF-730A792D7847}" dt="2025-09-04T00:45:40.453" v="17057" actId="14100"/>
          <ac:graphicFrameMkLst>
            <pc:docMk/>
            <pc:sldMk cId="1569349709" sldId="345"/>
            <ac:graphicFrameMk id="2" creationId="{13208E95-35D0-0C24-44FC-04928C869CEC}"/>
          </ac:graphicFrameMkLst>
        </pc:graphicFrameChg>
      </pc:sldChg>
      <pc:sldChg chg="addSp modSp add mod">
        <pc:chgData name="Jesse, Kevin" userId="6f05423f-cf98-4c12-b626-169f8a1317c4" providerId="ADAL" clId="{C12DEDC2-730C-5A22-9CCF-730A792D7847}" dt="2025-09-04T00:57:25.292" v="17451" actId="20577"/>
        <pc:sldMkLst>
          <pc:docMk/>
          <pc:sldMk cId="128602768" sldId="346"/>
        </pc:sldMkLst>
        <pc:spChg chg="add mod">
          <ac:chgData name="Jesse, Kevin" userId="6f05423f-cf98-4c12-b626-169f8a1317c4" providerId="ADAL" clId="{C12DEDC2-730C-5A22-9CCF-730A792D7847}" dt="2025-09-04T00:54:16.035" v="17130" actId="1076"/>
          <ac:spMkLst>
            <pc:docMk/>
            <pc:sldMk cId="128602768" sldId="346"/>
            <ac:spMk id="2" creationId="{BB231EDE-B84B-850D-0EA6-CF1ED622A8AB}"/>
          </ac:spMkLst>
        </pc:spChg>
        <pc:spChg chg="mod">
          <ac:chgData name="Jesse, Kevin" userId="6f05423f-cf98-4c12-b626-169f8a1317c4" providerId="ADAL" clId="{C12DEDC2-730C-5A22-9CCF-730A792D7847}" dt="2025-09-03T14:20:18.635" v="12340" actId="20577"/>
          <ac:spMkLst>
            <pc:docMk/>
            <pc:sldMk cId="128602768" sldId="346"/>
            <ac:spMk id="3" creationId="{351201F7-4A9E-7A51-66EE-BB0A9C157DD9}"/>
          </ac:spMkLst>
        </pc:spChg>
        <pc:spChg chg="mod">
          <ac:chgData name="Jesse, Kevin" userId="6f05423f-cf98-4c12-b626-169f8a1317c4" providerId="ADAL" clId="{C12DEDC2-730C-5A22-9CCF-730A792D7847}" dt="2025-09-04T00:55:32.989" v="17135" actId="14100"/>
          <ac:spMkLst>
            <pc:docMk/>
            <pc:sldMk cId="128602768" sldId="346"/>
            <ac:spMk id="4" creationId="{48AC0E8E-6967-BF51-A9BB-5BC9B13BDE70}"/>
          </ac:spMkLst>
        </pc:spChg>
        <pc:spChg chg="add mod">
          <ac:chgData name="Jesse, Kevin" userId="6f05423f-cf98-4c12-b626-169f8a1317c4" providerId="ADAL" clId="{C12DEDC2-730C-5A22-9CCF-730A792D7847}" dt="2025-09-04T00:55:58.355" v="17195" actId="1076"/>
          <ac:spMkLst>
            <pc:docMk/>
            <pc:sldMk cId="128602768" sldId="346"/>
            <ac:spMk id="7" creationId="{69DE602F-386D-B646-31E8-1C01FCAF0EBA}"/>
          </ac:spMkLst>
        </pc:spChg>
        <pc:spChg chg="add mod">
          <ac:chgData name="Jesse, Kevin" userId="6f05423f-cf98-4c12-b626-169f8a1317c4" providerId="ADAL" clId="{C12DEDC2-730C-5A22-9CCF-730A792D7847}" dt="2025-09-04T00:57:25.292" v="17451" actId="20577"/>
          <ac:spMkLst>
            <pc:docMk/>
            <pc:sldMk cId="128602768" sldId="346"/>
            <ac:spMk id="8" creationId="{390E7AB6-2A1E-E7D6-47E1-5400B1EA44C8}"/>
          </ac:spMkLst>
        </pc:spChg>
        <pc:picChg chg="add mod">
          <ac:chgData name="Jesse, Kevin" userId="6f05423f-cf98-4c12-b626-169f8a1317c4" providerId="ADAL" clId="{C12DEDC2-730C-5A22-9CCF-730A792D7847}" dt="2025-09-04T00:55:26.947" v="17134" actId="1076"/>
          <ac:picMkLst>
            <pc:docMk/>
            <pc:sldMk cId="128602768" sldId="346"/>
            <ac:picMk id="6" creationId="{CBF7F30B-90E5-D257-413F-C8E299CB917C}"/>
          </ac:picMkLst>
        </pc:picChg>
      </pc:sldChg>
      <pc:sldChg chg="addSp modSp add mod">
        <pc:chgData name="Jesse, Kevin" userId="6f05423f-cf98-4c12-b626-169f8a1317c4" providerId="ADAL" clId="{C12DEDC2-730C-5A22-9CCF-730A792D7847}" dt="2025-09-04T01:36:09.077" v="19209" actId="1076"/>
        <pc:sldMkLst>
          <pc:docMk/>
          <pc:sldMk cId="857144716" sldId="347"/>
        </pc:sldMkLst>
        <pc:spChg chg="mod">
          <ac:chgData name="Jesse, Kevin" userId="6f05423f-cf98-4c12-b626-169f8a1317c4" providerId="ADAL" clId="{C12DEDC2-730C-5A22-9CCF-730A792D7847}" dt="2025-09-04T01:27:40.500" v="18484" actId="20577"/>
          <ac:spMkLst>
            <pc:docMk/>
            <pc:sldMk cId="857144716" sldId="347"/>
            <ac:spMk id="3" creationId="{C6234E07-A9C8-B02E-F9A7-D43B434EB50C}"/>
          </ac:spMkLst>
        </pc:spChg>
        <pc:spChg chg="mod">
          <ac:chgData name="Jesse, Kevin" userId="6f05423f-cf98-4c12-b626-169f8a1317c4" providerId="ADAL" clId="{C12DEDC2-730C-5A22-9CCF-730A792D7847}" dt="2025-09-04T01:33:36.746" v="19197" actId="20577"/>
          <ac:spMkLst>
            <pc:docMk/>
            <pc:sldMk cId="857144716" sldId="347"/>
            <ac:spMk id="4" creationId="{CE4EEC75-CD50-7C69-574B-EC738D33E9B2}"/>
          </ac:spMkLst>
        </pc:spChg>
        <pc:picChg chg="add mod">
          <ac:chgData name="Jesse, Kevin" userId="6f05423f-cf98-4c12-b626-169f8a1317c4" providerId="ADAL" clId="{C12DEDC2-730C-5A22-9CCF-730A792D7847}" dt="2025-09-04T01:36:09.077" v="19209" actId="1076"/>
          <ac:picMkLst>
            <pc:docMk/>
            <pc:sldMk cId="857144716" sldId="347"/>
            <ac:picMk id="5" creationId="{2C917236-2CEB-712D-D7D0-D3801D91FAAD}"/>
          </ac:picMkLst>
        </pc:picChg>
      </pc:sldChg>
      <pc:sldChg chg="add">
        <pc:chgData name="Jesse, Kevin" userId="6f05423f-cf98-4c12-b626-169f8a1317c4" providerId="ADAL" clId="{C12DEDC2-730C-5A22-9CCF-730A792D7847}" dt="2025-09-16T17:41:42.821" v="30940"/>
        <pc:sldMkLst>
          <pc:docMk/>
          <pc:sldMk cId="366735010" sldId="348"/>
        </pc:sldMkLst>
      </pc:sldChg>
      <pc:sldChg chg="modSp add del mod">
        <pc:chgData name="Jesse, Kevin" userId="6f05423f-cf98-4c12-b626-169f8a1317c4" providerId="ADAL" clId="{C12DEDC2-730C-5A22-9CCF-730A792D7847}" dt="2025-09-04T03:16:53.854" v="21951" actId="2696"/>
        <pc:sldMkLst>
          <pc:docMk/>
          <pc:sldMk cId="3630584398" sldId="348"/>
        </pc:sldMkLst>
      </pc:sldChg>
      <pc:sldChg chg="modSp add mod">
        <pc:chgData name="Jesse, Kevin" userId="6f05423f-cf98-4c12-b626-169f8a1317c4" providerId="ADAL" clId="{C12DEDC2-730C-5A22-9CCF-730A792D7847}" dt="2025-09-04T03:33:55.898" v="22826" actId="20577"/>
        <pc:sldMkLst>
          <pc:docMk/>
          <pc:sldMk cId="1063343918" sldId="349"/>
        </pc:sldMkLst>
        <pc:spChg chg="mod">
          <ac:chgData name="Jesse, Kevin" userId="6f05423f-cf98-4c12-b626-169f8a1317c4" providerId="ADAL" clId="{C12DEDC2-730C-5A22-9CCF-730A792D7847}" dt="2025-09-04T03:17:47.213" v="22020" actId="20577"/>
          <ac:spMkLst>
            <pc:docMk/>
            <pc:sldMk cId="1063343918" sldId="349"/>
            <ac:spMk id="3" creationId="{F035A81D-1AE5-EB68-1C3C-E9D43CF4EE19}"/>
          </ac:spMkLst>
        </pc:spChg>
        <pc:spChg chg="mod">
          <ac:chgData name="Jesse, Kevin" userId="6f05423f-cf98-4c12-b626-169f8a1317c4" providerId="ADAL" clId="{C12DEDC2-730C-5A22-9CCF-730A792D7847}" dt="2025-09-04T03:33:55.898" v="22826" actId="20577"/>
          <ac:spMkLst>
            <pc:docMk/>
            <pc:sldMk cId="1063343918" sldId="349"/>
            <ac:spMk id="4" creationId="{7BF532F5-A076-74F1-476F-373551E4D18E}"/>
          </ac:spMkLst>
        </pc:spChg>
      </pc:sldChg>
      <pc:sldChg chg="modSp add del mod">
        <pc:chgData name="Jesse, Kevin" userId="6f05423f-cf98-4c12-b626-169f8a1317c4" providerId="ADAL" clId="{C12DEDC2-730C-5A22-9CCF-730A792D7847}" dt="2025-09-04T01:29:54.148" v="18639" actId="2696"/>
        <pc:sldMkLst>
          <pc:docMk/>
          <pc:sldMk cId="1753888795" sldId="350"/>
        </pc:sldMkLst>
      </pc:sldChg>
      <pc:sldChg chg="add">
        <pc:chgData name="Jesse, Kevin" userId="6f05423f-cf98-4c12-b626-169f8a1317c4" providerId="ADAL" clId="{C12DEDC2-730C-5A22-9CCF-730A792D7847}" dt="2025-09-16T17:41:42.821" v="30940"/>
        <pc:sldMkLst>
          <pc:docMk/>
          <pc:sldMk cId="2979502217" sldId="350"/>
        </pc:sldMkLst>
      </pc:sldChg>
      <pc:sldChg chg="addSp delSp modSp add mod ord">
        <pc:chgData name="Jesse, Kevin" userId="6f05423f-cf98-4c12-b626-169f8a1317c4" providerId="ADAL" clId="{C12DEDC2-730C-5A22-9CCF-730A792D7847}" dt="2025-09-04T04:11:44.739" v="26041" actId="14100"/>
        <pc:sldMkLst>
          <pc:docMk/>
          <pc:sldMk cId="2040930873" sldId="351"/>
        </pc:sldMkLst>
        <pc:spChg chg="mod">
          <ac:chgData name="Jesse, Kevin" userId="6f05423f-cf98-4c12-b626-169f8a1317c4" providerId="ADAL" clId="{C12DEDC2-730C-5A22-9CCF-730A792D7847}" dt="2025-09-04T04:00:18.549" v="25392" actId="20577"/>
          <ac:spMkLst>
            <pc:docMk/>
            <pc:sldMk cId="2040930873" sldId="351"/>
            <ac:spMk id="3" creationId="{D4758BA4-0EA1-B601-4FB6-680794EAED8A}"/>
          </ac:spMkLst>
        </pc:spChg>
        <pc:spChg chg="mod">
          <ac:chgData name="Jesse, Kevin" userId="6f05423f-cf98-4c12-b626-169f8a1317c4" providerId="ADAL" clId="{C12DEDC2-730C-5A22-9CCF-730A792D7847}" dt="2025-09-04T04:10:44.204" v="25960" actId="1076"/>
          <ac:spMkLst>
            <pc:docMk/>
            <pc:sldMk cId="2040930873" sldId="351"/>
            <ac:spMk id="4" creationId="{7310D6F9-2DE7-6E20-EF24-C9BF9B067E79}"/>
          </ac:spMkLst>
        </pc:spChg>
        <pc:spChg chg="add mod">
          <ac:chgData name="Jesse, Kevin" userId="6f05423f-cf98-4c12-b626-169f8a1317c4" providerId="ADAL" clId="{C12DEDC2-730C-5A22-9CCF-730A792D7847}" dt="2025-09-04T04:11:41.042" v="26040" actId="15"/>
          <ac:spMkLst>
            <pc:docMk/>
            <pc:sldMk cId="2040930873" sldId="351"/>
            <ac:spMk id="9" creationId="{2793CB4A-E74A-5F8C-F3DE-BE7C76BE5DC7}"/>
          </ac:spMkLst>
        </pc:spChg>
        <pc:spChg chg="add mod">
          <ac:chgData name="Jesse, Kevin" userId="6f05423f-cf98-4c12-b626-169f8a1317c4" providerId="ADAL" clId="{C12DEDC2-730C-5A22-9CCF-730A792D7847}" dt="2025-09-04T04:10:48.391" v="25961" actId="1076"/>
          <ac:spMkLst>
            <pc:docMk/>
            <pc:sldMk cId="2040930873" sldId="351"/>
            <ac:spMk id="10" creationId="{BFCA77AA-58D4-7E0A-16C2-6C757C587E4E}"/>
          </ac:spMkLst>
        </pc:spChg>
        <pc:picChg chg="add mod">
          <ac:chgData name="Jesse, Kevin" userId="6f05423f-cf98-4c12-b626-169f8a1317c4" providerId="ADAL" clId="{C12DEDC2-730C-5A22-9CCF-730A792D7847}" dt="2025-09-04T04:11:44.739" v="26041" actId="14100"/>
          <ac:picMkLst>
            <pc:docMk/>
            <pc:sldMk cId="2040930873" sldId="351"/>
            <ac:picMk id="8194" creationId="{E10C727E-EE07-AB29-A9AD-4A93B9F78FCD}"/>
          </ac:picMkLst>
        </pc:picChg>
      </pc:sldChg>
      <pc:sldChg chg="add del">
        <pc:chgData name="Jesse, Kevin" userId="6f05423f-cf98-4c12-b626-169f8a1317c4" providerId="ADAL" clId="{C12DEDC2-730C-5A22-9CCF-730A792D7847}" dt="2025-09-04T01:29:54.149" v="18640" actId="2696"/>
        <pc:sldMkLst>
          <pc:docMk/>
          <pc:sldMk cId="2219528142" sldId="352"/>
        </pc:sldMkLst>
      </pc:sldChg>
      <pc:sldChg chg="add del">
        <pc:chgData name="Jesse, Kevin" userId="6f05423f-cf98-4c12-b626-169f8a1317c4" providerId="ADAL" clId="{C12DEDC2-730C-5A22-9CCF-730A792D7847}" dt="2025-09-04T01:29:54.147" v="18638" actId="2696"/>
        <pc:sldMkLst>
          <pc:docMk/>
          <pc:sldMk cId="2608775433" sldId="353"/>
        </pc:sldMkLst>
      </pc:sldChg>
      <pc:sldChg chg="addSp delSp modSp add mod">
        <pc:chgData name="Jesse, Kevin" userId="6f05423f-cf98-4c12-b626-169f8a1317c4" providerId="ADAL" clId="{C12DEDC2-730C-5A22-9CCF-730A792D7847}" dt="2025-09-08T21:08:35.200" v="30902" actId="20577"/>
        <pc:sldMkLst>
          <pc:docMk/>
          <pc:sldMk cId="111278176" sldId="354"/>
        </pc:sldMkLst>
        <pc:spChg chg="mod">
          <ac:chgData name="Jesse, Kevin" userId="6f05423f-cf98-4c12-b626-169f8a1317c4" providerId="ADAL" clId="{C12DEDC2-730C-5A22-9CCF-730A792D7847}" dt="2025-09-04T01:30:08.758" v="18709" actId="20577"/>
          <ac:spMkLst>
            <pc:docMk/>
            <pc:sldMk cId="111278176" sldId="354"/>
            <ac:spMk id="3" creationId="{ACCE033C-AEE1-06AA-57E8-B7A24BB4EAA8}"/>
          </ac:spMkLst>
        </pc:spChg>
        <pc:spChg chg="mod">
          <ac:chgData name="Jesse, Kevin" userId="6f05423f-cf98-4c12-b626-169f8a1317c4" providerId="ADAL" clId="{C12DEDC2-730C-5A22-9CCF-730A792D7847}" dt="2025-09-04T04:25:20.812" v="27059" actId="120"/>
          <ac:spMkLst>
            <pc:docMk/>
            <pc:sldMk cId="111278176" sldId="354"/>
            <ac:spMk id="7" creationId="{23EBDEEC-C983-6F7A-2FCB-300C0C94FD1F}"/>
          </ac:spMkLst>
        </pc:spChg>
        <pc:spChg chg="mod">
          <ac:chgData name="Jesse, Kevin" userId="6f05423f-cf98-4c12-b626-169f8a1317c4" providerId="ADAL" clId="{C12DEDC2-730C-5A22-9CCF-730A792D7847}" dt="2025-09-04T04:25:20.812" v="27059" actId="120"/>
          <ac:spMkLst>
            <pc:docMk/>
            <pc:sldMk cId="111278176" sldId="354"/>
            <ac:spMk id="10" creationId="{85430941-BF50-E604-716F-4AAAE26EB306}"/>
          </ac:spMkLst>
        </pc:spChg>
        <pc:spChg chg="mod">
          <ac:chgData name="Jesse, Kevin" userId="6f05423f-cf98-4c12-b626-169f8a1317c4" providerId="ADAL" clId="{C12DEDC2-730C-5A22-9CCF-730A792D7847}" dt="2025-09-04T04:17:23.624" v="26220" actId="20577"/>
          <ac:spMkLst>
            <pc:docMk/>
            <pc:sldMk cId="111278176" sldId="354"/>
            <ac:spMk id="20" creationId="{91C76189-2679-409F-B92C-6BEADDE0A028}"/>
          </ac:spMkLst>
        </pc:spChg>
        <pc:spChg chg="mod">
          <ac:chgData name="Jesse, Kevin" userId="6f05423f-cf98-4c12-b626-169f8a1317c4" providerId="ADAL" clId="{C12DEDC2-730C-5A22-9CCF-730A792D7847}" dt="2025-09-04T04:18:44.938" v="26453" actId="20577"/>
          <ac:spMkLst>
            <pc:docMk/>
            <pc:sldMk cId="111278176" sldId="354"/>
            <ac:spMk id="22" creationId="{851131FC-BAC1-0EAF-A732-3A6379D3EB24}"/>
          </ac:spMkLst>
        </pc:spChg>
        <pc:spChg chg="mod">
          <ac:chgData name="Jesse, Kevin" userId="6f05423f-cf98-4c12-b626-169f8a1317c4" providerId="ADAL" clId="{C12DEDC2-730C-5A22-9CCF-730A792D7847}" dt="2025-09-04T04:21:50.890" v="26660" actId="20577"/>
          <ac:spMkLst>
            <pc:docMk/>
            <pc:sldMk cId="111278176" sldId="354"/>
            <ac:spMk id="23" creationId="{46D917BD-B0BF-9F21-DF5B-D8872D4E07AE}"/>
          </ac:spMkLst>
        </pc:spChg>
        <pc:spChg chg="mod">
          <ac:chgData name="Jesse, Kevin" userId="6f05423f-cf98-4c12-b626-169f8a1317c4" providerId="ADAL" clId="{C12DEDC2-730C-5A22-9CCF-730A792D7847}" dt="2025-09-04T04:25:20.812" v="27059" actId="120"/>
          <ac:spMkLst>
            <pc:docMk/>
            <pc:sldMk cId="111278176" sldId="354"/>
            <ac:spMk id="28" creationId="{00B9BB7E-285B-163D-C800-6030DDD85A0B}"/>
          </ac:spMkLst>
        </pc:spChg>
        <pc:spChg chg="mod">
          <ac:chgData name="Jesse, Kevin" userId="6f05423f-cf98-4c12-b626-169f8a1317c4" providerId="ADAL" clId="{C12DEDC2-730C-5A22-9CCF-730A792D7847}" dt="2025-09-04T04:25:20.812" v="27059" actId="120"/>
          <ac:spMkLst>
            <pc:docMk/>
            <pc:sldMk cId="111278176" sldId="354"/>
            <ac:spMk id="44" creationId="{5F082910-5BAB-7848-362A-CDAAA7D9A898}"/>
          </ac:spMkLst>
        </pc:spChg>
        <pc:spChg chg="mod">
          <ac:chgData name="Jesse, Kevin" userId="6f05423f-cf98-4c12-b626-169f8a1317c4" providerId="ADAL" clId="{C12DEDC2-730C-5A22-9CCF-730A792D7847}" dt="2025-09-04T04:18:31.895" v="26428" actId="20577"/>
          <ac:spMkLst>
            <pc:docMk/>
            <pc:sldMk cId="111278176" sldId="354"/>
            <ac:spMk id="46" creationId="{18F53816-B501-2938-70B9-319643666EDE}"/>
          </ac:spMkLst>
        </pc:spChg>
        <pc:spChg chg="mod">
          <ac:chgData name="Jesse, Kevin" userId="6f05423f-cf98-4c12-b626-169f8a1317c4" providerId="ADAL" clId="{C12DEDC2-730C-5A22-9CCF-730A792D7847}" dt="2025-09-04T04:25:20.812" v="27059" actId="120"/>
          <ac:spMkLst>
            <pc:docMk/>
            <pc:sldMk cId="111278176" sldId="354"/>
            <ac:spMk id="48" creationId="{F4D15588-41A8-C4EC-6307-0E1307C2C771}"/>
          </ac:spMkLst>
        </pc:spChg>
        <pc:spChg chg="mod">
          <ac:chgData name="Jesse, Kevin" userId="6f05423f-cf98-4c12-b626-169f8a1317c4" providerId="ADAL" clId="{C12DEDC2-730C-5A22-9CCF-730A792D7847}" dt="2025-09-04T04:27:05.545" v="27132" actId="20577"/>
          <ac:spMkLst>
            <pc:docMk/>
            <pc:sldMk cId="111278176" sldId="354"/>
            <ac:spMk id="49" creationId="{C7417B94-19BB-5F9E-8788-A4C0632691E2}"/>
          </ac:spMkLst>
        </pc:spChg>
        <pc:spChg chg="mod">
          <ac:chgData name="Jesse, Kevin" userId="6f05423f-cf98-4c12-b626-169f8a1317c4" providerId="ADAL" clId="{C12DEDC2-730C-5A22-9CCF-730A792D7847}" dt="2025-09-04T04:25:20.812" v="27059" actId="120"/>
          <ac:spMkLst>
            <pc:docMk/>
            <pc:sldMk cId="111278176" sldId="354"/>
            <ac:spMk id="52" creationId="{6F753CE7-C860-E5D2-BD32-90366E48349A}"/>
          </ac:spMkLst>
        </pc:spChg>
        <pc:spChg chg="mod">
          <ac:chgData name="Jesse, Kevin" userId="6f05423f-cf98-4c12-b626-169f8a1317c4" providerId="ADAL" clId="{C12DEDC2-730C-5A22-9CCF-730A792D7847}" dt="2025-09-04T04:25:20.812" v="27059" actId="120"/>
          <ac:spMkLst>
            <pc:docMk/>
            <pc:sldMk cId="111278176" sldId="354"/>
            <ac:spMk id="53" creationId="{AAB4A854-22FC-D29A-0431-B0A716C9C412}"/>
          </ac:spMkLst>
        </pc:spChg>
        <pc:spChg chg="add mod">
          <ac:chgData name="Jesse, Kevin" userId="6f05423f-cf98-4c12-b626-169f8a1317c4" providerId="ADAL" clId="{C12DEDC2-730C-5A22-9CCF-730A792D7847}" dt="2025-09-04T04:25:20.812" v="27059" actId="120"/>
          <ac:spMkLst>
            <pc:docMk/>
            <pc:sldMk cId="111278176" sldId="354"/>
            <ac:spMk id="60" creationId="{F344FC4B-D455-AE12-B1F7-8CACF41FF42A}"/>
          </ac:spMkLst>
        </pc:spChg>
        <pc:spChg chg="mod">
          <ac:chgData name="Jesse, Kevin" userId="6f05423f-cf98-4c12-b626-169f8a1317c4" providerId="ADAL" clId="{C12DEDC2-730C-5A22-9CCF-730A792D7847}" dt="2025-09-04T04:25:20.812" v="27059" actId="120"/>
          <ac:spMkLst>
            <pc:docMk/>
            <pc:sldMk cId="111278176" sldId="354"/>
            <ac:spMk id="62" creationId="{B3B3619D-3CD9-D15B-C383-4E702B189201}"/>
          </ac:spMkLst>
        </pc:spChg>
        <pc:spChg chg="mod">
          <ac:chgData name="Jesse, Kevin" userId="6f05423f-cf98-4c12-b626-169f8a1317c4" providerId="ADAL" clId="{C12DEDC2-730C-5A22-9CCF-730A792D7847}" dt="2025-09-08T21:08:35.200" v="30902" actId="20577"/>
          <ac:spMkLst>
            <pc:docMk/>
            <pc:sldMk cId="111278176" sldId="354"/>
            <ac:spMk id="63" creationId="{DB3EF33F-A51D-017F-0B54-BB4EC474C7B2}"/>
          </ac:spMkLst>
        </pc:spChg>
        <pc:spChg chg="add mod">
          <ac:chgData name="Jesse, Kevin" userId="6f05423f-cf98-4c12-b626-169f8a1317c4" providerId="ADAL" clId="{C12DEDC2-730C-5A22-9CCF-730A792D7847}" dt="2025-09-04T04:27:03.248" v="27131" actId="1076"/>
          <ac:spMkLst>
            <pc:docMk/>
            <pc:sldMk cId="111278176" sldId="354"/>
            <ac:spMk id="64" creationId="{0FAC5F33-558D-4BC7-D46E-82A66CEA9FEE}"/>
          </ac:spMkLst>
        </pc:spChg>
        <pc:grpChg chg="mod">
          <ac:chgData name="Jesse, Kevin" userId="6f05423f-cf98-4c12-b626-169f8a1317c4" providerId="ADAL" clId="{C12DEDC2-730C-5A22-9CCF-730A792D7847}" dt="2025-09-04T04:25:28.754" v="27061" actId="14100"/>
          <ac:grpSpMkLst>
            <pc:docMk/>
            <pc:sldMk cId="111278176" sldId="354"/>
            <ac:grpSpMk id="21" creationId="{ABDE6873-AF2B-E022-2047-3F6EDFE19EC0}"/>
          </ac:grpSpMkLst>
        </pc:grpChg>
        <pc:grpChg chg="mod">
          <ac:chgData name="Jesse, Kevin" userId="6f05423f-cf98-4c12-b626-169f8a1317c4" providerId="ADAL" clId="{C12DEDC2-730C-5A22-9CCF-730A792D7847}" dt="2025-09-04T04:25:39.999" v="27065" actId="14100"/>
          <ac:grpSpMkLst>
            <pc:docMk/>
            <pc:sldMk cId="111278176" sldId="354"/>
            <ac:grpSpMk id="47" creationId="{1ACC22B8-BAAA-7F81-C593-0E8BD1EED0DB}"/>
          </ac:grpSpMkLst>
        </pc:grpChg>
        <pc:grpChg chg="mod">
          <ac:chgData name="Jesse, Kevin" userId="6f05423f-cf98-4c12-b626-169f8a1317c4" providerId="ADAL" clId="{C12DEDC2-730C-5A22-9CCF-730A792D7847}" dt="2025-09-04T04:25:26.949" v="27060" actId="14100"/>
          <ac:grpSpMkLst>
            <pc:docMk/>
            <pc:sldMk cId="111278176" sldId="354"/>
            <ac:grpSpMk id="61" creationId="{17694621-048D-3925-AEEC-5B9BB214D9D6}"/>
          </ac:grpSpMkLst>
        </pc:grpChg>
      </pc:sldChg>
      <pc:sldChg chg="addSp delSp modSp add mod">
        <pc:chgData name="Jesse, Kevin" userId="6f05423f-cf98-4c12-b626-169f8a1317c4" providerId="ADAL" clId="{C12DEDC2-730C-5A22-9CCF-730A792D7847}" dt="2025-09-04T04:37:48.964" v="28387" actId="20577"/>
        <pc:sldMkLst>
          <pc:docMk/>
          <pc:sldMk cId="4016262417" sldId="355"/>
        </pc:sldMkLst>
        <pc:spChg chg="mod">
          <ac:chgData name="Jesse, Kevin" userId="6f05423f-cf98-4c12-b626-169f8a1317c4" providerId="ADAL" clId="{C12DEDC2-730C-5A22-9CCF-730A792D7847}" dt="2025-09-04T01:30:21.721" v="18752" actId="20577"/>
          <ac:spMkLst>
            <pc:docMk/>
            <pc:sldMk cId="4016262417" sldId="355"/>
            <ac:spMk id="3" creationId="{E51A3DEF-1756-38D7-4234-21D38D333E77}"/>
          </ac:spMkLst>
        </pc:spChg>
        <pc:spChg chg="mod">
          <ac:chgData name="Jesse, Kevin" userId="6f05423f-cf98-4c12-b626-169f8a1317c4" providerId="ADAL" clId="{C12DEDC2-730C-5A22-9CCF-730A792D7847}" dt="2025-09-04T04:29:06.636" v="27133"/>
          <ac:spMkLst>
            <pc:docMk/>
            <pc:sldMk cId="4016262417" sldId="355"/>
            <ac:spMk id="7" creationId="{92FB9E2F-BB64-B3AF-DA98-26502B087ABB}"/>
          </ac:spMkLst>
        </pc:spChg>
        <pc:spChg chg="mod">
          <ac:chgData name="Jesse, Kevin" userId="6f05423f-cf98-4c12-b626-169f8a1317c4" providerId="ADAL" clId="{C12DEDC2-730C-5A22-9CCF-730A792D7847}" dt="2025-09-04T04:29:06.636" v="27133"/>
          <ac:spMkLst>
            <pc:docMk/>
            <pc:sldMk cId="4016262417" sldId="355"/>
            <ac:spMk id="8" creationId="{29E9C515-C1E9-2515-95A2-33FC5BE5A97A}"/>
          </ac:spMkLst>
        </pc:spChg>
        <pc:spChg chg="mod">
          <ac:chgData name="Jesse, Kevin" userId="6f05423f-cf98-4c12-b626-169f8a1317c4" providerId="ADAL" clId="{C12DEDC2-730C-5A22-9CCF-730A792D7847}" dt="2025-09-04T04:29:06.636" v="27133"/>
          <ac:spMkLst>
            <pc:docMk/>
            <pc:sldMk cId="4016262417" sldId="355"/>
            <ac:spMk id="9" creationId="{538AC372-36BB-FD4B-5E6B-10C7D35E5C0F}"/>
          </ac:spMkLst>
        </pc:spChg>
        <pc:spChg chg="mod">
          <ac:chgData name="Jesse, Kevin" userId="6f05423f-cf98-4c12-b626-169f8a1317c4" providerId="ADAL" clId="{C12DEDC2-730C-5A22-9CCF-730A792D7847}" dt="2025-09-04T04:29:06.636" v="27133"/>
          <ac:spMkLst>
            <pc:docMk/>
            <pc:sldMk cId="4016262417" sldId="355"/>
            <ac:spMk id="11" creationId="{22A14D0E-482F-58EA-0A35-7F25F224D865}"/>
          </ac:spMkLst>
        </pc:spChg>
        <pc:spChg chg="mod">
          <ac:chgData name="Jesse, Kevin" userId="6f05423f-cf98-4c12-b626-169f8a1317c4" providerId="ADAL" clId="{C12DEDC2-730C-5A22-9CCF-730A792D7847}" dt="2025-09-04T04:34:26.208" v="28011" actId="20577"/>
          <ac:spMkLst>
            <pc:docMk/>
            <pc:sldMk cId="4016262417" sldId="355"/>
            <ac:spMk id="13" creationId="{D0F16EE7-BD42-E396-E115-C968AFB553E2}"/>
          </ac:spMkLst>
        </pc:spChg>
        <pc:spChg chg="mod">
          <ac:chgData name="Jesse, Kevin" userId="6f05423f-cf98-4c12-b626-169f8a1317c4" providerId="ADAL" clId="{C12DEDC2-730C-5A22-9CCF-730A792D7847}" dt="2025-09-04T04:35:11.779" v="28195" actId="20577"/>
          <ac:spMkLst>
            <pc:docMk/>
            <pc:sldMk cId="4016262417" sldId="355"/>
            <ac:spMk id="14" creationId="{B0F5984D-79EA-D60D-4420-61D8BC81DAD2}"/>
          </ac:spMkLst>
        </pc:spChg>
        <pc:spChg chg="mod">
          <ac:chgData name="Jesse, Kevin" userId="6f05423f-cf98-4c12-b626-169f8a1317c4" providerId="ADAL" clId="{C12DEDC2-730C-5A22-9CCF-730A792D7847}" dt="2025-09-04T04:36:27.725" v="28380" actId="207"/>
          <ac:spMkLst>
            <pc:docMk/>
            <pc:sldMk cId="4016262417" sldId="355"/>
            <ac:spMk id="16" creationId="{6E6A4769-B89C-984F-8031-8235F909F0FF}"/>
          </ac:spMkLst>
        </pc:spChg>
        <pc:spChg chg="mod">
          <ac:chgData name="Jesse, Kevin" userId="6f05423f-cf98-4c12-b626-169f8a1317c4" providerId="ADAL" clId="{C12DEDC2-730C-5A22-9CCF-730A792D7847}" dt="2025-09-04T04:36:31.996" v="28381" actId="14100"/>
          <ac:spMkLst>
            <pc:docMk/>
            <pc:sldMk cId="4016262417" sldId="355"/>
            <ac:spMk id="17" creationId="{0E6CDCD6-F0F6-20C7-D3FF-7A6F70DB8026}"/>
          </ac:spMkLst>
        </pc:spChg>
        <pc:spChg chg="mod">
          <ac:chgData name="Jesse, Kevin" userId="6f05423f-cf98-4c12-b626-169f8a1317c4" providerId="ADAL" clId="{C12DEDC2-730C-5A22-9CCF-730A792D7847}" dt="2025-09-04T04:32:47.664" v="27742" actId="120"/>
          <ac:spMkLst>
            <pc:docMk/>
            <pc:sldMk cId="4016262417" sldId="355"/>
            <ac:spMk id="19" creationId="{6CC7F10A-4920-D88C-73FE-FC81C9A99922}"/>
          </ac:spMkLst>
        </pc:spChg>
        <pc:spChg chg="mod">
          <ac:chgData name="Jesse, Kevin" userId="6f05423f-cf98-4c12-b626-169f8a1317c4" providerId="ADAL" clId="{C12DEDC2-730C-5A22-9CCF-730A792D7847}" dt="2025-09-04T04:32:21.081" v="27737" actId="120"/>
          <ac:spMkLst>
            <pc:docMk/>
            <pc:sldMk cId="4016262417" sldId="355"/>
            <ac:spMk id="20" creationId="{039CB662-3366-B6B2-21E0-8FD205A82A9B}"/>
          </ac:spMkLst>
        </pc:spChg>
        <pc:spChg chg="mod">
          <ac:chgData name="Jesse, Kevin" userId="6f05423f-cf98-4c12-b626-169f8a1317c4" providerId="ADAL" clId="{C12DEDC2-730C-5A22-9CCF-730A792D7847}" dt="2025-09-04T04:32:44.765" v="27741" actId="120"/>
          <ac:spMkLst>
            <pc:docMk/>
            <pc:sldMk cId="4016262417" sldId="355"/>
            <ac:spMk id="22" creationId="{FA9FFD03-37A0-8523-7A55-B31BCF8088F4}"/>
          </ac:spMkLst>
        </pc:spChg>
        <pc:spChg chg="mod">
          <ac:chgData name="Jesse, Kevin" userId="6f05423f-cf98-4c12-b626-169f8a1317c4" providerId="ADAL" clId="{C12DEDC2-730C-5A22-9CCF-730A792D7847}" dt="2025-09-04T04:32:17" v="27736" actId="120"/>
          <ac:spMkLst>
            <pc:docMk/>
            <pc:sldMk cId="4016262417" sldId="355"/>
            <ac:spMk id="23" creationId="{FF927888-A93F-5AD1-81C6-71A27B3C6311}"/>
          </ac:spMkLst>
        </pc:spChg>
        <pc:spChg chg="mod">
          <ac:chgData name="Jesse, Kevin" userId="6f05423f-cf98-4c12-b626-169f8a1317c4" providerId="ADAL" clId="{C12DEDC2-730C-5A22-9CCF-730A792D7847}" dt="2025-09-04T04:33:13.174" v="27770" actId="20577"/>
          <ac:spMkLst>
            <pc:docMk/>
            <pc:sldMk cId="4016262417" sldId="355"/>
            <ac:spMk id="25" creationId="{8263A0E4-14FF-235E-8F7E-9ECFD2509681}"/>
          </ac:spMkLst>
        </pc:spChg>
        <pc:spChg chg="mod">
          <ac:chgData name="Jesse, Kevin" userId="6f05423f-cf98-4c12-b626-169f8a1317c4" providerId="ADAL" clId="{C12DEDC2-730C-5A22-9CCF-730A792D7847}" dt="2025-09-04T04:34:14.362" v="27992" actId="20577"/>
          <ac:spMkLst>
            <pc:docMk/>
            <pc:sldMk cId="4016262417" sldId="355"/>
            <ac:spMk id="26" creationId="{46979AD1-639D-2547-168C-6159DEF1DDD4}"/>
          </ac:spMkLst>
        </pc:spChg>
        <pc:spChg chg="mod">
          <ac:chgData name="Jesse, Kevin" userId="6f05423f-cf98-4c12-b626-169f8a1317c4" providerId="ADAL" clId="{C12DEDC2-730C-5A22-9CCF-730A792D7847}" dt="2025-09-04T04:32:50.601" v="27743" actId="120"/>
          <ac:spMkLst>
            <pc:docMk/>
            <pc:sldMk cId="4016262417" sldId="355"/>
            <ac:spMk id="28" creationId="{A2F6938A-D04E-DAF8-02E1-84843CF27AED}"/>
          </ac:spMkLst>
        </pc:spChg>
        <pc:spChg chg="mod">
          <ac:chgData name="Jesse, Kevin" userId="6f05423f-cf98-4c12-b626-169f8a1317c4" providerId="ADAL" clId="{C12DEDC2-730C-5A22-9CCF-730A792D7847}" dt="2025-09-04T04:32:09.664" v="27731" actId="120"/>
          <ac:spMkLst>
            <pc:docMk/>
            <pc:sldMk cId="4016262417" sldId="355"/>
            <ac:spMk id="29" creationId="{C1907B14-91C7-18FD-BB8B-B25DB130835A}"/>
          </ac:spMkLst>
        </pc:spChg>
        <pc:spChg chg="add mod">
          <ac:chgData name="Jesse, Kevin" userId="6f05423f-cf98-4c12-b626-169f8a1317c4" providerId="ADAL" clId="{C12DEDC2-730C-5A22-9CCF-730A792D7847}" dt="2025-09-04T04:37:48.964" v="28387" actId="20577"/>
          <ac:spMkLst>
            <pc:docMk/>
            <pc:sldMk cId="4016262417" sldId="355"/>
            <ac:spMk id="30" creationId="{713EE16C-34DB-8649-2CD6-01D59F6E7747}"/>
          </ac:spMkLst>
        </pc:spChg>
        <pc:grpChg chg="mod">
          <ac:chgData name="Jesse, Kevin" userId="6f05423f-cf98-4c12-b626-169f8a1317c4" providerId="ADAL" clId="{C12DEDC2-730C-5A22-9CCF-730A792D7847}" dt="2025-09-04T04:36:20.484" v="28379" actId="1076"/>
          <ac:grpSpMkLst>
            <pc:docMk/>
            <pc:sldMk cId="4016262417" sldId="355"/>
            <ac:grpSpMk id="12" creationId="{09AF91D7-9ED9-A080-DAE3-4BFBAAEB8212}"/>
          </ac:grpSpMkLst>
        </pc:grpChg>
        <pc:grpChg chg="mod">
          <ac:chgData name="Jesse, Kevin" userId="6f05423f-cf98-4c12-b626-169f8a1317c4" providerId="ADAL" clId="{C12DEDC2-730C-5A22-9CCF-730A792D7847}" dt="2025-09-04T04:36:34.905" v="28382" actId="1076"/>
          <ac:grpSpMkLst>
            <pc:docMk/>
            <pc:sldMk cId="4016262417" sldId="355"/>
            <ac:grpSpMk id="15" creationId="{9A8A17B0-9DA6-1CD7-70DE-18FE3243BEF7}"/>
          </ac:grpSpMkLst>
        </pc:grpChg>
        <pc:grpChg chg="mod">
          <ac:chgData name="Jesse, Kevin" userId="6f05423f-cf98-4c12-b626-169f8a1317c4" providerId="ADAL" clId="{C12DEDC2-730C-5A22-9CCF-730A792D7847}" dt="2025-09-04T04:36:17.688" v="28378" actId="1076"/>
          <ac:grpSpMkLst>
            <pc:docMk/>
            <pc:sldMk cId="4016262417" sldId="355"/>
            <ac:grpSpMk id="18" creationId="{8421D264-6E7F-0728-5CB5-53A0BA9813AC}"/>
          </ac:grpSpMkLst>
        </pc:grpChg>
        <pc:grpChg chg="mod">
          <ac:chgData name="Jesse, Kevin" userId="6f05423f-cf98-4c12-b626-169f8a1317c4" providerId="ADAL" clId="{C12DEDC2-730C-5A22-9CCF-730A792D7847}" dt="2025-09-04T04:32:40.837" v="27740" actId="14100"/>
          <ac:grpSpMkLst>
            <pc:docMk/>
            <pc:sldMk cId="4016262417" sldId="355"/>
            <ac:grpSpMk id="21" creationId="{CB29EE6D-B852-BF57-C055-1F0934E5C879}"/>
          </ac:grpSpMkLst>
        </pc:grpChg>
        <pc:grpChg chg="mod">
          <ac:chgData name="Jesse, Kevin" userId="6f05423f-cf98-4c12-b626-169f8a1317c4" providerId="ADAL" clId="{C12DEDC2-730C-5A22-9CCF-730A792D7847}" dt="2025-09-04T04:36:14.629" v="28377" actId="1076"/>
          <ac:grpSpMkLst>
            <pc:docMk/>
            <pc:sldMk cId="4016262417" sldId="355"/>
            <ac:grpSpMk id="24" creationId="{E9A9096E-64AC-1DEA-3C6A-6D5D2EE09E60}"/>
          </ac:grpSpMkLst>
        </pc:grpChg>
        <pc:grpChg chg="mod">
          <ac:chgData name="Jesse, Kevin" userId="6f05423f-cf98-4c12-b626-169f8a1317c4" providerId="ADAL" clId="{C12DEDC2-730C-5A22-9CCF-730A792D7847}" dt="2025-09-04T04:36:11.013" v="28376" actId="1076"/>
          <ac:grpSpMkLst>
            <pc:docMk/>
            <pc:sldMk cId="4016262417" sldId="355"/>
            <ac:grpSpMk id="27" creationId="{99F06AD6-4830-5952-4EA1-21F6073ACB43}"/>
          </ac:grpSpMkLst>
        </pc:grpChg>
      </pc:sldChg>
      <pc:sldChg chg="modSp add del mod">
        <pc:chgData name="Jesse, Kevin" userId="6f05423f-cf98-4c12-b626-169f8a1317c4" providerId="ADAL" clId="{C12DEDC2-730C-5A22-9CCF-730A792D7847}" dt="2025-09-04T04:37:57.154" v="28388" actId="2696"/>
        <pc:sldMkLst>
          <pc:docMk/>
          <pc:sldMk cId="4097334209" sldId="356"/>
        </pc:sldMkLst>
      </pc:sldChg>
      <pc:sldChg chg="modSp add del mod">
        <pc:chgData name="Jesse, Kevin" userId="6f05423f-cf98-4c12-b626-169f8a1317c4" providerId="ADAL" clId="{C12DEDC2-730C-5A22-9CCF-730A792D7847}" dt="2025-09-04T04:38:01.918" v="28389" actId="2696"/>
        <pc:sldMkLst>
          <pc:docMk/>
          <pc:sldMk cId="322163852" sldId="357"/>
        </pc:sldMkLst>
      </pc:sldChg>
      <pc:sldChg chg="addSp delSp modSp add mod">
        <pc:chgData name="Jesse, Kevin" userId="6f05423f-cf98-4c12-b626-169f8a1317c4" providerId="ADAL" clId="{C12DEDC2-730C-5A22-9CCF-730A792D7847}" dt="2025-09-04T04:49:55.727" v="29401" actId="1076"/>
        <pc:sldMkLst>
          <pc:docMk/>
          <pc:sldMk cId="151215767" sldId="358"/>
        </pc:sldMkLst>
        <pc:spChg chg="mod">
          <ac:chgData name="Jesse, Kevin" userId="6f05423f-cf98-4c12-b626-169f8a1317c4" providerId="ADAL" clId="{C12DEDC2-730C-5A22-9CCF-730A792D7847}" dt="2025-09-04T04:39:31.161" v="28397" actId="20577"/>
          <ac:spMkLst>
            <pc:docMk/>
            <pc:sldMk cId="151215767" sldId="358"/>
            <ac:spMk id="3" creationId="{CDC13FE0-E64F-9EED-B48C-4903528DFA2B}"/>
          </ac:spMkLst>
        </pc:spChg>
        <pc:spChg chg="mod">
          <ac:chgData name="Jesse, Kevin" userId="6f05423f-cf98-4c12-b626-169f8a1317c4" providerId="ADAL" clId="{C12DEDC2-730C-5A22-9CCF-730A792D7847}" dt="2025-09-04T04:48:05.300" v="29170" actId="1076"/>
          <ac:spMkLst>
            <pc:docMk/>
            <pc:sldMk cId="151215767" sldId="358"/>
            <ac:spMk id="37" creationId="{88550D89-FB7E-4F19-E12D-4E0A4B88D3EE}"/>
          </ac:spMkLst>
        </pc:spChg>
        <pc:spChg chg="mod">
          <ac:chgData name="Jesse, Kevin" userId="6f05423f-cf98-4c12-b626-169f8a1317c4" providerId="ADAL" clId="{C12DEDC2-730C-5A22-9CCF-730A792D7847}" dt="2025-09-04T04:43:07.112" v="28514" actId="20577"/>
          <ac:spMkLst>
            <pc:docMk/>
            <pc:sldMk cId="151215767" sldId="358"/>
            <ac:spMk id="39" creationId="{CFC41A4C-5694-D340-10A0-D2F02D512207}"/>
          </ac:spMkLst>
        </pc:spChg>
        <pc:spChg chg="mod">
          <ac:chgData name="Jesse, Kevin" userId="6f05423f-cf98-4c12-b626-169f8a1317c4" providerId="ADAL" clId="{C12DEDC2-730C-5A22-9CCF-730A792D7847}" dt="2025-09-04T04:45:35.733" v="28788" actId="403"/>
          <ac:spMkLst>
            <pc:docMk/>
            <pc:sldMk cId="151215767" sldId="358"/>
            <ac:spMk id="40" creationId="{3B6D8E8F-7469-F013-EE60-C3C226C6ED61}"/>
          </ac:spMkLst>
        </pc:spChg>
        <pc:spChg chg="mod">
          <ac:chgData name="Jesse, Kevin" userId="6f05423f-cf98-4c12-b626-169f8a1317c4" providerId="ADAL" clId="{C12DEDC2-730C-5A22-9CCF-730A792D7847}" dt="2025-09-04T04:48:11.821" v="29185" actId="20577"/>
          <ac:spMkLst>
            <pc:docMk/>
            <pc:sldMk cId="151215767" sldId="358"/>
            <ac:spMk id="42" creationId="{99266900-5A91-C295-F21A-C74C69D300F7}"/>
          </ac:spMkLst>
        </pc:spChg>
        <pc:spChg chg="mod">
          <ac:chgData name="Jesse, Kevin" userId="6f05423f-cf98-4c12-b626-169f8a1317c4" providerId="ADAL" clId="{C12DEDC2-730C-5A22-9CCF-730A792D7847}" dt="2025-09-04T04:48:03.377" v="29168" actId="403"/>
          <ac:spMkLst>
            <pc:docMk/>
            <pc:sldMk cId="151215767" sldId="358"/>
            <ac:spMk id="43" creationId="{E0C57B0A-0FE8-3048-1F02-432068D520C3}"/>
          </ac:spMkLst>
        </pc:spChg>
        <pc:spChg chg="mod">
          <ac:chgData name="Jesse, Kevin" userId="6f05423f-cf98-4c12-b626-169f8a1317c4" providerId="ADAL" clId="{C12DEDC2-730C-5A22-9CCF-730A792D7847}" dt="2025-09-04T04:48:14.789" v="29186" actId="14100"/>
          <ac:spMkLst>
            <pc:docMk/>
            <pc:sldMk cId="151215767" sldId="358"/>
            <ac:spMk id="45" creationId="{380BD418-AA48-3968-0860-226BA2619E00}"/>
          </ac:spMkLst>
        </pc:spChg>
        <pc:spChg chg="mod">
          <ac:chgData name="Jesse, Kevin" userId="6f05423f-cf98-4c12-b626-169f8a1317c4" providerId="ADAL" clId="{C12DEDC2-730C-5A22-9CCF-730A792D7847}" dt="2025-09-04T04:48:54.840" v="29235" actId="20577"/>
          <ac:spMkLst>
            <pc:docMk/>
            <pc:sldMk cId="151215767" sldId="358"/>
            <ac:spMk id="46" creationId="{9F76EBB3-FBA5-271D-C944-58E961433922}"/>
          </ac:spMkLst>
        </pc:spChg>
        <pc:spChg chg="mod">
          <ac:chgData name="Jesse, Kevin" userId="6f05423f-cf98-4c12-b626-169f8a1317c4" providerId="ADAL" clId="{C12DEDC2-730C-5A22-9CCF-730A792D7847}" dt="2025-09-04T04:49:15.976" v="29260" actId="20577"/>
          <ac:spMkLst>
            <pc:docMk/>
            <pc:sldMk cId="151215767" sldId="358"/>
            <ac:spMk id="48" creationId="{07BDCABA-4893-4EC5-8433-0EFF18E8F992}"/>
          </ac:spMkLst>
        </pc:spChg>
        <pc:spChg chg="mod">
          <ac:chgData name="Jesse, Kevin" userId="6f05423f-cf98-4c12-b626-169f8a1317c4" providerId="ADAL" clId="{C12DEDC2-730C-5A22-9CCF-730A792D7847}" dt="2025-09-04T04:49:48.826" v="29399" actId="20577"/>
          <ac:spMkLst>
            <pc:docMk/>
            <pc:sldMk cId="151215767" sldId="358"/>
            <ac:spMk id="49" creationId="{227CBB0E-A54E-4242-3FB8-5941F2D0D47C}"/>
          </ac:spMkLst>
        </pc:spChg>
        <pc:spChg chg="mod">
          <ac:chgData name="Jesse, Kevin" userId="6f05423f-cf98-4c12-b626-169f8a1317c4" providerId="ADAL" clId="{C12DEDC2-730C-5A22-9CCF-730A792D7847}" dt="2025-09-04T04:42:37.533" v="28490"/>
          <ac:spMkLst>
            <pc:docMk/>
            <pc:sldMk cId="151215767" sldId="358"/>
            <ac:spMk id="51" creationId="{576B4488-6FE7-2A6F-95A8-209836B5502A}"/>
          </ac:spMkLst>
        </pc:spChg>
        <pc:spChg chg="mod">
          <ac:chgData name="Jesse, Kevin" userId="6f05423f-cf98-4c12-b626-169f8a1317c4" providerId="ADAL" clId="{C12DEDC2-730C-5A22-9CCF-730A792D7847}" dt="2025-09-04T04:42:37.533" v="28490"/>
          <ac:spMkLst>
            <pc:docMk/>
            <pc:sldMk cId="151215767" sldId="358"/>
            <ac:spMk id="53" creationId="{13EF5A92-CFD4-923D-5B22-52792D6761A7}"/>
          </ac:spMkLst>
        </pc:spChg>
        <pc:spChg chg="mod">
          <ac:chgData name="Jesse, Kevin" userId="6f05423f-cf98-4c12-b626-169f8a1317c4" providerId="ADAL" clId="{C12DEDC2-730C-5A22-9CCF-730A792D7847}" dt="2025-09-04T04:42:37.533" v="28490"/>
          <ac:spMkLst>
            <pc:docMk/>
            <pc:sldMk cId="151215767" sldId="358"/>
            <ac:spMk id="54" creationId="{254D2ABE-51AA-86B5-2D97-CC195D8E348F}"/>
          </ac:spMkLst>
        </pc:spChg>
        <pc:spChg chg="mod">
          <ac:chgData name="Jesse, Kevin" userId="6f05423f-cf98-4c12-b626-169f8a1317c4" providerId="ADAL" clId="{C12DEDC2-730C-5A22-9CCF-730A792D7847}" dt="2025-09-04T04:42:37.533" v="28490"/>
          <ac:spMkLst>
            <pc:docMk/>
            <pc:sldMk cId="151215767" sldId="358"/>
            <ac:spMk id="57" creationId="{7F1460E4-18B9-FA83-17C6-41264766F884}"/>
          </ac:spMkLst>
        </pc:spChg>
        <pc:spChg chg="mod">
          <ac:chgData name="Jesse, Kevin" userId="6f05423f-cf98-4c12-b626-169f8a1317c4" providerId="ADAL" clId="{C12DEDC2-730C-5A22-9CCF-730A792D7847}" dt="2025-09-04T04:42:37.533" v="28490"/>
          <ac:spMkLst>
            <pc:docMk/>
            <pc:sldMk cId="151215767" sldId="358"/>
            <ac:spMk id="62" creationId="{52C42836-EF01-1887-309B-B839633376F5}"/>
          </ac:spMkLst>
        </pc:spChg>
        <pc:spChg chg="mod">
          <ac:chgData name="Jesse, Kevin" userId="6f05423f-cf98-4c12-b626-169f8a1317c4" providerId="ADAL" clId="{C12DEDC2-730C-5A22-9CCF-730A792D7847}" dt="2025-09-04T04:42:37.533" v="28490"/>
          <ac:spMkLst>
            <pc:docMk/>
            <pc:sldMk cId="151215767" sldId="358"/>
            <ac:spMk id="68" creationId="{31D83C3B-4576-300E-CC46-8019E4FC95FF}"/>
          </ac:spMkLst>
        </pc:spChg>
        <pc:spChg chg="add mod">
          <ac:chgData name="Jesse, Kevin" userId="6f05423f-cf98-4c12-b626-169f8a1317c4" providerId="ADAL" clId="{C12DEDC2-730C-5A22-9CCF-730A792D7847}" dt="2025-09-04T04:45:32.176" v="28786" actId="1076"/>
          <ac:spMkLst>
            <pc:docMk/>
            <pc:sldMk cId="151215767" sldId="358"/>
            <ac:spMk id="72" creationId="{CEE11E1F-EF1B-38D3-69D6-F78CC0A8944A}"/>
          </ac:spMkLst>
        </pc:spChg>
        <pc:grpChg chg="mod">
          <ac:chgData name="Jesse, Kevin" userId="6f05423f-cf98-4c12-b626-169f8a1317c4" providerId="ADAL" clId="{C12DEDC2-730C-5A22-9CCF-730A792D7847}" dt="2025-09-04T04:45:40.648" v="28790" actId="1076"/>
          <ac:grpSpMkLst>
            <pc:docMk/>
            <pc:sldMk cId="151215767" sldId="358"/>
            <ac:grpSpMk id="38" creationId="{D4C5F755-1DAB-3E41-1338-167ABA440E2A}"/>
          </ac:grpSpMkLst>
        </pc:grpChg>
        <pc:grpChg chg="mod">
          <ac:chgData name="Jesse, Kevin" userId="6f05423f-cf98-4c12-b626-169f8a1317c4" providerId="ADAL" clId="{C12DEDC2-730C-5A22-9CCF-730A792D7847}" dt="2025-09-04T04:48:08.747" v="29171" actId="1076"/>
          <ac:grpSpMkLst>
            <pc:docMk/>
            <pc:sldMk cId="151215767" sldId="358"/>
            <ac:grpSpMk id="41" creationId="{FA4EFC7F-849E-0DA2-7D4C-22B15EAA2EAD}"/>
          </ac:grpSpMkLst>
        </pc:grpChg>
        <pc:grpChg chg="mod">
          <ac:chgData name="Jesse, Kevin" userId="6f05423f-cf98-4c12-b626-169f8a1317c4" providerId="ADAL" clId="{C12DEDC2-730C-5A22-9CCF-730A792D7847}" dt="2025-09-04T04:48:17.585" v="29187" actId="1076"/>
          <ac:grpSpMkLst>
            <pc:docMk/>
            <pc:sldMk cId="151215767" sldId="358"/>
            <ac:grpSpMk id="44" creationId="{6BE5F93B-5CBD-80A8-645A-FD8B1ED7BC1C}"/>
          </ac:grpSpMkLst>
        </pc:grpChg>
        <pc:grpChg chg="mod">
          <ac:chgData name="Jesse, Kevin" userId="6f05423f-cf98-4c12-b626-169f8a1317c4" providerId="ADAL" clId="{C12DEDC2-730C-5A22-9CCF-730A792D7847}" dt="2025-09-04T04:49:55.727" v="29401" actId="1076"/>
          <ac:grpSpMkLst>
            <pc:docMk/>
            <pc:sldMk cId="151215767" sldId="358"/>
            <ac:grpSpMk id="47" creationId="{3E3F13B5-47AA-2EE0-2AC1-D77372327A76}"/>
          </ac:grpSpMkLst>
        </pc:grpChg>
        <pc:grpChg chg="mod">
          <ac:chgData name="Jesse, Kevin" userId="6f05423f-cf98-4c12-b626-169f8a1317c4" providerId="ADAL" clId="{C12DEDC2-730C-5A22-9CCF-730A792D7847}" dt="2025-09-04T04:42:39.982" v="28491" actId="1076"/>
          <ac:grpSpMkLst>
            <pc:docMk/>
            <pc:sldMk cId="151215767" sldId="358"/>
            <ac:grpSpMk id="50" creationId="{AC5047E2-F0EB-1591-ABD5-7B6B953A9F17}"/>
          </ac:grpSpMkLst>
        </pc:grpChg>
        <pc:grpChg chg="mod">
          <ac:chgData name="Jesse, Kevin" userId="6f05423f-cf98-4c12-b626-169f8a1317c4" providerId="ADAL" clId="{C12DEDC2-730C-5A22-9CCF-730A792D7847}" dt="2025-09-04T04:47:59.057" v="29166" actId="1076"/>
          <ac:grpSpMkLst>
            <pc:docMk/>
            <pc:sldMk cId="151215767" sldId="358"/>
            <ac:grpSpMk id="55" creationId="{DA95626F-C81B-FE49-2CA7-5071C698143A}"/>
          </ac:grpSpMkLst>
        </pc:grpChg>
        <pc:grpChg chg="mod">
          <ac:chgData name="Jesse, Kevin" userId="6f05423f-cf98-4c12-b626-169f8a1317c4" providerId="ADAL" clId="{C12DEDC2-730C-5A22-9CCF-730A792D7847}" dt="2025-09-04T04:47:54.601" v="29165" actId="1076"/>
          <ac:grpSpMkLst>
            <pc:docMk/>
            <pc:sldMk cId="151215767" sldId="358"/>
            <ac:grpSpMk id="60" creationId="{CB8D6A25-9365-613D-33CB-638B7505770D}"/>
          </ac:grpSpMkLst>
        </pc:grpChg>
        <pc:grpChg chg="mod">
          <ac:chgData name="Jesse, Kevin" userId="6f05423f-cf98-4c12-b626-169f8a1317c4" providerId="ADAL" clId="{C12DEDC2-730C-5A22-9CCF-730A792D7847}" dt="2025-09-04T04:48:19.545" v="29188" actId="1076"/>
          <ac:grpSpMkLst>
            <pc:docMk/>
            <pc:sldMk cId="151215767" sldId="358"/>
            <ac:grpSpMk id="65" creationId="{F017A93D-DC0B-4542-E0A5-BE297AEA52A6}"/>
          </ac:grpSpMkLst>
        </pc:grpChg>
      </pc:sldChg>
      <pc:sldChg chg="addSp delSp modSp add mod">
        <pc:chgData name="Jesse, Kevin" userId="6f05423f-cf98-4c12-b626-169f8a1317c4" providerId="ADAL" clId="{C12DEDC2-730C-5A22-9CCF-730A792D7847}" dt="2025-09-04T05:08:55.782" v="30653" actId="20577"/>
        <pc:sldMkLst>
          <pc:docMk/>
          <pc:sldMk cId="1605482267" sldId="359"/>
        </pc:sldMkLst>
        <pc:spChg chg="mod">
          <ac:chgData name="Jesse, Kevin" userId="6f05423f-cf98-4c12-b626-169f8a1317c4" providerId="ADAL" clId="{C12DEDC2-730C-5A22-9CCF-730A792D7847}" dt="2025-09-04T01:27:23.456" v="18463" actId="20577"/>
          <ac:spMkLst>
            <pc:docMk/>
            <pc:sldMk cId="1605482267" sldId="359"/>
            <ac:spMk id="3" creationId="{2CD7B2CC-45A2-D829-B440-45868E478595}"/>
          </ac:spMkLst>
        </pc:spChg>
        <pc:spChg chg="add del mod">
          <ac:chgData name="Jesse, Kevin" userId="6f05423f-cf98-4c12-b626-169f8a1317c4" providerId="ADAL" clId="{C12DEDC2-730C-5A22-9CCF-730A792D7847}" dt="2025-09-04T05:08:55.782" v="30653" actId="20577"/>
          <ac:spMkLst>
            <pc:docMk/>
            <pc:sldMk cId="1605482267" sldId="359"/>
            <ac:spMk id="4" creationId="{5E2B4A4B-8AF0-CB8F-4B12-00FD2D64445F}"/>
          </ac:spMkLst>
        </pc:spChg>
        <pc:spChg chg="mod">
          <ac:chgData name="Jesse, Kevin" userId="6f05423f-cf98-4c12-b626-169f8a1317c4" providerId="ADAL" clId="{C12DEDC2-730C-5A22-9CCF-730A792D7847}" dt="2025-09-04T05:01:56.938" v="29849"/>
          <ac:spMkLst>
            <pc:docMk/>
            <pc:sldMk cId="1605482267" sldId="359"/>
            <ac:spMk id="8" creationId="{903FBFAB-4269-212C-73D9-4FD994FB6156}"/>
          </ac:spMkLst>
        </pc:spChg>
        <pc:spChg chg="mod">
          <ac:chgData name="Jesse, Kevin" userId="6f05423f-cf98-4c12-b626-169f8a1317c4" providerId="ADAL" clId="{C12DEDC2-730C-5A22-9CCF-730A792D7847}" dt="2025-09-04T05:01:56.938" v="29849"/>
          <ac:spMkLst>
            <pc:docMk/>
            <pc:sldMk cId="1605482267" sldId="359"/>
            <ac:spMk id="9" creationId="{A7DC9735-1D5B-1F18-6AFA-A4D31F27FD29}"/>
          </ac:spMkLst>
        </pc:spChg>
        <pc:spChg chg="mod">
          <ac:chgData name="Jesse, Kevin" userId="6f05423f-cf98-4c12-b626-169f8a1317c4" providerId="ADAL" clId="{C12DEDC2-730C-5A22-9CCF-730A792D7847}" dt="2025-09-04T05:01:56.938" v="29849"/>
          <ac:spMkLst>
            <pc:docMk/>
            <pc:sldMk cId="1605482267" sldId="359"/>
            <ac:spMk id="11" creationId="{B1840C56-FAF6-D854-30FB-96C2B283C9B8}"/>
          </ac:spMkLst>
        </pc:spChg>
        <pc:spChg chg="mod">
          <ac:chgData name="Jesse, Kevin" userId="6f05423f-cf98-4c12-b626-169f8a1317c4" providerId="ADAL" clId="{C12DEDC2-730C-5A22-9CCF-730A792D7847}" dt="2025-09-04T05:01:56.938" v="29849"/>
          <ac:spMkLst>
            <pc:docMk/>
            <pc:sldMk cId="1605482267" sldId="359"/>
            <ac:spMk id="12" creationId="{9A77A42B-09B9-2101-74EC-3616C9F33764}"/>
          </ac:spMkLst>
        </pc:spChg>
        <pc:spChg chg="mod">
          <ac:chgData name="Jesse, Kevin" userId="6f05423f-cf98-4c12-b626-169f8a1317c4" providerId="ADAL" clId="{C12DEDC2-730C-5A22-9CCF-730A792D7847}" dt="2025-09-04T05:01:56.938" v="29849"/>
          <ac:spMkLst>
            <pc:docMk/>
            <pc:sldMk cId="1605482267" sldId="359"/>
            <ac:spMk id="14" creationId="{05653B78-D4A9-4FEF-A16E-B1A7B8A8693F}"/>
          </ac:spMkLst>
        </pc:spChg>
        <pc:spChg chg="mod">
          <ac:chgData name="Jesse, Kevin" userId="6f05423f-cf98-4c12-b626-169f8a1317c4" providerId="ADAL" clId="{C12DEDC2-730C-5A22-9CCF-730A792D7847}" dt="2025-09-04T05:01:56.938" v="29849"/>
          <ac:spMkLst>
            <pc:docMk/>
            <pc:sldMk cId="1605482267" sldId="359"/>
            <ac:spMk id="17" creationId="{222AA924-619F-0593-4B5E-41F62C9924DF}"/>
          </ac:spMkLst>
        </pc:spChg>
        <pc:spChg chg="mod">
          <ac:chgData name="Jesse, Kevin" userId="6f05423f-cf98-4c12-b626-169f8a1317c4" providerId="ADAL" clId="{C12DEDC2-730C-5A22-9CCF-730A792D7847}" dt="2025-09-04T05:01:56.938" v="29849"/>
          <ac:spMkLst>
            <pc:docMk/>
            <pc:sldMk cId="1605482267" sldId="359"/>
            <ac:spMk id="21" creationId="{52DAE585-85CA-95BD-B19E-6228A5792175}"/>
          </ac:spMkLst>
        </pc:spChg>
        <pc:spChg chg="mod">
          <ac:chgData name="Jesse, Kevin" userId="6f05423f-cf98-4c12-b626-169f8a1317c4" providerId="ADAL" clId="{C12DEDC2-730C-5A22-9CCF-730A792D7847}" dt="2025-09-04T05:01:56.938" v="29849"/>
          <ac:spMkLst>
            <pc:docMk/>
            <pc:sldMk cId="1605482267" sldId="359"/>
            <ac:spMk id="32" creationId="{75006920-5CED-164E-3285-DCA7AC42882D}"/>
          </ac:spMkLst>
        </pc:spChg>
        <pc:spChg chg="mod">
          <ac:chgData name="Jesse, Kevin" userId="6f05423f-cf98-4c12-b626-169f8a1317c4" providerId="ADAL" clId="{C12DEDC2-730C-5A22-9CCF-730A792D7847}" dt="2025-09-04T05:02:34.407" v="29860" actId="20577"/>
          <ac:spMkLst>
            <pc:docMk/>
            <pc:sldMk cId="1605482267" sldId="359"/>
            <ac:spMk id="35" creationId="{E2AFE040-649F-4B26-E9AE-E8C4336DC0B5}"/>
          </ac:spMkLst>
        </pc:spChg>
        <pc:spChg chg="mod">
          <ac:chgData name="Jesse, Kevin" userId="6f05423f-cf98-4c12-b626-169f8a1317c4" providerId="ADAL" clId="{C12DEDC2-730C-5A22-9CCF-730A792D7847}" dt="2025-09-04T05:03:00.863" v="29884" actId="1076"/>
          <ac:spMkLst>
            <pc:docMk/>
            <pc:sldMk cId="1605482267" sldId="359"/>
            <ac:spMk id="36" creationId="{B31B6BB4-D475-8983-BA67-D027F746A8D1}"/>
          </ac:spMkLst>
        </pc:spChg>
      </pc:sldChg>
      <pc:sldChg chg="addSp delSp modSp add mod">
        <pc:chgData name="Jesse, Kevin" userId="6f05423f-cf98-4c12-b626-169f8a1317c4" providerId="ADAL" clId="{C12DEDC2-730C-5A22-9CCF-730A792D7847}" dt="2025-09-08T21:01:39.305" v="30901" actId="313"/>
        <pc:sldMkLst>
          <pc:docMk/>
          <pc:sldMk cId="1473170256" sldId="360"/>
        </pc:sldMkLst>
        <pc:spChg chg="mod">
          <ac:chgData name="Jesse, Kevin" userId="6f05423f-cf98-4c12-b626-169f8a1317c4" providerId="ADAL" clId="{C12DEDC2-730C-5A22-9CCF-730A792D7847}" dt="2025-09-03T14:48:15.331" v="13420" actId="1076"/>
          <ac:spMkLst>
            <pc:docMk/>
            <pc:sldMk cId="1473170256" sldId="360"/>
            <ac:spMk id="20" creationId="{B7EF8014-EF1E-F735-7ACD-A29869DCE118}"/>
          </ac:spMkLst>
        </pc:spChg>
        <pc:spChg chg="mod">
          <ac:chgData name="Jesse, Kevin" userId="6f05423f-cf98-4c12-b626-169f8a1317c4" providerId="ADAL" clId="{C12DEDC2-730C-5A22-9CCF-730A792D7847}" dt="2025-09-03T14:45:35.508" v="13403" actId="21"/>
          <ac:spMkLst>
            <pc:docMk/>
            <pc:sldMk cId="1473170256" sldId="360"/>
            <ac:spMk id="21" creationId="{FB13EB8B-F27A-60CE-7036-6201A7A62CC5}"/>
          </ac:spMkLst>
        </pc:spChg>
        <pc:spChg chg="mod">
          <ac:chgData name="Jesse, Kevin" userId="6f05423f-cf98-4c12-b626-169f8a1317c4" providerId="ADAL" clId="{C12DEDC2-730C-5A22-9CCF-730A792D7847}" dt="2025-09-03T23:55:05.791" v="13449" actId="20577"/>
          <ac:spMkLst>
            <pc:docMk/>
            <pc:sldMk cId="1473170256" sldId="360"/>
            <ac:spMk id="25" creationId="{9242C18A-FE0D-2B53-FE7C-F56D4D2EE2C0}"/>
          </ac:spMkLst>
        </pc:spChg>
        <pc:spChg chg="mod">
          <ac:chgData name="Jesse, Kevin" userId="6f05423f-cf98-4c12-b626-169f8a1317c4" providerId="ADAL" clId="{C12DEDC2-730C-5A22-9CCF-730A792D7847}" dt="2025-09-08T21:01:39.305" v="30901" actId="313"/>
          <ac:spMkLst>
            <pc:docMk/>
            <pc:sldMk cId="1473170256" sldId="360"/>
            <ac:spMk id="26" creationId="{35944817-7EE0-CB14-F4AA-2370427E95E1}"/>
          </ac:spMkLst>
        </pc:spChg>
        <pc:spChg chg="mod">
          <ac:chgData name="Jesse, Kevin" userId="6f05423f-cf98-4c12-b626-169f8a1317c4" providerId="ADAL" clId="{C12DEDC2-730C-5A22-9CCF-730A792D7847}" dt="2025-09-03T14:38:20.588" v="12909"/>
          <ac:spMkLst>
            <pc:docMk/>
            <pc:sldMk cId="1473170256" sldId="360"/>
            <ac:spMk id="31" creationId="{21FF362F-3C11-5C10-16BB-2A0DEE7FFC65}"/>
          </ac:spMkLst>
        </pc:spChg>
        <pc:spChg chg="mod">
          <ac:chgData name="Jesse, Kevin" userId="6f05423f-cf98-4c12-b626-169f8a1317c4" providerId="ADAL" clId="{C12DEDC2-730C-5A22-9CCF-730A792D7847}" dt="2025-09-03T14:38:20.588" v="12909"/>
          <ac:spMkLst>
            <pc:docMk/>
            <pc:sldMk cId="1473170256" sldId="360"/>
            <ac:spMk id="42" creationId="{796140D3-A23E-5899-D010-9E9CE3072629}"/>
          </ac:spMkLst>
        </pc:spChg>
        <pc:spChg chg="mod">
          <ac:chgData name="Jesse, Kevin" userId="6f05423f-cf98-4c12-b626-169f8a1317c4" providerId="ADAL" clId="{C12DEDC2-730C-5A22-9CCF-730A792D7847}" dt="2025-09-03T14:38:20.588" v="12909"/>
          <ac:spMkLst>
            <pc:docMk/>
            <pc:sldMk cId="1473170256" sldId="360"/>
            <ac:spMk id="49" creationId="{BFDF6FCE-F66A-E02A-F158-36354128D613}"/>
          </ac:spMkLst>
        </pc:spChg>
        <pc:spChg chg="mod">
          <ac:chgData name="Jesse, Kevin" userId="6f05423f-cf98-4c12-b626-169f8a1317c4" providerId="ADAL" clId="{C12DEDC2-730C-5A22-9CCF-730A792D7847}" dt="2025-09-03T14:38:20.588" v="12909"/>
          <ac:spMkLst>
            <pc:docMk/>
            <pc:sldMk cId="1473170256" sldId="360"/>
            <ac:spMk id="52" creationId="{DA21D9F0-8D70-CE2B-23EE-1075FD5A431A}"/>
          </ac:spMkLst>
        </pc:spChg>
        <pc:spChg chg="mod">
          <ac:chgData name="Jesse, Kevin" userId="6f05423f-cf98-4c12-b626-169f8a1317c4" providerId="ADAL" clId="{C12DEDC2-730C-5A22-9CCF-730A792D7847}" dt="2025-09-03T14:38:20.588" v="12909"/>
          <ac:spMkLst>
            <pc:docMk/>
            <pc:sldMk cId="1473170256" sldId="360"/>
            <ac:spMk id="59" creationId="{5E0B831F-83B9-A253-181F-869E6A87AE7A}"/>
          </ac:spMkLst>
        </pc:spChg>
        <pc:spChg chg="mod">
          <ac:chgData name="Jesse, Kevin" userId="6f05423f-cf98-4c12-b626-169f8a1317c4" providerId="ADAL" clId="{C12DEDC2-730C-5A22-9CCF-730A792D7847}" dt="2025-09-03T14:38:20.588" v="12909"/>
          <ac:spMkLst>
            <pc:docMk/>
            <pc:sldMk cId="1473170256" sldId="360"/>
            <ac:spMk id="60" creationId="{8C5591BF-D022-6E34-3CA0-3B188F8ACD1F}"/>
          </ac:spMkLst>
        </pc:spChg>
        <pc:spChg chg="mod">
          <ac:chgData name="Jesse, Kevin" userId="6f05423f-cf98-4c12-b626-169f8a1317c4" providerId="ADAL" clId="{C12DEDC2-730C-5A22-9CCF-730A792D7847}" dt="2025-09-03T14:38:20.588" v="12909"/>
          <ac:spMkLst>
            <pc:docMk/>
            <pc:sldMk cId="1473170256" sldId="360"/>
            <ac:spMk id="69" creationId="{B0736A77-7B44-2DF0-6141-3E6F6A6347C0}"/>
          </ac:spMkLst>
        </pc:spChg>
        <pc:spChg chg="mod">
          <ac:chgData name="Jesse, Kevin" userId="6f05423f-cf98-4c12-b626-169f8a1317c4" providerId="ADAL" clId="{C12DEDC2-730C-5A22-9CCF-730A792D7847}" dt="2025-09-03T14:38:20.588" v="12909"/>
          <ac:spMkLst>
            <pc:docMk/>
            <pc:sldMk cId="1473170256" sldId="360"/>
            <ac:spMk id="82" creationId="{EFAB4029-6C23-694B-219A-8996CE244044}"/>
          </ac:spMkLst>
        </pc:spChg>
        <pc:spChg chg="mod">
          <ac:chgData name="Jesse, Kevin" userId="6f05423f-cf98-4c12-b626-169f8a1317c4" providerId="ADAL" clId="{C12DEDC2-730C-5A22-9CCF-730A792D7847}" dt="2025-09-03T14:38:20.588" v="12909"/>
          <ac:spMkLst>
            <pc:docMk/>
            <pc:sldMk cId="1473170256" sldId="360"/>
            <ac:spMk id="83" creationId="{267E8FD6-AA4F-0057-28A1-9D884BED3C42}"/>
          </ac:spMkLst>
        </pc:spChg>
        <pc:spChg chg="add mod">
          <ac:chgData name="Jesse, Kevin" userId="6f05423f-cf98-4c12-b626-169f8a1317c4" providerId="ADAL" clId="{C12DEDC2-730C-5A22-9CCF-730A792D7847}" dt="2025-09-03T14:48:34.969" v="13425" actId="1076"/>
          <ac:spMkLst>
            <pc:docMk/>
            <pc:sldMk cId="1473170256" sldId="360"/>
            <ac:spMk id="89" creationId="{A5212EA2-CCDA-C383-322C-9C489C6E26EB}"/>
          </ac:spMkLst>
        </pc:spChg>
        <pc:grpChg chg="add del mod">
          <ac:chgData name="Jesse, Kevin" userId="6f05423f-cf98-4c12-b626-169f8a1317c4" providerId="ADAL" clId="{C12DEDC2-730C-5A22-9CCF-730A792D7847}" dt="2025-09-03T14:41:16.858" v="12960" actId="1076"/>
          <ac:grpSpMkLst>
            <pc:docMk/>
            <pc:sldMk cId="1473170256" sldId="360"/>
            <ac:grpSpMk id="2" creationId="{0CD0A229-26A0-6AB2-F360-76BF6C6ED79A}"/>
          </ac:grpSpMkLst>
        </pc:grpChg>
        <pc:grpChg chg="add del mod">
          <ac:chgData name="Jesse, Kevin" userId="6f05423f-cf98-4c12-b626-169f8a1317c4" providerId="ADAL" clId="{C12DEDC2-730C-5A22-9CCF-730A792D7847}" dt="2025-09-04T00:03:14.955" v="14058" actId="1076"/>
          <ac:grpSpMkLst>
            <pc:docMk/>
            <pc:sldMk cId="1473170256" sldId="360"/>
            <ac:grpSpMk id="22" creationId="{4B3E3879-DD8A-4E76-35D0-018470636D08}"/>
          </ac:grpSpMkLst>
        </pc:grpChg>
        <pc:grpChg chg="add del">
          <ac:chgData name="Jesse, Kevin" userId="6f05423f-cf98-4c12-b626-169f8a1317c4" providerId="ADAL" clId="{C12DEDC2-730C-5A22-9CCF-730A792D7847}" dt="2025-09-03T14:38:23.540" v="12911" actId="478"/>
          <ac:grpSpMkLst>
            <pc:docMk/>
            <pc:sldMk cId="1473170256" sldId="360"/>
            <ac:grpSpMk id="27" creationId="{DD501A25-4D0E-BDE8-AAEB-4A67E1736611}"/>
          </ac:grpSpMkLst>
        </pc:grpChg>
      </pc:sldChg>
      <pc:sldChg chg="addSp delSp modSp new mod modClrScheme chgLayout">
        <pc:chgData name="Jesse, Kevin" userId="6f05423f-cf98-4c12-b626-169f8a1317c4" providerId="ADAL" clId="{C12DEDC2-730C-5A22-9CCF-730A792D7847}" dt="2025-09-04T00:34:13.187" v="15825" actId="313"/>
        <pc:sldMkLst>
          <pc:docMk/>
          <pc:sldMk cId="1616069733" sldId="361"/>
        </pc:sldMkLst>
        <pc:spChg chg="add mod ord">
          <ac:chgData name="Jesse, Kevin" userId="6f05423f-cf98-4c12-b626-169f8a1317c4" providerId="ADAL" clId="{C12DEDC2-730C-5A22-9CCF-730A792D7847}" dt="2025-09-04T00:19:05.359" v="14749" actId="20577"/>
          <ac:spMkLst>
            <pc:docMk/>
            <pc:sldMk cId="1616069733" sldId="361"/>
            <ac:spMk id="4" creationId="{803A7DBE-482F-F957-0716-9138F5F866BE}"/>
          </ac:spMkLst>
        </pc:spChg>
        <pc:spChg chg="add mod ord">
          <ac:chgData name="Jesse, Kevin" userId="6f05423f-cf98-4c12-b626-169f8a1317c4" providerId="ADAL" clId="{C12DEDC2-730C-5A22-9CCF-730A792D7847}" dt="2025-09-04T00:34:13.187" v="15825" actId="313"/>
          <ac:spMkLst>
            <pc:docMk/>
            <pc:sldMk cId="1616069733" sldId="361"/>
            <ac:spMk id="5" creationId="{1F14318A-5894-058D-5363-1EA4E6166A94}"/>
          </ac:spMkLst>
        </pc:spChg>
        <pc:spChg chg="add mod">
          <ac:chgData name="Jesse, Kevin" userId="6f05423f-cf98-4c12-b626-169f8a1317c4" providerId="ADAL" clId="{C12DEDC2-730C-5A22-9CCF-730A792D7847}" dt="2025-09-04T00:30:48.786" v="15703" actId="113"/>
          <ac:spMkLst>
            <pc:docMk/>
            <pc:sldMk cId="1616069733" sldId="361"/>
            <ac:spMk id="11" creationId="{3064D627-1009-FDD9-3BF3-A72234AD126D}"/>
          </ac:spMkLst>
        </pc:spChg>
        <pc:picChg chg="add mod">
          <ac:chgData name="Jesse, Kevin" userId="6f05423f-cf98-4c12-b626-169f8a1317c4" providerId="ADAL" clId="{C12DEDC2-730C-5A22-9CCF-730A792D7847}" dt="2025-09-04T00:23:28.114" v="14833" actId="1076"/>
          <ac:picMkLst>
            <pc:docMk/>
            <pc:sldMk cId="1616069733" sldId="361"/>
            <ac:picMk id="7" creationId="{406A6A07-7183-3AA9-C35A-822A137900A4}"/>
          </ac:picMkLst>
        </pc:picChg>
      </pc:sldChg>
      <pc:sldChg chg="addSp modSp add mod">
        <pc:chgData name="Jesse, Kevin" userId="6f05423f-cf98-4c12-b626-169f8a1317c4" providerId="ADAL" clId="{C12DEDC2-730C-5A22-9CCF-730A792D7847}" dt="2025-09-04T00:41:43.505" v="16358" actId="1076"/>
        <pc:sldMkLst>
          <pc:docMk/>
          <pc:sldMk cId="1001836133" sldId="362"/>
        </pc:sldMkLst>
        <pc:spChg chg="add mod">
          <ac:chgData name="Jesse, Kevin" userId="6f05423f-cf98-4c12-b626-169f8a1317c4" providerId="ADAL" clId="{C12DEDC2-730C-5A22-9CCF-730A792D7847}" dt="2025-09-04T00:41:36.046" v="16356" actId="1076"/>
          <ac:spMkLst>
            <pc:docMk/>
            <pc:sldMk cId="1001836133" sldId="362"/>
            <ac:spMk id="3" creationId="{870382E1-AF64-381A-0E80-DF6F3BC97474}"/>
          </ac:spMkLst>
        </pc:spChg>
        <pc:spChg chg="mod">
          <ac:chgData name="Jesse, Kevin" userId="6f05423f-cf98-4c12-b626-169f8a1317c4" providerId="ADAL" clId="{C12DEDC2-730C-5A22-9CCF-730A792D7847}" dt="2025-09-04T00:34:09.452" v="15821" actId="313"/>
          <ac:spMkLst>
            <pc:docMk/>
            <pc:sldMk cId="1001836133" sldId="362"/>
            <ac:spMk id="5" creationId="{938A29A5-1CF4-DE0C-3717-DEEAAD449AAF}"/>
          </ac:spMkLst>
        </pc:spChg>
        <pc:spChg chg="mod">
          <ac:chgData name="Jesse, Kevin" userId="6f05423f-cf98-4c12-b626-169f8a1317c4" providerId="ADAL" clId="{C12DEDC2-730C-5A22-9CCF-730A792D7847}" dt="2025-09-04T00:41:43.505" v="16358" actId="1076"/>
          <ac:spMkLst>
            <pc:docMk/>
            <pc:sldMk cId="1001836133" sldId="362"/>
            <ac:spMk id="11" creationId="{65090662-71DC-98AE-B1D7-E72CE2DA4C29}"/>
          </ac:spMkLst>
        </pc:spChg>
        <pc:picChg chg="add mod">
          <ac:chgData name="Jesse, Kevin" userId="6f05423f-cf98-4c12-b626-169f8a1317c4" providerId="ADAL" clId="{C12DEDC2-730C-5A22-9CCF-730A792D7847}" dt="2025-09-04T00:34:00.238" v="15817" actId="14100"/>
          <ac:picMkLst>
            <pc:docMk/>
            <pc:sldMk cId="1001836133" sldId="362"/>
            <ac:picMk id="2050" creationId="{E5A962A5-CB33-A21D-0326-51B1697C626C}"/>
          </ac:picMkLst>
        </pc:picChg>
      </pc:sldChg>
      <pc:sldChg chg="addSp delSp modSp add mod modAnim">
        <pc:chgData name="Jesse, Kevin" userId="6f05423f-cf98-4c12-b626-169f8a1317c4" providerId="ADAL" clId="{C12DEDC2-730C-5A22-9CCF-730A792D7847}" dt="2025-09-04T01:02:43.818" v="17639" actId="1076"/>
        <pc:sldMkLst>
          <pc:docMk/>
          <pc:sldMk cId="1515824426" sldId="363"/>
        </pc:sldMkLst>
        <pc:spChg chg="mod">
          <ac:chgData name="Jesse, Kevin" userId="6f05423f-cf98-4c12-b626-169f8a1317c4" providerId="ADAL" clId="{C12DEDC2-730C-5A22-9CCF-730A792D7847}" dt="2025-09-04T01:00:51.022" v="17630"/>
          <ac:spMkLst>
            <pc:docMk/>
            <pc:sldMk cId="1515824426" sldId="363"/>
            <ac:spMk id="2" creationId="{50F45D6E-4AC3-B705-CFA1-4A6284BDD7D5}"/>
          </ac:spMkLst>
        </pc:spChg>
        <pc:spChg chg="mod">
          <ac:chgData name="Jesse, Kevin" userId="6f05423f-cf98-4c12-b626-169f8a1317c4" providerId="ADAL" clId="{C12DEDC2-730C-5A22-9CCF-730A792D7847}" dt="2025-09-04T00:57:52.713" v="17496" actId="20577"/>
          <ac:spMkLst>
            <pc:docMk/>
            <pc:sldMk cId="1515824426" sldId="363"/>
            <ac:spMk id="3" creationId="{B6610785-E6AE-0331-D0D2-C99C1C6347F8}"/>
          </ac:spMkLst>
        </pc:spChg>
        <pc:spChg chg="mod">
          <ac:chgData name="Jesse, Kevin" userId="6f05423f-cf98-4c12-b626-169f8a1317c4" providerId="ADAL" clId="{C12DEDC2-730C-5A22-9CCF-730A792D7847}" dt="2025-09-04T01:00:43.589" v="17627" actId="20577"/>
          <ac:spMkLst>
            <pc:docMk/>
            <pc:sldMk cId="1515824426" sldId="363"/>
            <ac:spMk id="4" creationId="{0FA9D87C-382F-3B67-2273-1F090302095A}"/>
          </ac:spMkLst>
        </pc:spChg>
        <pc:picChg chg="add del mod">
          <ac:chgData name="Jesse, Kevin" userId="6f05423f-cf98-4c12-b626-169f8a1317c4" providerId="ADAL" clId="{C12DEDC2-730C-5A22-9CCF-730A792D7847}" dt="2025-09-04T01:02:43.818" v="17639" actId="1076"/>
          <ac:picMkLst>
            <pc:docMk/>
            <pc:sldMk cId="1515824426" sldId="363"/>
            <ac:picMk id="9" creationId="{FDE3A92F-1123-727C-F2B6-85E0D73A5345}"/>
          </ac:picMkLst>
        </pc:picChg>
      </pc:sldChg>
      <pc:sldChg chg="addSp delSp modSp add mod">
        <pc:chgData name="Jesse, Kevin" userId="6f05423f-cf98-4c12-b626-169f8a1317c4" providerId="ADAL" clId="{C12DEDC2-730C-5A22-9CCF-730A792D7847}" dt="2025-09-04T01:05:55.200" v="17983" actId="20577"/>
        <pc:sldMkLst>
          <pc:docMk/>
          <pc:sldMk cId="2596852560" sldId="364"/>
        </pc:sldMkLst>
        <pc:spChg chg="add mod">
          <ac:chgData name="Jesse, Kevin" userId="6f05423f-cf98-4c12-b626-169f8a1317c4" providerId="ADAL" clId="{C12DEDC2-730C-5A22-9CCF-730A792D7847}" dt="2025-09-04T01:05:55.200" v="17983" actId="20577"/>
          <ac:spMkLst>
            <pc:docMk/>
            <pc:sldMk cId="2596852560" sldId="364"/>
            <ac:spMk id="7" creationId="{47027A89-E14F-53D1-B3FF-72D235C2B51B}"/>
          </ac:spMkLst>
        </pc:spChg>
        <pc:picChg chg="add mod">
          <ac:chgData name="Jesse, Kevin" userId="6f05423f-cf98-4c12-b626-169f8a1317c4" providerId="ADAL" clId="{C12DEDC2-730C-5A22-9CCF-730A792D7847}" dt="2025-09-04T01:04:08.101" v="17652" actId="1076"/>
          <ac:picMkLst>
            <pc:docMk/>
            <pc:sldMk cId="2596852560" sldId="364"/>
            <ac:picMk id="5124" creationId="{7950A337-F016-642E-B3BE-070120EA5CFF}"/>
          </ac:picMkLst>
        </pc:picChg>
      </pc:sldChg>
      <pc:sldChg chg="modSp add del mod">
        <pc:chgData name="Jesse, Kevin" userId="6f05423f-cf98-4c12-b626-169f8a1317c4" providerId="ADAL" clId="{C12DEDC2-730C-5A22-9CCF-730A792D7847}" dt="2025-09-04T01:28:26.735" v="18516" actId="2696"/>
        <pc:sldMkLst>
          <pc:docMk/>
          <pc:sldMk cId="3149193928" sldId="365"/>
        </pc:sldMkLst>
      </pc:sldChg>
      <pc:sldChg chg="addSp modSp add mod">
        <pc:chgData name="Jesse, Kevin" userId="6f05423f-cf98-4c12-b626-169f8a1317c4" providerId="ADAL" clId="{C12DEDC2-730C-5A22-9CCF-730A792D7847}" dt="2025-09-04T03:03:03.017" v="21121" actId="313"/>
        <pc:sldMkLst>
          <pc:docMk/>
          <pc:sldMk cId="3058166001" sldId="366"/>
        </pc:sldMkLst>
        <pc:spChg chg="add mod">
          <ac:chgData name="Jesse, Kevin" userId="6f05423f-cf98-4c12-b626-169f8a1317c4" providerId="ADAL" clId="{C12DEDC2-730C-5A22-9CCF-730A792D7847}" dt="2025-09-04T02:43:44.787" v="19593" actId="1076"/>
          <ac:spMkLst>
            <pc:docMk/>
            <pc:sldMk cId="3058166001" sldId="366"/>
            <ac:spMk id="2" creationId="{C7646897-F904-05E8-8E46-885AB54EA2E3}"/>
          </ac:spMkLst>
        </pc:spChg>
        <pc:spChg chg="mod">
          <ac:chgData name="Jesse, Kevin" userId="6f05423f-cf98-4c12-b626-169f8a1317c4" providerId="ADAL" clId="{C12DEDC2-730C-5A22-9CCF-730A792D7847}" dt="2025-09-04T01:17:21.222" v="18256" actId="20577"/>
          <ac:spMkLst>
            <pc:docMk/>
            <pc:sldMk cId="3058166001" sldId="366"/>
            <ac:spMk id="3" creationId="{4063638E-D837-5538-931C-74EF99B01093}"/>
          </ac:spMkLst>
        </pc:spChg>
        <pc:spChg chg="mod">
          <ac:chgData name="Jesse, Kevin" userId="6f05423f-cf98-4c12-b626-169f8a1317c4" providerId="ADAL" clId="{C12DEDC2-730C-5A22-9CCF-730A792D7847}" dt="2025-09-04T03:03:03.017" v="21121" actId="313"/>
          <ac:spMkLst>
            <pc:docMk/>
            <pc:sldMk cId="3058166001" sldId="366"/>
            <ac:spMk id="4" creationId="{473191C0-6058-47CA-6C21-2B4A61E1BCA6}"/>
          </ac:spMkLst>
        </pc:spChg>
        <pc:spChg chg="add mod">
          <ac:chgData name="Jesse, Kevin" userId="6f05423f-cf98-4c12-b626-169f8a1317c4" providerId="ADAL" clId="{C12DEDC2-730C-5A22-9CCF-730A792D7847}" dt="2025-09-04T02:49:46.986" v="20127" actId="1076"/>
          <ac:spMkLst>
            <pc:docMk/>
            <pc:sldMk cId="3058166001" sldId="366"/>
            <ac:spMk id="7" creationId="{46E4F96E-D431-64B7-DBDF-47BF9A3E3E61}"/>
          </ac:spMkLst>
        </pc:spChg>
        <pc:picChg chg="add mod">
          <ac:chgData name="Jesse, Kevin" userId="6f05423f-cf98-4c12-b626-169f8a1317c4" providerId="ADAL" clId="{C12DEDC2-730C-5A22-9CCF-730A792D7847}" dt="2025-09-04T02:49:29.587" v="20084" actId="14100"/>
          <ac:picMkLst>
            <pc:docMk/>
            <pc:sldMk cId="3058166001" sldId="366"/>
            <ac:picMk id="6" creationId="{31A5A2D8-0F28-DB36-5316-DAAC4A8ED5D9}"/>
          </ac:picMkLst>
        </pc:picChg>
      </pc:sldChg>
      <pc:sldChg chg="addSp delSp modSp add mod ord">
        <pc:chgData name="Jesse, Kevin" userId="6f05423f-cf98-4c12-b626-169f8a1317c4" providerId="ADAL" clId="{C12DEDC2-730C-5A22-9CCF-730A792D7847}" dt="2025-09-04T03:16:41.190" v="21948" actId="20578"/>
        <pc:sldMkLst>
          <pc:docMk/>
          <pc:sldMk cId="1617655133" sldId="367"/>
        </pc:sldMkLst>
        <pc:spChg chg="add mod">
          <ac:chgData name="Jesse, Kevin" userId="6f05423f-cf98-4c12-b626-169f8a1317c4" providerId="ADAL" clId="{C12DEDC2-730C-5A22-9CCF-730A792D7847}" dt="2025-09-04T03:10:41.618" v="21122"/>
          <ac:spMkLst>
            <pc:docMk/>
            <pc:sldMk cId="1617655133" sldId="367"/>
            <ac:spMk id="2" creationId="{4E513B23-5AF5-7FD7-C10F-EB597EC15912}"/>
          </ac:spMkLst>
        </pc:spChg>
        <pc:spChg chg="mod">
          <ac:chgData name="Jesse, Kevin" userId="6f05423f-cf98-4c12-b626-169f8a1317c4" providerId="ADAL" clId="{C12DEDC2-730C-5A22-9CCF-730A792D7847}" dt="2025-09-04T01:17:32.175" v="18284" actId="20577"/>
          <ac:spMkLst>
            <pc:docMk/>
            <pc:sldMk cId="1617655133" sldId="367"/>
            <ac:spMk id="3" creationId="{E7148309-AEB0-4BE9-9ED7-FF31BF404989}"/>
          </ac:spMkLst>
        </pc:spChg>
        <pc:spChg chg="mod">
          <ac:chgData name="Jesse, Kevin" userId="6f05423f-cf98-4c12-b626-169f8a1317c4" providerId="ADAL" clId="{C12DEDC2-730C-5A22-9CCF-730A792D7847}" dt="2025-09-04T03:11:01.419" v="21171" actId="20577"/>
          <ac:spMkLst>
            <pc:docMk/>
            <pc:sldMk cId="1617655133" sldId="367"/>
            <ac:spMk id="6" creationId="{EAC0C24B-A6E1-73AF-04FD-42F66C74E2D2}"/>
          </ac:spMkLst>
        </pc:spChg>
        <pc:spChg chg="mod">
          <ac:chgData name="Jesse, Kevin" userId="6f05423f-cf98-4c12-b626-169f8a1317c4" providerId="ADAL" clId="{C12DEDC2-730C-5A22-9CCF-730A792D7847}" dt="2025-09-04T03:15:06.883" v="21945" actId="20577"/>
          <ac:spMkLst>
            <pc:docMk/>
            <pc:sldMk cId="1617655133" sldId="367"/>
            <ac:spMk id="7" creationId="{63672812-9BAD-A61C-6245-0E7F7EBC35C3}"/>
          </ac:spMkLst>
        </pc:spChg>
        <pc:spChg chg="mod">
          <ac:chgData name="Jesse, Kevin" userId="6f05423f-cf98-4c12-b626-169f8a1317c4" providerId="ADAL" clId="{C12DEDC2-730C-5A22-9CCF-730A792D7847}" dt="2025-09-04T03:10:41.618" v="21122"/>
          <ac:spMkLst>
            <pc:docMk/>
            <pc:sldMk cId="1617655133" sldId="367"/>
            <ac:spMk id="9" creationId="{083142B0-A154-3AC3-ED36-E104F2BFCB58}"/>
          </ac:spMkLst>
        </pc:spChg>
        <pc:spChg chg="mod">
          <ac:chgData name="Jesse, Kevin" userId="6f05423f-cf98-4c12-b626-169f8a1317c4" providerId="ADAL" clId="{C12DEDC2-730C-5A22-9CCF-730A792D7847}" dt="2025-09-04T03:10:41.618" v="21122"/>
          <ac:spMkLst>
            <pc:docMk/>
            <pc:sldMk cId="1617655133" sldId="367"/>
            <ac:spMk id="10" creationId="{8A18F062-DC2B-B1CD-E403-39A28965B06B}"/>
          </ac:spMkLst>
        </pc:spChg>
        <pc:spChg chg="add mod">
          <ac:chgData name="Jesse, Kevin" userId="6f05423f-cf98-4c12-b626-169f8a1317c4" providerId="ADAL" clId="{C12DEDC2-730C-5A22-9CCF-730A792D7847}" dt="2025-09-04T03:12:34.211" v="21374" actId="1076"/>
          <ac:spMkLst>
            <pc:docMk/>
            <pc:sldMk cId="1617655133" sldId="367"/>
            <ac:spMk id="11" creationId="{83071C16-AD27-2345-4E35-13D7194BB583}"/>
          </ac:spMkLst>
        </pc:spChg>
        <pc:grpChg chg="add mod">
          <ac:chgData name="Jesse, Kevin" userId="6f05423f-cf98-4c12-b626-169f8a1317c4" providerId="ADAL" clId="{C12DEDC2-730C-5A22-9CCF-730A792D7847}" dt="2025-09-04T03:15:11.019" v="21947" actId="1076"/>
          <ac:grpSpMkLst>
            <pc:docMk/>
            <pc:sldMk cId="1617655133" sldId="367"/>
            <ac:grpSpMk id="5" creationId="{F9AE1CA0-5FE1-4F49-212D-3E7525E6E500}"/>
          </ac:grpSpMkLst>
        </pc:grpChg>
        <pc:grpChg chg="add mod">
          <ac:chgData name="Jesse, Kevin" userId="6f05423f-cf98-4c12-b626-169f8a1317c4" providerId="ADAL" clId="{C12DEDC2-730C-5A22-9CCF-730A792D7847}" dt="2025-09-04T03:10:41.618" v="21122"/>
          <ac:grpSpMkLst>
            <pc:docMk/>
            <pc:sldMk cId="1617655133" sldId="367"/>
            <ac:grpSpMk id="8" creationId="{6A705A9A-D2A5-2C10-7765-58ABF35ED5EB}"/>
          </ac:grpSpMkLst>
        </pc:grpChg>
      </pc:sldChg>
      <pc:sldChg chg="modSp add del mod">
        <pc:chgData name="Jesse, Kevin" userId="6f05423f-cf98-4c12-b626-169f8a1317c4" providerId="ADAL" clId="{C12DEDC2-730C-5A22-9CCF-730A792D7847}" dt="2025-09-04T03:16:45.455" v="21949" actId="2696"/>
        <pc:sldMkLst>
          <pc:docMk/>
          <pc:sldMk cId="3007350240" sldId="368"/>
        </pc:sldMkLst>
      </pc:sldChg>
      <pc:sldChg chg="modSp add del mod">
        <pc:chgData name="Jesse, Kevin" userId="6f05423f-cf98-4c12-b626-169f8a1317c4" providerId="ADAL" clId="{C12DEDC2-730C-5A22-9CCF-730A792D7847}" dt="2025-09-04T03:16:46.107" v="21950" actId="2696"/>
        <pc:sldMkLst>
          <pc:docMk/>
          <pc:sldMk cId="21442436" sldId="369"/>
        </pc:sldMkLst>
      </pc:sldChg>
      <pc:sldChg chg="new del">
        <pc:chgData name="Jesse, Kevin" userId="6f05423f-cf98-4c12-b626-169f8a1317c4" providerId="ADAL" clId="{C12DEDC2-730C-5A22-9CCF-730A792D7847}" dt="2025-09-04T01:28:02.865" v="18487" actId="2696"/>
        <pc:sldMkLst>
          <pc:docMk/>
          <pc:sldMk cId="2785718099" sldId="370"/>
        </pc:sldMkLst>
      </pc:sldChg>
      <pc:sldChg chg="addSp modSp new mod">
        <pc:chgData name="Jesse, Kevin" userId="6f05423f-cf98-4c12-b626-169f8a1317c4" providerId="ADAL" clId="{C12DEDC2-730C-5A22-9CCF-730A792D7847}" dt="2025-09-04T02:42:46.532" v="19535" actId="313"/>
        <pc:sldMkLst>
          <pc:docMk/>
          <pc:sldMk cId="2611181637" sldId="371"/>
        </pc:sldMkLst>
        <pc:spChg chg="mod">
          <ac:chgData name="Jesse, Kevin" userId="6f05423f-cf98-4c12-b626-169f8a1317c4" providerId="ADAL" clId="{C12DEDC2-730C-5A22-9CCF-730A792D7847}" dt="2025-09-04T01:28:38.098" v="18517" actId="20577"/>
          <ac:spMkLst>
            <pc:docMk/>
            <pc:sldMk cId="2611181637" sldId="371"/>
            <ac:spMk id="2" creationId="{5B56B203-449E-EC03-58D4-B99E5EB13383}"/>
          </ac:spMkLst>
        </pc:spChg>
        <pc:spChg chg="mod">
          <ac:chgData name="Jesse, Kevin" userId="6f05423f-cf98-4c12-b626-169f8a1317c4" providerId="ADAL" clId="{C12DEDC2-730C-5A22-9CCF-730A792D7847}" dt="2025-09-04T02:42:46.532" v="19535" actId="313"/>
          <ac:spMkLst>
            <pc:docMk/>
            <pc:sldMk cId="2611181637" sldId="371"/>
            <ac:spMk id="3" creationId="{70EBAA03-E170-FF62-97C0-E4C4D2F9CEBE}"/>
          </ac:spMkLst>
        </pc:spChg>
        <pc:picChg chg="add mod">
          <ac:chgData name="Jesse, Kevin" userId="6f05423f-cf98-4c12-b626-169f8a1317c4" providerId="ADAL" clId="{C12DEDC2-730C-5A22-9CCF-730A792D7847}" dt="2025-09-04T02:42:29.052" v="19530" actId="14100"/>
          <ac:picMkLst>
            <pc:docMk/>
            <pc:sldMk cId="2611181637" sldId="371"/>
            <ac:picMk id="5" creationId="{B4D4382F-8E07-53E2-9374-692057DBBB2B}"/>
          </ac:picMkLst>
        </pc:picChg>
        <pc:picChg chg="add mod">
          <ac:chgData name="Jesse, Kevin" userId="6f05423f-cf98-4c12-b626-169f8a1317c4" providerId="ADAL" clId="{C12DEDC2-730C-5A22-9CCF-730A792D7847}" dt="2025-09-04T02:42:35.694" v="19533" actId="1076"/>
          <ac:picMkLst>
            <pc:docMk/>
            <pc:sldMk cId="2611181637" sldId="371"/>
            <ac:picMk id="7" creationId="{3805AE21-6441-A949-C0E6-511BD2F6FCD3}"/>
          </ac:picMkLst>
        </pc:picChg>
      </pc:sldChg>
      <pc:sldChg chg="add del">
        <pc:chgData name="Jesse, Kevin" userId="6f05423f-cf98-4c12-b626-169f8a1317c4" providerId="ADAL" clId="{C12DEDC2-730C-5A22-9CCF-730A792D7847}" dt="2025-09-04T01:35:50.388" v="19204" actId="2890"/>
        <pc:sldMkLst>
          <pc:docMk/>
          <pc:sldMk cId="2963355861" sldId="372"/>
        </pc:sldMkLst>
      </pc:sldChg>
      <pc:sldChg chg="addSp delSp modSp add mod ord">
        <pc:chgData name="Jesse, Kevin" userId="6f05423f-cf98-4c12-b626-169f8a1317c4" providerId="ADAL" clId="{C12DEDC2-730C-5A22-9CCF-730A792D7847}" dt="2025-09-04T03:02:51.553" v="21120" actId="20577"/>
        <pc:sldMkLst>
          <pc:docMk/>
          <pc:sldMk cId="3349982280" sldId="372"/>
        </pc:sldMkLst>
        <pc:spChg chg="mod">
          <ac:chgData name="Jesse, Kevin" userId="6f05423f-cf98-4c12-b626-169f8a1317c4" providerId="ADAL" clId="{C12DEDC2-730C-5A22-9CCF-730A792D7847}" dt="2025-09-04T02:52:57.559" v="20159" actId="20577"/>
          <ac:spMkLst>
            <pc:docMk/>
            <pc:sldMk cId="3349982280" sldId="372"/>
            <ac:spMk id="3" creationId="{A04F7B4B-9C50-4A68-5440-8F931FFF23B8}"/>
          </ac:spMkLst>
        </pc:spChg>
        <pc:spChg chg="mod">
          <ac:chgData name="Jesse, Kevin" userId="6f05423f-cf98-4c12-b626-169f8a1317c4" providerId="ADAL" clId="{C12DEDC2-730C-5A22-9CCF-730A792D7847}" dt="2025-09-04T02:54:33.278" v="20160"/>
          <ac:spMkLst>
            <pc:docMk/>
            <pc:sldMk cId="3349982280" sldId="372"/>
            <ac:spMk id="11" creationId="{07E76D44-61F5-6D81-F53F-66DBA8BD1CC7}"/>
          </ac:spMkLst>
        </pc:spChg>
        <pc:spChg chg="mod">
          <ac:chgData name="Jesse, Kevin" userId="6f05423f-cf98-4c12-b626-169f8a1317c4" providerId="ADAL" clId="{C12DEDC2-730C-5A22-9CCF-730A792D7847}" dt="2025-09-04T02:54:33.278" v="20160"/>
          <ac:spMkLst>
            <pc:docMk/>
            <pc:sldMk cId="3349982280" sldId="372"/>
            <ac:spMk id="28" creationId="{010DFA37-B514-EC65-1653-9A219AAB00A7}"/>
          </ac:spMkLst>
        </pc:spChg>
        <pc:spChg chg="mod">
          <ac:chgData name="Jesse, Kevin" userId="6f05423f-cf98-4c12-b626-169f8a1317c4" providerId="ADAL" clId="{C12DEDC2-730C-5A22-9CCF-730A792D7847}" dt="2025-09-04T02:54:33.278" v="20160"/>
          <ac:spMkLst>
            <pc:docMk/>
            <pc:sldMk cId="3349982280" sldId="372"/>
            <ac:spMk id="33" creationId="{C9A0F07D-3EFC-8FF4-B003-CDEAD618A173}"/>
          </ac:spMkLst>
        </pc:spChg>
        <pc:spChg chg="mod">
          <ac:chgData name="Jesse, Kevin" userId="6f05423f-cf98-4c12-b626-169f8a1317c4" providerId="ADAL" clId="{C12DEDC2-730C-5A22-9CCF-730A792D7847}" dt="2025-09-04T02:54:33.278" v="20160"/>
          <ac:spMkLst>
            <pc:docMk/>
            <pc:sldMk cId="3349982280" sldId="372"/>
            <ac:spMk id="35" creationId="{BB0C024F-0F27-0A1C-7B9A-32AF471673C9}"/>
          </ac:spMkLst>
        </pc:spChg>
        <pc:spChg chg="mod">
          <ac:chgData name="Jesse, Kevin" userId="6f05423f-cf98-4c12-b626-169f8a1317c4" providerId="ADAL" clId="{C12DEDC2-730C-5A22-9CCF-730A792D7847}" dt="2025-09-04T02:54:33.278" v="20160"/>
          <ac:spMkLst>
            <pc:docMk/>
            <pc:sldMk cId="3349982280" sldId="372"/>
            <ac:spMk id="37" creationId="{86343583-DF03-B78A-AF54-B603FEC81155}"/>
          </ac:spMkLst>
        </pc:spChg>
        <pc:spChg chg="mod">
          <ac:chgData name="Jesse, Kevin" userId="6f05423f-cf98-4c12-b626-169f8a1317c4" providerId="ADAL" clId="{C12DEDC2-730C-5A22-9CCF-730A792D7847}" dt="2025-09-04T02:54:33.278" v="20160"/>
          <ac:spMkLst>
            <pc:docMk/>
            <pc:sldMk cId="3349982280" sldId="372"/>
            <ac:spMk id="45" creationId="{C3773236-FB58-65C3-EA13-3E611E466DE7}"/>
          </ac:spMkLst>
        </pc:spChg>
        <pc:spChg chg="mod">
          <ac:chgData name="Jesse, Kevin" userId="6f05423f-cf98-4c12-b626-169f8a1317c4" providerId="ADAL" clId="{C12DEDC2-730C-5A22-9CCF-730A792D7847}" dt="2025-09-04T02:54:46.938" v="20182" actId="20577"/>
          <ac:spMkLst>
            <pc:docMk/>
            <pc:sldMk cId="3349982280" sldId="372"/>
            <ac:spMk id="47" creationId="{DDB88FE7-49C9-ED3C-59BC-C6E042C2CEA1}"/>
          </ac:spMkLst>
        </pc:spChg>
        <pc:spChg chg="mod">
          <ac:chgData name="Jesse, Kevin" userId="6f05423f-cf98-4c12-b626-169f8a1317c4" providerId="ADAL" clId="{C12DEDC2-730C-5A22-9CCF-730A792D7847}" dt="2025-09-04T03:01:44.396" v="21050" actId="120"/>
          <ac:spMkLst>
            <pc:docMk/>
            <pc:sldMk cId="3349982280" sldId="372"/>
            <ac:spMk id="48" creationId="{3054239F-C993-C2D8-3469-3FDE64C2C2AF}"/>
          </ac:spMkLst>
        </pc:spChg>
        <pc:spChg chg="mod">
          <ac:chgData name="Jesse, Kevin" userId="6f05423f-cf98-4c12-b626-169f8a1317c4" providerId="ADAL" clId="{C12DEDC2-730C-5A22-9CCF-730A792D7847}" dt="2025-09-04T02:54:52.132" v="20199" actId="20577"/>
          <ac:spMkLst>
            <pc:docMk/>
            <pc:sldMk cId="3349982280" sldId="372"/>
            <ac:spMk id="50" creationId="{AE92A814-E3B7-8567-2219-D5258AB2A8A5}"/>
          </ac:spMkLst>
        </pc:spChg>
        <pc:spChg chg="mod">
          <ac:chgData name="Jesse, Kevin" userId="6f05423f-cf98-4c12-b626-169f8a1317c4" providerId="ADAL" clId="{C12DEDC2-730C-5A22-9CCF-730A792D7847}" dt="2025-09-04T03:02:01.827" v="21056" actId="120"/>
          <ac:spMkLst>
            <pc:docMk/>
            <pc:sldMk cId="3349982280" sldId="372"/>
            <ac:spMk id="51" creationId="{F830B15B-CC76-2BE2-7275-8A0E256F7B8D}"/>
          </ac:spMkLst>
        </pc:spChg>
        <pc:spChg chg="mod">
          <ac:chgData name="Jesse, Kevin" userId="6f05423f-cf98-4c12-b626-169f8a1317c4" providerId="ADAL" clId="{C12DEDC2-730C-5A22-9CCF-730A792D7847}" dt="2025-09-04T02:56:27.590" v="20300" actId="20577"/>
          <ac:spMkLst>
            <pc:docMk/>
            <pc:sldMk cId="3349982280" sldId="372"/>
            <ac:spMk id="53" creationId="{C4CE0825-43C2-666C-3937-A6892E58219B}"/>
          </ac:spMkLst>
        </pc:spChg>
        <pc:spChg chg="mod">
          <ac:chgData name="Jesse, Kevin" userId="6f05423f-cf98-4c12-b626-169f8a1317c4" providerId="ADAL" clId="{C12DEDC2-730C-5A22-9CCF-730A792D7847}" dt="2025-09-04T03:02:51.553" v="21120" actId="20577"/>
          <ac:spMkLst>
            <pc:docMk/>
            <pc:sldMk cId="3349982280" sldId="372"/>
            <ac:spMk id="54" creationId="{C6464705-DC60-EC33-FB15-11A9530F38AE}"/>
          </ac:spMkLst>
        </pc:spChg>
        <pc:spChg chg="add mod">
          <ac:chgData name="Jesse, Kevin" userId="6f05423f-cf98-4c12-b626-169f8a1317c4" providerId="ADAL" clId="{C12DEDC2-730C-5A22-9CCF-730A792D7847}" dt="2025-09-04T03:01:36.283" v="21047" actId="1076"/>
          <ac:spMkLst>
            <pc:docMk/>
            <pc:sldMk cId="3349982280" sldId="372"/>
            <ac:spMk id="55" creationId="{32576443-96A0-3701-8136-B9ACA2A46527}"/>
          </ac:spMkLst>
        </pc:spChg>
        <pc:grpChg chg="mod">
          <ac:chgData name="Jesse, Kevin" userId="6f05423f-cf98-4c12-b626-169f8a1317c4" providerId="ADAL" clId="{C12DEDC2-730C-5A22-9CCF-730A792D7847}" dt="2025-09-04T03:02:15.418" v="21062" actId="1076"/>
          <ac:grpSpMkLst>
            <pc:docMk/>
            <pc:sldMk cId="3349982280" sldId="372"/>
            <ac:grpSpMk id="2" creationId="{C809AD7E-A2E6-281D-EB53-107F541E88BC}"/>
          </ac:grpSpMkLst>
        </pc:grpChg>
        <pc:grpChg chg="mod">
          <ac:chgData name="Jesse, Kevin" userId="6f05423f-cf98-4c12-b626-169f8a1317c4" providerId="ADAL" clId="{C12DEDC2-730C-5A22-9CCF-730A792D7847}" dt="2025-09-04T03:02:22.347" v="21064" actId="1076"/>
          <ac:grpSpMkLst>
            <pc:docMk/>
            <pc:sldMk cId="3349982280" sldId="372"/>
            <ac:grpSpMk id="46" creationId="{53DD0ABF-4E51-12EF-50FB-5ABD9EA530DB}"/>
          </ac:grpSpMkLst>
        </pc:grpChg>
        <pc:grpChg chg="mod">
          <ac:chgData name="Jesse, Kevin" userId="6f05423f-cf98-4c12-b626-169f8a1317c4" providerId="ADAL" clId="{C12DEDC2-730C-5A22-9CCF-730A792D7847}" dt="2025-09-04T03:02:19" v="21063" actId="1076"/>
          <ac:grpSpMkLst>
            <pc:docMk/>
            <pc:sldMk cId="3349982280" sldId="372"/>
            <ac:grpSpMk id="49" creationId="{D6392C84-A680-FD16-EA14-092AE640C832}"/>
          </ac:grpSpMkLst>
        </pc:grpChg>
        <pc:grpChg chg="mod">
          <ac:chgData name="Jesse, Kevin" userId="6f05423f-cf98-4c12-b626-169f8a1317c4" providerId="ADAL" clId="{C12DEDC2-730C-5A22-9CCF-730A792D7847}" dt="2025-09-04T03:02:09.687" v="21060" actId="1076"/>
          <ac:grpSpMkLst>
            <pc:docMk/>
            <pc:sldMk cId="3349982280" sldId="372"/>
            <ac:grpSpMk id="52" creationId="{4B83F913-588F-414D-1C6D-5196BA6787DD}"/>
          </ac:grpSpMkLst>
        </pc:grpChg>
      </pc:sldChg>
      <pc:sldChg chg="new del">
        <pc:chgData name="Jesse, Kevin" userId="6f05423f-cf98-4c12-b626-169f8a1317c4" providerId="ADAL" clId="{C12DEDC2-730C-5A22-9CCF-730A792D7847}" dt="2025-09-04T01:30:10.872" v="18710" actId="2696"/>
        <pc:sldMkLst>
          <pc:docMk/>
          <pc:sldMk cId="4031341447" sldId="372"/>
        </pc:sldMkLst>
      </pc:sldChg>
      <pc:sldChg chg="add del">
        <pc:chgData name="Jesse, Kevin" userId="6f05423f-cf98-4c12-b626-169f8a1317c4" providerId="ADAL" clId="{C12DEDC2-730C-5A22-9CCF-730A792D7847}" dt="2025-09-04T03:59:29.260" v="25332" actId="2696"/>
        <pc:sldMkLst>
          <pc:docMk/>
          <pc:sldMk cId="3940825954" sldId="373"/>
        </pc:sldMkLst>
      </pc:sldChg>
      <pc:sldChg chg="modSp add mod">
        <pc:chgData name="Jesse, Kevin" userId="6f05423f-cf98-4c12-b626-169f8a1317c4" providerId="ADAL" clId="{C12DEDC2-730C-5A22-9CCF-730A792D7847}" dt="2025-09-04T03:39:56.459" v="23824" actId="20577"/>
        <pc:sldMkLst>
          <pc:docMk/>
          <pc:sldMk cId="3413707850" sldId="374"/>
        </pc:sldMkLst>
        <pc:spChg chg="mod">
          <ac:chgData name="Jesse, Kevin" userId="6f05423f-cf98-4c12-b626-169f8a1317c4" providerId="ADAL" clId="{C12DEDC2-730C-5A22-9CCF-730A792D7847}" dt="2025-09-04T03:39:56.459" v="23824" actId="20577"/>
          <ac:spMkLst>
            <pc:docMk/>
            <pc:sldMk cId="3413707850" sldId="374"/>
            <ac:spMk id="4" creationId="{3041A50E-2A57-E093-FA74-5AFC8191EE86}"/>
          </ac:spMkLst>
        </pc:spChg>
      </pc:sldChg>
      <pc:sldChg chg="addSp delSp modSp add mod">
        <pc:chgData name="Jesse, Kevin" userId="6f05423f-cf98-4c12-b626-169f8a1317c4" providerId="ADAL" clId="{C12DEDC2-730C-5A22-9CCF-730A792D7847}" dt="2025-09-04T03:47:22.826" v="24432" actId="120"/>
        <pc:sldMkLst>
          <pc:docMk/>
          <pc:sldMk cId="3477398573" sldId="375"/>
        </pc:sldMkLst>
        <pc:spChg chg="mod">
          <ac:chgData name="Jesse, Kevin" userId="6f05423f-cf98-4c12-b626-169f8a1317c4" providerId="ADAL" clId="{C12DEDC2-730C-5A22-9CCF-730A792D7847}" dt="2025-09-04T03:41:26.036" v="23830" actId="207"/>
          <ac:spMkLst>
            <pc:docMk/>
            <pc:sldMk cId="3477398573" sldId="375"/>
            <ac:spMk id="4" creationId="{BA28088A-66AA-97FB-146E-781F21056E1C}"/>
          </ac:spMkLst>
        </pc:spChg>
        <pc:spChg chg="mod">
          <ac:chgData name="Jesse, Kevin" userId="6f05423f-cf98-4c12-b626-169f8a1317c4" providerId="ADAL" clId="{C12DEDC2-730C-5A22-9CCF-730A792D7847}" dt="2025-09-04T03:41:04.428" v="23827"/>
          <ac:spMkLst>
            <pc:docMk/>
            <pc:sldMk cId="3477398573" sldId="375"/>
            <ac:spMk id="5" creationId="{3C1A85D0-026A-EA5B-1529-664C0B6C4FDA}"/>
          </ac:spMkLst>
        </pc:spChg>
        <pc:spChg chg="mod">
          <ac:chgData name="Jesse, Kevin" userId="6f05423f-cf98-4c12-b626-169f8a1317c4" providerId="ADAL" clId="{C12DEDC2-730C-5A22-9CCF-730A792D7847}" dt="2025-09-04T03:41:04.428" v="23827"/>
          <ac:spMkLst>
            <pc:docMk/>
            <pc:sldMk cId="3477398573" sldId="375"/>
            <ac:spMk id="7" creationId="{1E114A94-4C08-BF28-CBB7-088AF7457B74}"/>
          </ac:spMkLst>
        </pc:spChg>
        <pc:spChg chg="mod">
          <ac:chgData name="Jesse, Kevin" userId="6f05423f-cf98-4c12-b626-169f8a1317c4" providerId="ADAL" clId="{C12DEDC2-730C-5A22-9CCF-730A792D7847}" dt="2025-09-04T03:41:04.428" v="23827"/>
          <ac:spMkLst>
            <pc:docMk/>
            <pc:sldMk cId="3477398573" sldId="375"/>
            <ac:spMk id="10" creationId="{407267CB-43D9-CAB9-C85B-A62D8F69C248}"/>
          </ac:spMkLst>
        </pc:spChg>
        <pc:spChg chg="mod">
          <ac:chgData name="Jesse, Kevin" userId="6f05423f-cf98-4c12-b626-169f8a1317c4" providerId="ADAL" clId="{C12DEDC2-730C-5A22-9CCF-730A792D7847}" dt="2025-09-04T03:41:04.428" v="23827"/>
          <ac:spMkLst>
            <pc:docMk/>
            <pc:sldMk cId="3477398573" sldId="375"/>
            <ac:spMk id="21" creationId="{0D62C4BB-B76A-940C-A028-FABFB74F37DC}"/>
          </ac:spMkLst>
        </pc:spChg>
        <pc:spChg chg="mod">
          <ac:chgData name="Jesse, Kevin" userId="6f05423f-cf98-4c12-b626-169f8a1317c4" providerId="ADAL" clId="{C12DEDC2-730C-5A22-9CCF-730A792D7847}" dt="2025-09-04T03:41:04.428" v="23827"/>
          <ac:spMkLst>
            <pc:docMk/>
            <pc:sldMk cId="3477398573" sldId="375"/>
            <ac:spMk id="30" creationId="{FD8806E4-02E9-FAC7-D844-16BE92D04383}"/>
          </ac:spMkLst>
        </pc:spChg>
        <pc:spChg chg="mod">
          <ac:chgData name="Jesse, Kevin" userId="6f05423f-cf98-4c12-b626-169f8a1317c4" providerId="ADAL" clId="{C12DEDC2-730C-5A22-9CCF-730A792D7847}" dt="2025-09-04T03:41:04.428" v="23827"/>
          <ac:spMkLst>
            <pc:docMk/>
            <pc:sldMk cId="3477398573" sldId="375"/>
            <ac:spMk id="35" creationId="{1DB173A9-7CD8-029D-F0EB-63A10AF534FE}"/>
          </ac:spMkLst>
        </pc:spChg>
        <pc:spChg chg="mod">
          <ac:chgData name="Jesse, Kevin" userId="6f05423f-cf98-4c12-b626-169f8a1317c4" providerId="ADAL" clId="{C12DEDC2-730C-5A22-9CCF-730A792D7847}" dt="2025-09-04T03:41:04.428" v="23827"/>
          <ac:spMkLst>
            <pc:docMk/>
            <pc:sldMk cId="3477398573" sldId="375"/>
            <ac:spMk id="39" creationId="{52713707-F298-ACC3-9336-F31574ACE500}"/>
          </ac:spMkLst>
        </pc:spChg>
        <pc:spChg chg="mod">
          <ac:chgData name="Jesse, Kevin" userId="6f05423f-cf98-4c12-b626-169f8a1317c4" providerId="ADAL" clId="{C12DEDC2-730C-5A22-9CCF-730A792D7847}" dt="2025-09-04T03:43:16.741" v="23898" actId="20577"/>
          <ac:spMkLst>
            <pc:docMk/>
            <pc:sldMk cId="3477398573" sldId="375"/>
            <ac:spMk id="51" creationId="{2AEE1461-AE0D-0E2B-D74D-C4D362E26A04}"/>
          </ac:spMkLst>
        </pc:spChg>
        <pc:spChg chg="mod">
          <ac:chgData name="Jesse, Kevin" userId="6f05423f-cf98-4c12-b626-169f8a1317c4" providerId="ADAL" clId="{C12DEDC2-730C-5A22-9CCF-730A792D7847}" dt="2025-09-04T03:46:01.572" v="24390" actId="403"/>
          <ac:spMkLst>
            <pc:docMk/>
            <pc:sldMk cId="3477398573" sldId="375"/>
            <ac:spMk id="52" creationId="{CCDE3C4C-CE47-7585-B22A-3944024F43A6}"/>
          </ac:spMkLst>
        </pc:spChg>
        <pc:spChg chg="mod">
          <ac:chgData name="Jesse, Kevin" userId="6f05423f-cf98-4c12-b626-169f8a1317c4" providerId="ADAL" clId="{C12DEDC2-730C-5A22-9CCF-730A792D7847}" dt="2025-09-04T03:47:08.565" v="24427"/>
          <ac:spMkLst>
            <pc:docMk/>
            <pc:sldMk cId="3477398573" sldId="375"/>
            <ac:spMk id="54" creationId="{D161F5B4-EAE4-D10F-487F-EA025F672D96}"/>
          </ac:spMkLst>
        </pc:spChg>
        <pc:spChg chg="mod">
          <ac:chgData name="Jesse, Kevin" userId="6f05423f-cf98-4c12-b626-169f8a1317c4" providerId="ADAL" clId="{C12DEDC2-730C-5A22-9CCF-730A792D7847}" dt="2025-09-04T03:47:22.826" v="24432" actId="120"/>
          <ac:spMkLst>
            <pc:docMk/>
            <pc:sldMk cId="3477398573" sldId="375"/>
            <ac:spMk id="55" creationId="{A0B5F0C5-B8DB-AF3E-5F56-A9CB092990A0}"/>
          </ac:spMkLst>
        </pc:spChg>
        <pc:spChg chg="mod">
          <ac:chgData name="Jesse, Kevin" userId="6f05423f-cf98-4c12-b626-169f8a1317c4" providerId="ADAL" clId="{C12DEDC2-730C-5A22-9CCF-730A792D7847}" dt="2025-09-04T03:42:56.011" v="23876"/>
          <ac:spMkLst>
            <pc:docMk/>
            <pc:sldMk cId="3477398573" sldId="375"/>
            <ac:spMk id="57" creationId="{59B83C9C-C163-AC23-253B-6CE2F0CD6EAF}"/>
          </ac:spMkLst>
        </pc:spChg>
        <pc:spChg chg="mod">
          <ac:chgData name="Jesse, Kevin" userId="6f05423f-cf98-4c12-b626-169f8a1317c4" providerId="ADAL" clId="{C12DEDC2-730C-5A22-9CCF-730A792D7847}" dt="2025-09-04T03:46:09.744" v="24396" actId="403"/>
          <ac:spMkLst>
            <pc:docMk/>
            <pc:sldMk cId="3477398573" sldId="375"/>
            <ac:spMk id="58" creationId="{290FA359-72D1-7B52-9179-641B6415E2BD}"/>
          </ac:spMkLst>
        </pc:spChg>
        <pc:spChg chg="mod">
          <ac:chgData name="Jesse, Kevin" userId="6f05423f-cf98-4c12-b626-169f8a1317c4" providerId="ADAL" clId="{C12DEDC2-730C-5A22-9CCF-730A792D7847}" dt="2025-09-04T03:45:35.053" v="24380"/>
          <ac:spMkLst>
            <pc:docMk/>
            <pc:sldMk cId="3477398573" sldId="375"/>
            <ac:spMk id="60" creationId="{F3416331-40F0-A753-4B60-D92B2B43260D}"/>
          </ac:spMkLst>
        </pc:spChg>
        <pc:spChg chg="mod">
          <ac:chgData name="Jesse, Kevin" userId="6f05423f-cf98-4c12-b626-169f8a1317c4" providerId="ADAL" clId="{C12DEDC2-730C-5A22-9CCF-730A792D7847}" dt="2025-09-04T03:46:31.062" v="24404" actId="120"/>
          <ac:spMkLst>
            <pc:docMk/>
            <pc:sldMk cId="3477398573" sldId="375"/>
            <ac:spMk id="61" creationId="{739B4AD1-1184-3687-6EBF-78CE9A6AACC3}"/>
          </ac:spMkLst>
        </pc:spChg>
        <pc:grpChg chg="mod">
          <ac:chgData name="Jesse, Kevin" userId="6f05423f-cf98-4c12-b626-169f8a1317c4" providerId="ADAL" clId="{C12DEDC2-730C-5A22-9CCF-730A792D7847}" dt="2025-09-04T03:46:20.622" v="24399" actId="1076"/>
          <ac:grpSpMkLst>
            <pc:docMk/>
            <pc:sldMk cId="3477398573" sldId="375"/>
            <ac:grpSpMk id="2" creationId="{A4BD6BA5-D123-64C4-3F4A-B3DFBC0FE805}"/>
          </ac:grpSpMkLst>
        </pc:grpChg>
        <pc:grpChg chg="mod">
          <ac:chgData name="Jesse, Kevin" userId="6f05423f-cf98-4c12-b626-169f8a1317c4" providerId="ADAL" clId="{C12DEDC2-730C-5A22-9CCF-730A792D7847}" dt="2025-09-04T03:46:20.622" v="24399" actId="1076"/>
          <ac:grpSpMkLst>
            <pc:docMk/>
            <pc:sldMk cId="3477398573" sldId="375"/>
            <ac:grpSpMk id="17" creationId="{455030E3-C61D-35B9-4BC8-7283446FAC53}"/>
          </ac:grpSpMkLst>
        </pc:grpChg>
        <pc:grpChg chg="mod">
          <ac:chgData name="Jesse, Kevin" userId="6f05423f-cf98-4c12-b626-169f8a1317c4" providerId="ADAL" clId="{C12DEDC2-730C-5A22-9CCF-730A792D7847}" dt="2025-09-04T03:46:20.622" v="24399" actId="1076"/>
          <ac:grpSpMkLst>
            <pc:docMk/>
            <pc:sldMk cId="3477398573" sldId="375"/>
            <ac:grpSpMk id="28" creationId="{7F164132-42BD-3070-FE3E-F01EC54635CC}"/>
          </ac:grpSpMkLst>
        </pc:grpChg>
        <pc:grpChg chg="mod">
          <ac:chgData name="Jesse, Kevin" userId="6f05423f-cf98-4c12-b626-169f8a1317c4" providerId="ADAL" clId="{C12DEDC2-730C-5A22-9CCF-730A792D7847}" dt="2025-09-04T03:46:20.622" v="24399" actId="1076"/>
          <ac:grpSpMkLst>
            <pc:docMk/>
            <pc:sldMk cId="3477398573" sldId="375"/>
            <ac:grpSpMk id="40" creationId="{63BE80F0-EFF8-85BC-E8A8-13B8F623CA77}"/>
          </ac:grpSpMkLst>
        </pc:grpChg>
        <pc:grpChg chg="mod">
          <ac:chgData name="Jesse, Kevin" userId="6f05423f-cf98-4c12-b626-169f8a1317c4" providerId="ADAL" clId="{C12DEDC2-730C-5A22-9CCF-730A792D7847}" dt="2025-09-04T03:46:20.622" v="24399" actId="1076"/>
          <ac:grpSpMkLst>
            <pc:docMk/>
            <pc:sldMk cId="3477398573" sldId="375"/>
            <ac:grpSpMk id="50" creationId="{6B6D032D-EB1A-065A-72F0-982AA8589AF4}"/>
          </ac:grpSpMkLst>
        </pc:grpChg>
        <pc:grpChg chg="mod">
          <ac:chgData name="Jesse, Kevin" userId="6f05423f-cf98-4c12-b626-169f8a1317c4" providerId="ADAL" clId="{C12DEDC2-730C-5A22-9CCF-730A792D7847}" dt="2025-09-04T03:47:08.565" v="24427"/>
          <ac:grpSpMkLst>
            <pc:docMk/>
            <pc:sldMk cId="3477398573" sldId="375"/>
            <ac:grpSpMk id="53" creationId="{096EBC58-79EF-DEC1-EDAA-F3147FA2D4C1}"/>
          </ac:grpSpMkLst>
        </pc:grpChg>
        <pc:grpChg chg="mod">
          <ac:chgData name="Jesse, Kevin" userId="6f05423f-cf98-4c12-b626-169f8a1317c4" providerId="ADAL" clId="{C12DEDC2-730C-5A22-9CCF-730A792D7847}" dt="2025-09-04T03:46:24.044" v="24400" actId="1076"/>
          <ac:grpSpMkLst>
            <pc:docMk/>
            <pc:sldMk cId="3477398573" sldId="375"/>
            <ac:grpSpMk id="56" creationId="{78D049ED-F3D3-2588-B5E6-1F105ADE4B8B}"/>
          </ac:grpSpMkLst>
        </pc:grpChg>
        <pc:grpChg chg="mod">
          <ac:chgData name="Jesse, Kevin" userId="6f05423f-cf98-4c12-b626-169f8a1317c4" providerId="ADAL" clId="{C12DEDC2-730C-5A22-9CCF-730A792D7847}" dt="2025-09-04T03:46:35.200" v="24405" actId="1076"/>
          <ac:grpSpMkLst>
            <pc:docMk/>
            <pc:sldMk cId="3477398573" sldId="375"/>
            <ac:grpSpMk id="59" creationId="{864A37AD-CBEE-888F-C57A-54F9F76D103D}"/>
          </ac:grpSpMkLst>
        </pc:grpChg>
      </pc:sldChg>
      <pc:sldChg chg="addSp delSp modSp new mod">
        <pc:chgData name="Jesse, Kevin" userId="6f05423f-cf98-4c12-b626-169f8a1317c4" providerId="ADAL" clId="{C12DEDC2-730C-5A22-9CCF-730A792D7847}" dt="2025-09-04T03:57:58.333" v="25331" actId="1076"/>
        <pc:sldMkLst>
          <pc:docMk/>
          <pc:sldMk cId="4108320519" sldId="376"/>
        </pc:sldMkLst>
        <pc:spChg chg="mod">
          <ac:chgData name="Jesse, Kevin" userId="6f05423f-cf98-4c12-b626-169f8a1317c4" providerId="ADAL" clId="{C12DEDC2-730C-5A22-9CCF-730A792D7847}" dt="2025-09-04T03:52:21.954" v="24461" actId="1076"/>
          <ac:spMkLst>
            <pc:docMk/>
            <pc:sldMk cId="4108320519" sldId="376"/>
            <ac:spMk id="2" creationId="{EDCC58FF-EE6A-E14D-0CF5-586FC523436B}"/>
          </ac:spMkLst>
        </pc:spChg>
        <pc:spChg chg="mod">
          <ac:chgData name="Jesse, Kevin" userId="6f05423f-cf98-4c12-b626-169f8a1317c4" providerId="ADAL" clId="{C12DEDC2-730C-5A22-9CCF-730A792D7847}" dt="2025-09-04T03:55:00.491" v="24782" actId="20577"/>
          <ac:spMkLst>
            <pc:docMk/>
            <pc:sldMk cId="4108320519" sldId="376"/>
            <ac:spMk id="6" creationId="{FC9E4BDE-A240-9A2C-D6FD-72F5143C0054}"/>
          </ac:spMkLst>
        </pc:spChg>
        <pc:spChg chg="mod">
          <ac:chgData name="Jesse, Kevin" userId="6f05423f-cf98-4c12-b626-169f8a1317c4" providerId="ADAL" clId="{C12DEDC2-730C-5A22-9CCF-730A792D7847}" dt="2025-09-04T03:57:38.407" v="25327" actId="120"/>
          <ac:spMkLst>
            <pc:docMk/>
            <pc:sldMk cId="4108320519" sldId="376"/>
            <ac:spMk id="7" creationId="{74A37FC5-47EC-F0C8-1AE4-645E3E14CDEA}"/>
          </ac:spMkLst>
        </pc:spChg>
        <pc:spChg chg="mod">
          <ac:chgData name="Jesse, Kevin" userId="6f05423f-cf98-4c12-b626-169f8a1317c4" providerId="ADAL" clId="{C12DEDC2-730C-5A22-9CCF-730A792D7847}" dt="2025-09-04T03:52:12.168" v="24459"/>
          <ac:spMkLst>
            <pc:docMk/>
            <pc:sldMk cId="4108320519" sldId="376"/>
            <ac:spMk id="9" creationId="{21009F83-5DFE-5BB2-5665-9B84046E4E02}"/>
          </ac:spMkLst>
        </pc:spChg>
        <pc:spChg chg="mod">
          <ac:chgData name="Jesse, Kevin" userId="6f05423f-cf98-4c12-b626-169f8a1317c4" providerId="ADAL" clId="{C12DEDC2-730C-5A22-9CCF-730A792D7847}" dt="2025-09-04T03:57:25.015" v="25323" actId="403"/>
          <ac:spMkLst>
            <pc:docMk/>
            <pc:sldMk cId="4108320519" sldId="376"/>
            <ac:spMk id="10" creationId="{7E18883B-186D-C649-5373-C3E34F6C9265}"/>
          </ac:spMkLst>
        </pc:spChg>
        <pc:spChg chg="mod">
          <ac:chgData name="Jesse, Kevin" userId="6f05423f-cf98-4c12-b626-169f8a1317c4" providerId="ADAL" clId="{C12DEDC2-730C-5A22-9CCF-730A792D7847}" dt="2025-09-04T03:53:29.800" v="24517" actId="20577"/>
          <ac:spMkLst>
            <pc:docMk/>
            <pc:sldMk cId="4108320519" sldId="376"/>
            <ac:spMk id="15" creationId="{FA4C57A8-9169-4B9F-B5D3-7D06218E9A0F}"/>
          </ac:spMkLst>
        </pc:spChg>
        <pc:spChg chg="mod">
          <ac:chgData name="Jesse, Kevin" userId="6f05423f-cf98-4c12-b626-169f8a1317c4" providerId="ADAL" clId="{C12DEDC2-730C-5A22-9CCF-730A792D7847}" dt="2025-09-04T03:57:35.512" v="25326" actId="120"/>
          <ac:spMkLst>
            <pc:docMk/>
            <pc:sldMk cId="4108320519" sldId="376"/>
            <ac:spMk id="16" creationId="{0D979AAA-B095-64CE-863A-A0ECF45948ED}"/>
          </ac:spMkLst>
        </pc:spChg>
        <pc:spChg chg="mod">
          <ac:chgData name="Jesse, Kevin" userId="6f05423f-cf98-4c12-b626-169f8a1317c4" providerId="ADAL" clId="{C12DEDC2-730C-5A22-9CCF-730A792D7847}" dt="2025-09-04T03:52:12.168" v="24459"/>
          <ac:spMkLst>
            <pc:docMk/>
            <pc:sldMk cId="4108320519" sldId="376"/>
            <ac:spMk id="21" creationId="{6FDFA20D-B98F-99CB-C6B4-75D30B789533}"/>
          </ac:spMkLst>
        </pc:spChg>
        <pc:spChg chg="mod">
          <ac:chgData name="Jesse, Kevin" userId="6f05423f-cf98-4c12-b626-169f8a1317c4" providerId="ADAL" clId="{C12DEDC2-730C-5A22-9CCF-730A792D7847}" dt="2025-09-04T03:52:12.168" v="24459"/>
          <ac:spMkLst>
            <pc:docMk/>
            <pc:sldMk cId="4108320519" sldId="376"/>
            <ac:spMk id="23" creationId="{338E4B90-AEBA-2E54-4B61-979E1FB74293}"/>
          </ac:spMkLst>
        </pc:spChg>
        <pc:spChg chg="mod">
          <ac:chgData name="Jesse, Kevin" userId="6f05423f-cf98-4c12-b626-169f8a1317c4" providerId="ADAL" clId="{C12DEDC2-730C-5A22-9CCF-730A792D7847}" dt="2025-09-04T03:52:12.168" v="24459"/>
          <ac:spMkLst>
            <pc:docMk/>
            <pc:sldMk cId="4108320519" sldId="376"/>
            <ac:spMk id="39" creationId="{B16D569F-4F49-6B81-0219-679A72A4868D}"/>
          </ac:spMkLst>
        </pc:spChg>
        <pc:spChg chg="mod">
          <ac:chgData name="Jesse, Kevin" userId="6f05423f-cf98-4c12-b626-169f8a1317c4" providerId="ADAL" clId="{C12DEDC2-730C-5A22-9CCF-730A792D7847}" dt="2025-09-04T03:52:12.168" v="24459"/>
          <ac:spMkLst>
            <pc:docMk/>
            <pc:sldMk cId="4108320519" sldId="376"/>
            <ac:spMk id="44" creationId="{08C1F37C-D141-B837-3CA0-334F32FD7941}"/>
          </ac:spMkLst>
        </pc:spChg>
        <pc:spChg chg="mod">
          <ac:chgData name="Jesse, Kevin" userId="6f05423f-cf98-4c12-b626-169f8a1317c4" providerId="ADAL" clId="{C12DEDC2-730C-5A22-9CCF-730A792D7847}" dt="2025-09-04T03:52:12.168" v="24459"/>
          <ac:spMkLst>
            <pc:docMk/>
            <pc:sldMk cId="4108320519" sldId="376"/>
            <ac:spMk id="46" creationId="{3D21199D-B6E1-75DF-B8A4-D43371535BB4}"/>
          </ac:spMkLst>
        </pc:spChg>
        <pc:spChg chg="mod">
          <ac:chgData name="Jesse, Kevin" userId="6f05423f-cf98-4c12-b626-169f8a1317c4" providerId="ADAL" clId="{C12DEDC2-730C-5A22-9CCF-730A792D7847}" dt="2025-09-04T03:52:12.168" v="24459"/>
          <ac:spMkLst>
            <pc:docMk/>
            <pc:sldMk cId="4108320519" sldId="376"/>
            <ac:spMk id="52" creationId="{BB9523F9-A9F9-43CC-4B44-A448984545CC}"/>
          </ac:spMkLst>
        </pc:spChg>
        <pc:spChg chg="mod">
          <ac:chgData name="Jesse, Kevin" userId="6f05423f-cf98-4c12-b626-169f8a1317c4" providerId="ADAL" clId="{C12DEDC2-730C-5A22-9CCF-730A792D7847}" dt="2025-09-04T03:52:12.168" v="24459"/>
          <ac:spMkLst>
            <pc:docMk/>
            <pc:sldMk cId="4108320519" sldId="376"/>
            <ac:spMk id="62" creationId="{DA2C0204-5BC9-4BDF-E34E-C3E7A4650C74}"/>
          </ac:spMkLst>
        </pc:spChg>
        <pc:spChg chg="mod">
          <ac:chgData name="Jesse, Kevin" userId="6f05423f-cf98-4c12-b626-169f8a1317c4" providerId="ADAL" clId="{C12DEDC2-730C-5A22-9CCF-730A792D7847}" dt="2025-09-04T03:53:07.511" v="24495" actId="14100"/>
          <ac:spMkLst>
            <pc:docMk/>
            <pc:sldMk cId="4108320519" sldId="376"/>
            <ac:spMk id="63" creationId="{66183DD3-74FF-8313-E8D3-488F3654D1DF}"/>
          </ac:spMkLst>
        </pc:spChg>
        <pc:spChg chg="mod">
          <ac:chgData name="Jesse, Kevin" userId="6f05423f-cf98-4c12-b626-169f8a1317c4" providerId="ADAL" clId="{C12DEDC2-730C-5A22-9CCF-730A792D7847}" dt="2025-09-04T03:52:30.598" v="24473" actId="20577"/>
          <ac:spMkLst>
            <pc:docMk/>
            <pc:sldMk cId="4108320519" sldId="376"/>
            <ac:spMk id="64" creationId="{26697478-8E87-DA79-C4FA-9802CA49453C}"/>
          </ac:spMkLst>
        </pc:spChg>
        <pc:spChg chg="mod">
          <ac:chgData name="Jesse, Kevin" userId="6f05423f-cf98-4c12-b626-169f8a1317c4" providerId="ADAL" clId="{C12DEDC2-730C-5A22-9CCF-730A792D7847}" dt="2025-09-04T03:52:34.210" v="24482" actId="20577"/>
          <ac:spMkLst>
            <pc:docMk/>
            <pc:sldMk cId="4108320519" sldId="376"/>
            <ac:spMk id="65" creationId="{16AB855A-6C3D-8996-74DD-5359FECFF502}"/>
          </ac:spMkLst>
        </pc:spChg>
        <pc:spChg chg="add mod">
          <ac:chgData name="Jesse, Kevin" userId="6f05423f-cf98-4c12-b626-169f8a1317c4" providerId="ADAL" clId="{C12DEDC2-730C-5A22-9CCF-730A792D7847}" dt="2025-09-04T03:52:43.210" v="24490" actId="20577"/>
          <ac:spMkLst>
            <pc:docMk/>
            <pc:sldMk cId="4108320519" sldId="376"/>
            <ac:spMk id="66" creationId="{2F9B6243-FD03-C6C2-4DA4-5D11242F195E}"/>
          </ac:spMkLst>
        </pc:spChg>
        <pc:grpChg chg="mod">
          <ac:chgData name="Jesse, Kevin" userId="6f05423f-cf98-4c12-b626-169f8a1317c4" providerId="ADAL" clId="{C12DEDC2-730C-5A22-9CCF-730A792D7847}" dt="2025-09-04T03:57:58.333" v="25331" actId="1076"/>
          <ac:grpSpMkLst>
            <pc:docMk/>
            <pc:sldMk cId="4108320519" sldId="376"/>
            <ac:grpSpMk id="5" creationId="{A90D0898-2754-66AB-3061-A9B3AA9A23FC}"/>
          </ac:grpSpMkLst>
        </pc:grpChg>
        <pc:grpChg chg="mod">
          <ac:chgData name="Jesse, Kevin" userId="6f05423f-cf98-4c12-b626-169f8a1317c4" providerId="ADAL" clId="{C12DEDC2-730C-5A22-9CCF-730A792D7847}" dt="2025-09-04T03:57:46.213" v="25328" actId="1076"/>
          <ac:grpSpMkLst>
            <pc:docMk/>
            <pc:sldMk cId="4108320519" sldId="376"/>
            <ac:grpSpMk id="8" creationId="{08703D4F-6894-501F-6D13-D5D49FF6DFAC}"/>
          </ac:grpSpMkLst>
        </pc:grpChg>
        <pc:grpChg chg="mod">
          <ac:chgData name="Jesse, Kevin" userId="6f05423f-cf98-4c12-b626-169f8a1317c4" providerId="ADAL" clId="{C12DEDC2-730C-5A22-9CCF-730A792D7847}" dt="2025-09-04T03:57:55.209" v="25330" actId="1076"/>
          <ac:grpSpMkLst>
            <pc:docMk/>
            <pc:sldMk cId="4108320519" sldId="376"/>
            <ac:grpSpMk id="14" creationId="{D109370F-E051-F1AB-303F-D45ECA456972}"/>
          </ac:grpSpMkLst>
        </pc:grpChg>
        <pc:cxnChg chg="mod">
          <ac:chgData name="Jesse, Kevin" userId="6f05423f-cf98-4c12-b626-169f8a1317c4" providerId="ADAL" clId="{C12DEDC2-730C-5A22-9CCF-730A792D7847}" dt="2025-09-04T03:52:30.598" v="24473" actId="20577"/>
          <ac:cxnSpMkLst>
            <pc:docMk/>
            <pc:sldMk cId="4108320519" sldId="376"/>
            <ac:cxnSpMk id="4" creationId="{FF9357A2-2F7E-F1A5-E77B-BDAC1F39047B}"/>
          </ac:cxnSpMkLst>
        </pc:cxnChg>
        <pc:cxnChg chg="mod">
          <ac:chgData name="Jesse, Kevin" userId="6f05423f-cf98-4c12-b626-169f8a1317c4" providerId="ADAL" clId="{C12DEDC2-730C-5A22-9CCF-730A792D7847}" dt="2025-09-04T03:52:30.598" v="24473" actId="20577"/>
          <ac:cxnSpMkLst>
            <pc:docMk/>
            <pc:sldMk cId="4108320519" sldId="376"/>
            <ac:cxnSpMk id="17" creationId="{1C72A783-B2EE-9387-6EED-8538FA87A1E1}"/>
          </ac:cxnSpMkLst>
        </pc:cxnChg>
      </pc:sldChg>
      <pc:sldChg chg="addSp delSp modSp add mod ord">
        <pc:chgData name="Jesse, Kevin" userId="6f05423f-cf98-4c12-b626-169f8a1317c4" providerId="ADAL" clId="{C12DEDC2-730C-5A22-9CCF-730A792D7847}" dt="2025-09-04T04:54:44.453" v="29845" actId="20577"/>
        <pc:sldMkLst>
          <pc:docMk/>
          <pc:sldMk cId="1386294926" sldId="377"/>
        </pc:sldMkLst>
        <pc:spChg chg="mod">
          <ac:chgData name="Jesse, Kevin" userId="6f05423f-cf98-4c12-b626-169f8a1317c4" providerId="ADAL" clId="{C12DEDC2-730C-5A22-9CCF-730A792D7847}" dt="2025-09-04T04:52:21.493" v="29470" actId="313"/>
          <ac:spMkLst>
            <pc:docMk/>
            <pc:sldMk cId="1386294926" sldId="377"/>
            <ac:spMk id="3" creationId="{5715F05D-36BC-FC4E-8DC7-55B3F71F33D7}"/>
          </ac:spMkLst>
        </pc:spChg>
        <pc:spChg chg="mod">
          <ac:chgData name="Jesse, Kevin" userId="6f05423f-cf98-4c12-b626-169f8a1317c4" providerId="ADAL" clId="{C12DEDC2-730C-5A22-9CCF-730A792D7847}" dt="2025-09-04T04:52:26.422" v="29479" actId="20577"/>
          <ac:spMkLst>
            <pc:docMk/>
            <pc:sldMk cId="1386294926" sldId="377"/>
            <ac:spMk id="6" creationId="{A80C13B5-E68A-1FA7-BE04-B0D6BF6D5FA3}"/>
          </ac:spMkLst>
        </pc:spChg>
        <pc:spChg chg="mod">
          <ac:chgData name="Jesse, Kevin" userId="6f05423f-cf98-4c12-b626-169f8a1317c4" providerId="ADAL" clId="{C12DEDC2-730C-5A22-9CCF-730A792D7847}" dt="2025-09-04T04:54:42.131" v="29844" actId="120"/>
          <ac:spMkLst>
            <pc:docMk/>
            <pc:sldMk cId="1386294926" sldId="377"/>
            <ac:spMk id="7" creationId="{E01ABC00-267D-076A-579D-3F5C61603339}"/>
          </ac:spMkLst>
        </pc:spChg>
        <pc:spChg chg="mod">
          <ac:chgData name="Jesse, Kevin" userId="6f05423f-cf98-4c12-b626-169f8a1317c4" providerId="ADAL" clId="{C12DEDC2-730C-5A22-9CCF-730A792D7847}" dt="2025-09-04T04:52:44.377" v="29503" actId="20577"/>
          <ac:spMkLst>
            <pc:docMk/>
            <pc:sldMk cId="1386294926" sldId="377"/>
            <ac:spMk id="9" creationId="{3C5AD59B-9574-C320-60FD-3144BD84174D}"/>
          </ac:spMkLst>
        </pc:spChg>
        <pc:spChg chg="mod">
          <ac:chgData name="Jesse, Kevin" userId="6f05423f-cf98-4c12-b626-169f8a1317c4" providerId="ADAL" clId="{C12DEDC2-730C-5A22-9CCF-730A792D7847}" dt="2025-09-04T04:54:36.881" v="29842" actId="120"/>
          <ac:spMkLst>
            <pc:docMk/>
            <pc:sldMk cId="1386294926" sldId="377"/>
            <ac:spMk id="10" creationId="{76CCAC51-1144-EDEA-976B-B9142C53781A}"/>
          </ac:spMkLst>
        </pc:spChg>
        <pc:spChg chg="mod">
          <ac:chgData name="Jesse, Kevin" userId="6f05423f-cf98-4c12-b626-169f8a1317c4" providerId="ADAL" clId="{C12DEDC2-730C-5A22-9CCF-730A792D7847}" dt="2025-09-04T04:52:36.743" v="29485" actId="20577"/>
          <ac:spMkLst>
            <pc:docMk/>
            <pc:sldMk cId="1386294926" sldId="377"/>
            <ac:spMk id="12" creationId="{E2E743D1-C0D3-DF4C-AF43-F2B45A94F8C9}"/>
          </ac:spMkLst>
        </pc:spChg>
        <pc:spChg chg="mod">
          <ac:chgData name="Jesse, Kevin" userId="6f05423f-cf98-4c12-b626-169f8a1317c4" providerId="ADAL" clId="{C12DEDC2-730C-5A22-9CCF-730A792D7847}" dt="2025-09-04T04:54:44.453" v="29845" actId="20577"/>
          <ac:spMkLst>
            <pc:docMk/>
            <pc:sldMk cId="1386294926" sldId="377"/>
            <ac:spMk id="13" creationId="{8EC679E2-38FC-A93C-8C92-571CC5A58E03}"/>
          </ac:spMkLst>
        </pc:spChg>
        <pc:spChg chg="add mod">
          <ac:chgData name="Jesse, Kevin" userId="6f05423f-cf98-4c12-b626-169f8a1317c4" providerId="ADAL" clId="{C12DEDC2-730C-5A22-9CCF-730A792D7847}" dt="2025-09-04T04:52:18.119" v="29469"/>
          <ac:spMkLst>
            <pc:docMk/>
            <pc:sldMk cId="1386294926" sldId="377"/>
            <ac:spMk id="14" creationId="{B84A7FB5-16CF-4DD1-48E9-8B2D16F2A71E}"/>
          </ac:spMkLst>
        </pc:spChg>
        <pc:spChg chg="add mod">
          <ac:chgData name="Jesse, Kevin" userId="6f05423f-cf98-4c12-b626-169f8a1317c4" providerId="ADAL" clId="{C12DEDC2-730C-5A22-9CCF-730A792D7847}" dt="2025-09-04T04:52:18.119" v="29469"/>
          <ac:spMkLst>
            <pc:docMk/>
            <pc:sldMk cId="1386294926" sldId="377"/>
            <ac:spMk id="15" creationId="{705AECCD-3B9C-D9AF-6AE0-9BB73ADC0A59}"/>
          </ac:spMkLst>
        </pc:spChg>
        <pc:spChg chg="add mod">
          <ac:chgData name="Jesse, Kevin" userId="6f05423f-cf98-4c12-b626-169f8a1317c4" providerId="ADAL" clId="{C12DEDC2-730C-5A22-9CCF-730A792D7847}" dt="2025-09-04T04:52:18.119" v="29469"/>
          <ac:spMkLst>
            <pc:docMk/>
            <pc:sldMk cId="1386294926" sldId="377"/>
            <ac:spMk id="16" creationId="{546D3069-4D57-9444-220B-6BA4CE36F7AB}"/>
          </ac:spMkLst>
        </pc:spChg>
        <pc:spChg chg="mod">
          <ac:chgData name="Jesse, Kevin" userId="6f05423f-cf98-4c12-b626-169f8a1317c4" providerId="ADAL" clId="{C12DEDC2-730C-5A22-9CCF-730A792D7847}" dt="2025-09-04T04:52:50.684" v="29505"/>
          <ac:spMkLst>
            <pc:docMk/>
            <pc:sldMk cId="1386294926" sldId="377"/>
            <ac:spMk id="31" creationId="{15162AC0-7922-46E3-69D4-DC093422569E}"/>
          </ac:spMkLst>
        </pc:spChg>
        <pc:spChg chg="mod">
          <ac:chgData name="Jesse, Kevin" userId="6f05423f-cf98-4c12-b626-169f8a1317c4" providerId="ADAL" clId="{C12DEDC2-730C-5A22-9CCF-730A792D7847}" dt="2025-09-04T04:54:33.247" v="29841" actId="120"/>
          <ac:spMkLst>
            <pc:docMk/>
            <pc:sldMk cId="1386294926" sldId="377"/>
            <ac:spMk id="32" creationId="{B8A27E54-9F9A-A27E-A7A9-C35ACCE2C5AF}"/>
          </ac:spMkLst>
        </pc:spChg>
        <pc:spChg chg="add mod">
          <ac:chgData name="Jesse, Kevin" userId="6f05423f-cf98-4c12-b626-169f8a1317c4" providerId="ADAL" clId="{C12DEDC2-730C-5A22-9CCF-730A792D7847}" dt="2025-09-04T04:53:19.817" v="29512" actId="692"/>
          <ac:spMkLst>
            <pc:docMk/>
            <pc:sldMk cId="1386294926" sldId="377"/>
            <ac:spMk id="33" creationId="{17C650DC-8A9C-E90B-5985-D62B1E11BBFC}"/>
          </ac:spMkLst>
        </pc:spChg>
        <pc:grpChg chg="add mod">
          <ac:chgData name="Jesse, Kevin" userId="6f05423f-cf98-4c12-b626-169f8a1317c4" providerId="ADAL" clId="{C12DEDC2-730C-5A22-9CCF-730A792D7847}" dt="2025-09-04T04:53:06.871" v="29507" actId="1076"/>
          <ac:grpSpMkLst>
            <pc:docMk/>
            <pc:sldMk cId="1386294926" sldId="377"/>
            <ac:grpSpMk id="30" creationId="{BDD58D05-3A29-1C26-C5D0-3C785F2BD78A}"/>
          </ac:grpSpMkLst>
        </pc:grpChg>
        <pc:picChg chg="add mod">
          <ac:chgData name="Jesse, Kevin" userId="6f05423f-cf98-4c12-b626-169f8a1317c4" providerId="ADAL" clId="{C12DEDC2-730C-5A22-9CCF-730A792D7847}" dt="2025-09-04T04:52:18.119" v="29469"/>
          <ac:picMkLst>
            <pc:docMk/>
            <pc:sldMk cId="1386294926" sldId="377"/>
            <ac:picMk id="2" creationId="{6C666D1C-69F4-8336-D68D-CA22715C90DE}"/>
          </ac:picMkLst>
        </pc:picChg>
      </pc:sldChg>
      <pc:sldChg chg="addSp delSp modSp new del mod modClrScheme chgLayout">
        <pc:chgData name="Jesse, Kevin" userId="6f05423f-cf98-4c12-b626-169f8a1317c4" providerId="ADAL" clId="{C12DEDC2-730C-5A22-9CCF-730A792D7847}" dt="2025-09-19T10:43:26.299" v="32110" actId="2696"/>
        <pc:sldMkLst>
          <pc:docMk/>
          <pc:sldMk cId="1451103085" sldId="378"/>
        </pc:sldMkLst>
      </pc:sldChg>
      <pc:sldChg chg="modSp add mod">
        <pc:chgData name="Jesse, Kevin" userId="6f05423f-cf98-4c12-b626-169f8a1317c4" providerId="ADAL" clId="{C12DEDC2-730C-5A22-9CCF-730A792D7847}" dt="2025-09-16T17:39:21.322" v="30937" actId="1076"/>
        <pc:sldMkLst>
          <pc:docMk/>
          <pc:sldMk cId="200350848" sldId="399"/>
        </pc:sldMkLst>
        <pc:spChg chg="mod">
          <ac:chgData name="Jesse, Kevin" userId="6f05423f-cf98-4c12-b626-169f8a1317c4" providerId="ADAL" clId="{C12DEDC2-730C-5A22-9CCF-730A792D7847}" dt="2025-09-16T17:39:15.459" v="30935" actId="1076"/>
          <ac:spMkLst>
            <pc:docMk/>
            <pc:sldMk cId="200350848" sldId="399"/>
            <ac:spMk id="39" creationId="{B1478CC6-20D9-C601-884C-F574D0C8EA62}"/>
          </ac:spMkLst>
        </pc:spChg>
        <pc:picChg chg="mod">
          <ac:chgData name="Jesse, Kevin" userId="6f05423f-cf98-4c12-b626-169f8a1317c4" providerId="ADAL" clId="{C12DEDC2-730C-5A22-9CCF-730A792D7847}" dt="2025-09-16T17:39:21.322" v="30937" actId="1076"/>
          <ac:picMkLst>
            <pc:docMk/>
            <pc:sldMk cId="200350848" sldId="399"/>
            <ac:picMk id="38" creationId="{E5103AF0-C3E8-7DB0-1D3C-B4246B1C492D}"/>
          </ac:picMkLst>
        </pc:picChg>
      </pc:sldChg>
      <pc:sldChg chg="modSp add mod ord">
        <pc:chgData name="Jesse, Kevin" userId="6f05423f-cf98-4c12-b626-169f8a1317c4" providerId="ADAL" clId="{C12DEDC2-730C-5A22-9CCF-730A792D7847}" dt="2025-09-16T17:41:36.328" v="30939" actId="20578"/>
        <pc:sldMkLst>
          <pc:docMk/>
          <pc:sldMk cId="1745302955" sldId="2147483634"/>
        </pc:sldMkLst>
        <pc:spChg chg="mod">
          <ac:chgData name="Jesse, Kevin" userId="6f05423f-cf98-4c12-b626-169f8a1317c4" providerId="ADAL" clId="{C12DEDC2-730C-5A22-9CCF-730A792D7847}" dt="2025-09-08T20:25:20.914" v="30860" actId="20577"/>
          <ac:spMkLst>
            <pc:docMk/>
            <pc:sldMk cId="1745302955" sldId="2147483634"/>
            <ac:spMk id="37" creationId="{791C013C-B1D4-6688-0697-9B70B1A0714A}"/>
          </ac:spMkLst>
        </pc:spChg>
      </pc:sldChg>
      <pc:sldChg chg="add del">
        <pc:chgData name="Jesse, Kevin" userId="6f05423f-cf98-4c12-b626-169f8a1317c4" providerId="ADAL" clId="{C12DEDC2-730C-5A22-9CCF-730A792D7847}" dt="2025-09-08T20:23:38.986" v="30812" actId="2696"/>
        <pc:sldMkLst>
          <pc:docMk/>
          <pc:sldMk cId="3186540524" sldId="2147483634"/>
        </pc:sldMkLst>
      </pc:sldChg>
      <pc:sldChg chg="add">
        <pc:chgData name="Jesse, Kevin" userId="6f05423f-cf98-4c12-b626-169f8a1317c4" providerId="ADAL" clId="{C12DEDC2-730C-5A22-9CCF-730A792D7847}" dt="2025-09-08T20:23:36.135" v="30811"/>
        <pc:sldMkLst>
          <pc:docMk/>
          <pc:sldMk cId="1415150972" sldId="2147483644"/>
        </pc:sldMkLst>
      </pc:sldChg>
      <pc:sldChg chg="add del">
        <pc:chgData name="Jesse, Kevin" userId="6f05423f-cf98-4c12-b626-169f8a1317c4" providerId="ADAL" clId="{C12DEDC2-730C-5A22-9CCF-730A792D7847}" dt="2025-09-15T12:52:27.237" v="30903" actId="2696"/>
        <pc:sldMkLst>
          <pc:docMk/>
          <pc:sldMk cId="2828320543" sldId="2147483647"/>
        </pc:sldMkLst>
      </pc:sldChg>
      <pc:sldChg chg="add">
        <pc:chgData name="Jesse, Kevin" userId="6f05423f-cf98-4c12-b626-169f8a1317c4" providerId="ADAL" clId="{C12DEDC2-730C-5A22-9CCF-730A792D7847}" dt="2025-09-15T12:52:30.119" v="30904"/>
        <pc:sldMkLst>
          <pc:docMk/>
          <pc:sldMk cId="3465705721" sldId="2147483647"/>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sz="3600" dirty="0">
                <a:solidFill>
                  <a:schemeClr val="tx1"/>
                </a:solidFill>
              </a:rPr>
              <a:t>Pillars</a:t>
            </a:r>
            <a:r>
              <a:rPr lang="en-US" sz="3600" baseline="0" dirty="0">
                <a:solidFill>
                  <a:schemeClr val="tx1"/>
                </a:solidFill>
              </a:rPr>
              <a:t> of Agentic AI</a:t>
            </a:r>
            <a:endParaRPr lang="en-US" sz="3600" dirty="0">
              <a:solidFill>
                <a:schemeClr val="tx1"/>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pieChart>
        <c:varyColors val="1"/>
        <c:ser>
          <c:idx val="0"/>
          <c:order val="0"/>
          <c:tx>
            <c:strRef>
              <c:f>Sheet1!$B$1</c:f>
              <c:strCache>
                <c:ptCount val="1"/>
                <c:pt idx="0">
                  <c:v>Sales</c:v>
                </c:pt>
              </c:strCache>
            </c:strRef>
          </c:tx>
          <c:dPt>
            <c:idx val="0"/>
            <c:bubble3D val="0"/>
            <c:explosion val="19"/>
            <c:spPr>
              <a:solidFill>
                <a:schemeClr val="accent1"/>
              </a:solidFill>
              <a:ln w="19050">
                <a:solidFill>
                  <a:schemeClr val="lt1"/>
                </a:solidFill>
              </a:ln>
              <a:effectLst/>
            </c:spPr>
            <c:extLst>
              <c:ext xmlns:c16="http://schemas.microsoft.com/office/drawing/2014/chart" uri="{C3380CC4-5D6E-409C-BE32-E72D297353CC}">
                <c16:uniqueId val="{00000003-A7A4-AB4D-AB7D-70AC7529C27E}"/>
              </c:ext>
            </c:extLst>
          </c:dPt>
          <c:dPt>
            <c:idx val="1"/>
            <c:bubble3D val="0"/>
            <c:spPr>
              <a:solidFill>
                <a:schemeClr val="tx2">
                  <a:alpha val="54117"/>
                </a:schemeClr>
              </a:solidFill>
              <a:ln w="19050">
                <a:solidFill>
                  <a:schemeClr val="lt1"/>
                </a:solidFill>
              </a:ln>
              <a:effectLst/>
            </c:spPr>
            <c:extLst>
              <c:ext xmlns:c16="http://schemas.microsoft.com/office/drawing/2014/chart" uri="{C3380CC4-5D6E-409C-BE32-E72D297353CC}">
                <c16:uniqueId val="{00000001-A7A4-AB4D-AB7D-70AC7529C27E}"/>
              </c:ext>
            </c:extLst>
          </c:dPt>
          <c:dPt>
            <c:idx val="2"/>
            <c:bubble3D val="0"/>
            <c:spPr>
              <a:solidFill>
                <a:schemeClr val="accent3">
                  <a:lumMod val="75000"/>
                  <a:alpha val="38656"/>
                </a:schemeClr>
              </a:solidFill>
              <a:ln w="19050">
                <a:solidFill>
                  <a:schemeClr val="lt1"/>
                </a:solidFill>
              </a:ln>
              <a:effectLst/>
            </c:spPr>
            <c:extLst>
              <c:ext xmlns:c16="http://schemas.microsoft.com/office/drawing/2014/chart" uri="{C3380CC4-5D6E-409C-BE32-E72D297353CC}">
                <c16:uniqueId val="{00000002-A7A4-AB4D-AB7D-70AC7529C27E}"/>
              </c:ext>
            </c:extLst>
          </c:dPt>
          <c:dLbls>
            <c:dLbl>
              <c:idx val="0"/>
              <c:layout>
                <c:manualLayout>
                  <c:x val="-0.13835925196850393"/>
                  <c:y val="0.1156780809745275"/>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7A4-AB4D-AB7D-70AC7529C27E}"/>
                </c:ext>
              </c:extLst>
            </c:dLbl>
            <c:dLbl>
              <c:idx val="1"/>
              <c:layout>
                <c:manualLayout>
                  <c:x val="-7.8180364173222614E-4"/>
                  <c:y val="-0.17295434467554474"/>
                </c:manualLayout>
              </c:layout>
              <c:tx>
                <c:rich>
                  <a:bodyPr/>
                  <a:lstStyle/>
                  <a:p>
                    <a:r>
                      <a:rPr lang="en-US" dirty="0"/>
                      <a:t>Memory</a:t>
                    </a:r>
                  </a:p>
                </c:rich>
              </c:tx>
              <c:showLegendKey val="0"/>
              <c:showVal val="0"/>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7A4-AB4D-AB7D-70AC7529C27E}"/>
                </c:ext>
              </c:extLst>
            </c:dLbl>
            <c:dLbl>
              <c:idx val="2"/>
              <c:layout>
                <c:manualLayout>
                  <c:x val="0.18888459645669292"/>
                  <c:y val="0.11977964322221683"/>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7A4-AB4D-AB7D-70AC7529C27E}"/>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3"/>
                <c:pt idx="0">
                  <c:v>Tools</c:v>
                </c:pt>
                <c:pt idx="1">
                  <c:v>Action</c:v>
                </c:pt>
                <c:pt idx="2">
                  <c:v>Reasoning</c:v>
                </c:pt>
              </c:strCache>
            </c:strRef>
          </c:cat>
          <c:val>
            <c:numRef>
              <c:f>Sheet1!$B$2:$B$4</c:f>
              <c:numCache>
                <c:formatCode>General</c:formatCode>
                <c:ptCount val="3"/>
                <c:pt idx="0">
                  <c:v>33.333329999999997</c:v>
                </c:pt>
                <c:pt idx="1">
                  <c:v>33.333329999999997</c:v>
                </c:pt>
                <c:pt idx="2">
                  <c:v>33.333329999999997</c:v>
                </c:pt>
              </c:numCache>
            </c:numRef>
          </c:val>
          <c:extLst>
            <c:ext xmlns:c16="http://schemas.microsoft.com/office/drawing/2014/chart" uri="{C3380CC4-5D6E-409C-BE32-E72D297353CC}">
              <c16:uniqueId val="{00000000-F059-774E-B5AD-095DD452B30D}"/>
            </c:ext>
          </c:extLst>
        </c:ser>
        <c:dLbls>
          <c:showLegendKey val="0"/>
          <c:showVal val="0"/>
          <c:showCatName val="1"/>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sz="3600" dirty="0">
                <a:solidFill>
                  <a:schemeClr val="tx1"/>
                </a:solidFill>
              </a:rPr>
              <a:t>Pillars</a:t>
            </a:r>
            <a:r>
              <a:rPr lang="en-US" sz="3600" baseline="0" dirty="0">
                <a:solidFill>
                  <a:schemeClr val="tx1"/>
                </a:solidFill>
              </a:rPr>
              <a:t> of Agentic AI</a:t>
            </a:r>
            <a:endParaRPr lang="en-US" sz="3600" dirty="0">
              <a:solidFill>
                <a:schemeClr val="tx1"/>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A65-134A-A4C2-93B7A06AB4FC}"/>
              </c:ext>
            </c:extLst>
          </c:dPt>
          <c:dPt>
            <c:idx val="1"/>
            <c:bubble3D val="0"/>
            <c:spPr>
              <a:solidFill>
                <a:schemeClr val="tx2">
                  <a:alpha val="54117"/>
                </a:schemeClr>
              </a:solidFill>
              <a:ln w="19050">
                <a:solidFill>
                  <a:schemeClr val="lt1"/>
                </a:solidFill>
              </a:ln>
              <a:effectLst/>
            </c:spPr>
            <c:extLst>
              <c:ext xmlns:c16="http://schemas.microsoft.com/office/drawing/2014/chart" uri="{C3380CC4-5D6E-409C-BE32-E72D297353CC}">
                <c16:uniqueId val="{00000003-8A65-134A-A4C2-93B7A06AB4FC}"/>
              </c:ext>
            </c:extLst>
          </c:dPt>
          <c:dPt>
            <c:idx val="2"/>
            <c:bubble3D val="0"/>
            <c:spPr>
              <a:solidFill>
                <a:schemeClr val="accent3">
                  <a:lumMod val="75000"/>
                  <a:alpha val="38656"/>
                </a:schemeClr>
              </a:solidFill>
              <a:ln w="19050">
                <a:solidFill>
                  <a:schemeClr val="lt1"/>
                </a:solidFill>
              </a:ln>
              <a:effectLst/>
            </c:spPr>
            <c:extLst>
              <c:ext xmlns:c16="http://schemas.microsoft.com/office/drawing/2014/chart" uri="{C3380CC4-5D6E-409C-BE32-E72D297353CC}">
                <c16:uniqueId val="{00000005-8A65-134A-A4C2-93B7A06AB4FC}"/>
              </c:ext>
            </c:extLst>
          </c:dPt>
          <c:dLbls>
            <c:dLbl>
              <c:idx val="0"/>
              <c:layout>
                <c:manualLayout>
                  <c:x val="-0.13835925196850393"/>
                  <c:y val="0.1156780809745275"/>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A65-134A-A4C2-93B7A06AB4FC}"/>
                </c:ext>
              </c:extLst>
            </c:dLbl>
            <c:dLbl>
              <c:idx val="1"/>
              <c:layout>
                <c:manualLayout>
                  <c:x val="-7.8180364173222614E-4"/>
                  <c:y val="-0.17295434467554474"/>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A65-134A-A4C2-93B7A06AB4FC}"/>
                </c:ext>
              </c:extLst>
            </c:dLbl>
            <c:dLbl>
              <c:idx val="2"/>
              <c:layout>
                <c:manualLayout>
                  <c:x val="0.18888459645669292"/>
                  <c:y val="0.11977964322221683"/>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A65-134A-A4C2-93B7A06AB4FC}"/>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3"/>
                <c:pt idx="0">
                  <c:v>Tools</c:v>
                </c:pt>
                <c:pt idx="1">
                  <c:v>Action</c:v>
                </c:pt>
                <c:pt idx="2">
                  <c:v>Reasoning</c:v>
                </c:pt>
              </c:strCache>
            </c:strRef>
          </c:cat>
          <c:val>
            <c:numRef>
              <c:f>Sheet1!$B$2:$B$4</c:f>
              <c:numCache>
                <c:formatCode>General</c:formatCode>
                <c:ptCount val="3"/>
                <c:pt idx="0">
                  <c:v>33.333329999999997</c:v>
                </c:pt>
                <c:pt idx="1">
                  <c:v>33.333329999999997</c:v>
                </c:pt>
                <c:pt idx="2">
                  <c:v>33.333329999999997</c:v>
                </c:pt>
              </c:numCache>
            </c:numRef>
          </c:val>
          <c:extLst>
            <c:ext xmlns:c16="http://schemas.microsoft.com/office/drawing/2014/chart" uri="{C3380CC4-5D6E-409C-BE32-E72D297353CC}">
              <c16:uniqueId val="{00000006-8A65-134A-A4C2-93B7A06AB4FC}"/>
            </c:ext>
          </c:extLst>
        </c:ser>
        <c:dLbls>
          <c:showLegendKey val="0"/>
          <c:showVal val="0"/>
          <c:showCatName val="1"/>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sz="3600" dirty="0">
                <a:solidFill>
                  <a:schemeClr val="tx1"/>
                </a:solidFill>
              </a:rPr>
              <a:t>Pillars</a:t>
            </a:r>
            <a:r>
              <a:rPr lang="en-US" sz="3600" baseline="0" dirty="0">
                <a:solidFill>
                  <a:schemeClr val="tx1"/>
                </a:solidFill>
              </a:rPr>
              <a:t> of Agentic AI</a:t>
            </a:r>
            <a:endParaRPr lang="en-US" sz="3600" dirty="0">
              <a:solidFill>
                <a:schemeClr val="tx1"/>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3-A7A4-AB4D-AB7D-70AC7529C27E}"/>
              </c:ext>
            </c:extLst>
          </c:dPt>
          <c:dPt>
            <c:idx val="1"/>
            <c:bubble3D val="0"/>
            <c:spPr>
              <a:solidFill>
                <a:schemeClr val="tx2">
                  <a:alpha val="54117"/>
                </a:schemeClr>
              </a:solidFill>
              <a:ln w="19050">
                <a:solidFill>
                  <a:schemeClr val="lt1"/>
                </a:solidFill>
              </a:ln>
              <a:effectLst/>
            </c:spPr>
            <c:extLst>
              <c:ext xmlns:c16="http://schemas.microsoft.com/office/drawing/2014/chart" uri="{C3380CC4-5D6E-409C-BE32-E72D297353CC}">
                <c16:uniqueId val="{00000001-A7A4-AB4D-AB7D-70AC7529C27E}"/>
              </c:ext>
            </c:extLst>
          </c:dPt>
          <c:dPt>
            <c:idx val="2"/>
            <c:bubble3D val="0"/>
            <c:explosion val="17"/>
            <c:spPr>
              <a:solidFill>
                <a:schemeClr val="accent3">
                  <a:lumMod val="75000"/>
                  <a:alpha val="38656"/>
                </a:schemeClr>
              </a:solidFill>
              <a:ln w="19050">
                <a:solidFill>
                  <a:schemeClr val="lt1"/>
                </a:solidFill>
              </a:ln>
              <a:effectLst/>
            </c:spPr>
            <c:extLst>
              <c:ext xmlns:c16="http://schemas.microsoft.com/office/drawing/2014/chart" uri="{C3380CC4-5D6E-409C-BE32-E72D297353CC}">
                <c16:uniqueId val="{00000002-A7A4-AB4D-AB7D-70AC7529C27E}"/>
              </c:ext>
            </c:extLst>
          </c:dPt>
          <c:dLbls>
            <c:dLbl>
              <c:idx val="0"/>
              <c:layout>
                <c:manualLayout>
                  <c:x val="-0.13835925196850393"/>
                  <c:y val="0.1156780809745275"/>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7A4-AB4D-AB7D-70AC7529C27E}"/>
                </c:ext>
              </c:extLst>
            </c:dLbl>
            <c:dLbl>
              <c:idx val="1"/>
              <c:layout>
                <c:manualLayout>
                  <c:x val="-7.8180364173222614E-4"/>
                  <c:y val="-0.17295434467554474"/>
                </c:manualLayout>
              </c:layout>
              <c:tx>
                <c:rich>
                  <a:bodyPr/>
                  <a:lstStyle/>
                  <a:p>
                    <a:r>
                      <a:rPr lang="en-US" dirty="0"/>
                      <a:t>Memory</a:t>
                    </a:r>
                  </a:p>
                </c:rich>
              </c:tx>
              <c:showLegendKey val="0"/>
              <c:showVal val="0"/>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7A4-AB4D-AB7D-70AC7529C27E}"/>
                </c:ext>
              </c:extLst>
            </c:dLbl>
            <c:dLbl>
              <c:idx val="2"/>
              <c:layout>
                <c:manualLayout>
                  <c:x val="0.18888459645669292"/>
                  <c:y val="0.11977964322221683"/>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7A4-AB4D-AB7D-70AC7529C27E}"/>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3"/>
                <c:pt idx="0">
                  <c:v>Tools</c:v>
                </c:pt>
                <c:pt idx="1">
                  <c:v>Action</c:v>
                </c:pt>
                <c:pt idx="2">
                  <c:v>Reasoning</c:v>
                </c:pt>
              </c:strCache>
            </c:strRef>
          </c:cat>
          <c:val>
            <c:numRef>
              <c:f>Sheet1!$B$2:$B$4</c:f>
              <c:numCache>
                <c:formatCode>General</c:formatCode>
                <c:ptCount val="3"/>
                <c:pt idx="0">
                  <c:v>33.333329999999997</c:v>
                </c:pt>
                <c:pt idx="1">
                  <c:v>33.333329999999997</c:v>
                </c:pt>
                <c:pt idx="2">
                  <c:v>33.333329999999997</c:v>
                </c:pt>
              </c:numCache>
            </c:numRef>
          </c:val>
          <c:extLst>
            <c:ext xmlns:c16="http://schemas.microsoft.com/office/drawing/2014/chart" uri="{C3380CC4-5D6E-409C-BE32-E72D297353CC}">
              <c16:uniqueId val="{00000000-F059-774E-B5AD-095DD452B30D}"/>
            </c:ext>
          </c:extLst>
        </c:ser>
        <c:dLbls>
          <c:showLegendKey val="0"/>
          <c:showVal val="0"/>
          <c:showCatName val="1"/>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sz="3600" dirty="0">
                <a:solidFill>
                  <a:schemeClr val="tx1"/>
                </a:solidFill>
              </a:rPr>
              <a:t>Pillars</a:t>
            </a:r>
            <a:r>
              <a:rPr lang="en-US" sz="3600" baseline="0" dirty="0">
                <a:solidFill>
                  <a:schemeClr val="tx1"/>
                </a:solidFill>
              </a:rPr>
              <a:t> of Agentic AI</a:t>
            </a:r>
            <a:endParaRPr lang="en-US" sz="3600" dirty="0">
              <a:solidFill>
                <a:schemeClr val="tx1"/>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A65-134A-A4C2-93B7A06AB4FC}"/>
              </c:ext>
            </c:extLst>
          </c:dPt>
          <c:dPt>
            <c:idx val="1"/>
            <c:bubble3D val="0"/>
            <c:spPr>
              <a:solidFill>
                <a:schemeClr val="tx2">
                  <a:alpha val="54117"/>
                </a:schemeClr>
              </a:solidFill>
              <a:ln w="19050">
                <a:solidFill>
                  <a:schemeClr val="lt1"/>
                </a:solidFill>
              </a:ln>
              <a:effectLst/>
            </c:spPr>
            <c:extLst>
              <c:ext xmlns:c16="http://schemas.microsoft.com/office/drawing/2014/chart" uri="{C3380CC4-5D6E-409C-BE32-E72D297353CC}">
                <c16:uniqueId val="{00000003-8A65-134A-A4C2-93B7A06AB4FC}"/>
              </c:ext>
            </c:extLst>
          </c:dPt>
          <c:dPt>
            <c:idx val="2"/>
            <c:bubble3D val="0"/>
            <c:spPr>
              <a:solidFill>
                <a:schemeClr val="accent3">
                  <a:lumMod val="75000"/>
                  <a:alpha val="38656"/>
                </a:schemeClr>
              </a:solidFill>
              <a:ln w="19050">
                <a:solidFill>
                  <a:schemeClr val="lt1"/>
                </a:solidFill>
              </a:ln>
              <a:effectLst/>
            </c:spPr>
            <c:extLst>
              <c:ext xmlns:c16="http://schemas.microsoft.com/office/drawing/2014/chart" uri="{C3380CC4-5D6E-409C-BE32-E72D297353CC}">
                <c16:uniqueId val="{00000005-8A65-134A-A4C2-93B7A06AB4FC}"/>
              </c:ext>
            </c:extLst>
          </c:dPt>
          <c:dLbls>
            <c:dLbl>
              <c:idx val="0"/>
              <c:layout>
                <c:manualLayout>
                  <c:x val="-0.13835925196850393"/>
                  <c:y val="0.1156780809745275"/>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A65-134A-A4C2-93B7A06AB4FC}"/>
                </c:ext>
              </c:extLst>
            </c:dLbl>
            <c:dLbl>
              <c:idx val="1"/>
              <c:layout>
                <c:manualLayout>
                  <c:x val="-7.8180364173222614E-4"/>
                  <c:y val="-0.17295434467554474"/>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A65-134A-A4C2-93B7A06AB4FC}"/>
                </c:ext>
              </c:extLst>
            </c:dLbl>
            <c:dLbl>
              <c:idx val="2"/>
              <c:layout>
                <c:manualLayout>
                  <c:x val="0.18888459645669292"/>
                  <c:y val="0.11977964322221683"/>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A65-134A-A4C2-93B7A06AB4FC}"/>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3"/>
                <c:pt idx="0">
                  <c:v>Tools</c:v>
                </c:pt>
                <c:pt idx="1">
                  <c:v>Action</c:v>
                </c:pt>
                <c:pt idx="2">
                  <c:v>Reasoning</c:v>
                </c:pt>
              </c:strCache>
            </c:strRef>
          </c:cat>
          <c:val>
            <c:numRef>
              <c:f>Sheet1!$B$2:$B$4</c:f>
              <c:numCache>
                <c:formatCode>General</c:formatCode>
                <c:ptCount val="3"/>
                <c:pt idx="0">
                  <c:v>33.333329999999997</c:v>
                </c:pt>
                <c:pt idx="1">
                  <c:v>33.333329999999997</c:v>
                </c:pt>
                <c:pt idx="2">
                  <c:v>33.333329999999997</c:v>
                </c:pt>
              </c:numCache>
            </c:numRef>
          </c:val>
          <c:extLst>
            <c:ext xmlns:c16="http://schemas.microsoft.com/office/drawing/2014/chart" uri="{C3380CC4-5D6E-409C-BE32-E72D297353CC}">
              <c16:uniqueId val="{00000006-8A65-134A-A4C2-93B7A06AB4FC}"/>
            </c:ext>
          </c:extLst>
        </c:ser>
        <c:dLbls>
          <c:showLegendKey val="0"/>
          <c:showVal val="0"/>
          <c:showCatName val="1"/>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56_EE8CBDCB.xml><?xml version="1.0" encoding="utf-8"?>
<p188:cmLst xmlns:a="http://schemas.openxmlformats.org/drawingml/2006/main" xmlns:r="http://schemas.openxmlformats.org/officeDocument/2006/relationships" xmlns:p188="http://schemas.microsoft.com/office/powerpoint/2018/8/main">
  <p188:cm id="{FC97051D-A438-324C-83B1-20ABAEF816F7}" authorId="{4CDD18CB-7263-D83D-3C03-6D38F0EEC10B}" created="2025-08-14T18:19:27.003">
    <pc:sldMkLst xmlns:pc="http://schemas.microsoft.com/office/powerpoint/2013/main/command">
      <pc:docMk/>
      <pc:sldMk cId="3125970053" sldId="290"/>
    </pc:sldMkLst>
    <p188:txBody>
      <a:bodyPr/>
      <a:lstStyle/>
      <a:p>
        <a:r>
          <a:rPr lang="en-US"/>
          <a:t>align with day 2 sched
</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F0D4B0-461A-794C-928B-50EE356BB927}" type="datetimeFigureOut">
              <a:rPr lang="en-US" smtClean="0"/>
              <a:t>9/19/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D6543F-ADFF-324A-892A-7690E08EF8B4}" type="slidenum">
              <a:rPr lang="en-US" smtClean="0"/>
              <a:t>‹#›</a:t>
            </a:fld>
            <a:endParaRPr lang="en-US"/>
          </a:p>
        </p:txBody>
      </p:sp>
    </p:spTree>
    <p:extLst>
      <p:ext uri="{BB962C8B-B14F-4D97-AF65-F5344CB8AC3E}">
        <p14:creationId xmlns:p14="http://schemas.microsoft.com/office/powerpoint/2010/main" val="38835749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E75069-5E84-3C9D-640C-858434E000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217ABE-2B6F-F70D-2C0E-DDDEFBA5E661}"/>
              </a:ext>
            </a:extLst>
          </p:cNvPr>
          <p:cNvSpPr>
            <a:spLocks noGrp="1" noRot="1" noChangeAspect="1"/>
          </p:cNvSpPr>
          <p:nvPr>
            <p:ph type="sldImg"/>
          </p:nvPr>
        </p:nvSpPr>
        <p:spPr>
          <a:xfrm>
            <a:off x="762000" y="647700"/>
            <a:ext cx="5627688" cy="3167063"/>
          </a:xfrm>
        </p:spPr>
      </p:sp>
      <p:sp>
        <p:nvSpPr>
          <p:cNvPr id="3" name="Notes Placeholder 2">
            <a:extLst>
              <a:ext uri="{FF2B5EF4-FFF2-40B4-BE49-F238E27FC236}">
                <a16:creationId xmlns:a16="http://schemas.microsoft.com/office/drawing/2014/main" id="{2BB71247-FCA6-2771-3F9D-6BF6BD9966B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5CDBEA0-26FF-0AB6-2AC2-6BFCBC57C6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730616-56B8-4CC7-B197-4FF2A42EF7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974393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43ABEC-F24D-7EEE-7B5E-73958C9A12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B58777-4A53-5613-FD99-C67FA100AF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EE4D9A-56DC-FD6F-8C82-A52250B7DB97}"/>
              </a:ext>
            </a:extLst>
          </p:cNvPr>
          <p:cNvSpPr>
            <a:spLocks noGrp="1"/>
          </p:cNvSpPr>
          <p:nvPr>
            <p:ph type="body" idx="1"/>
          </p:nvPr>
        </p:nvSpPr>
        <p:spPr/>
        <p:txBody>
          <a:bodyPr/>
          <a:lstStyle/>
          <a:p>
            <a:r>
              <a:rPr lang="en-US" dirty="0"/>
              <a:t>Example of a hammer being used as a paperweight or a doorstop; agent can only see a hammer for hammering nails and swinging it in the exact defined way.</a:t>
            </a:r>
          </a:p>
        </p:txBody>
      </p:sp>
      <p:sp>
        <p:nvSpPr>
          <p:cNvPr id="4" name="Slide Number Placeholder 3">
            <a:extLst>
              <a:ext uri="{FF2B5EF4-FFF2-40B4-BE49-F238E27FC236}">
                <a16:creationId xmlns:a16="http://schemas.microsoft.com/office/drawing/2014/main" id="{8DA8B791-C1A9-1919-04D8-65E1DD97D7E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93551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293226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183017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5A549-CD78-8FA7-6B0D-ED73DDEB18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32A878-6406-6437-147F-936E477BCA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B0DB14-83FE-8333-74FB-36D6F1A41F2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6A0B4D1-E16E-A768-D8C6-C24066F9E81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225178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ent's thought process:</a:t>
            </a:r>
          </a:p>
          <a:p>
            <a:r>
              <a:rPr lang="en-US" dirty="0"/>
              <a:t>  The User's goal is to check the balance for account ACC12345. (2)</a:t>
            </a:r>
          </a:p>
          <a:p>
            <a:r>
              <a:rPr lang="en-US" dirty="0"/>
              <a:t>  The User has provided the account number ACC12345. (3) The best</a:t>
            </a:r>
          </a:p>
          <a:p>
            <a:r>
              <a:rPr lang="en-US" dirty="0"/>
              <a:t>  action plan is to use the</a:t>
            </a:r>
          </a:p>
          <a:p>
            <a:r>
              <a:rPr lang="en-US" dirty="0"/>
              <a:t>  `POST__</a:t>
            </a:r>
            <a:r>
              <a:rPr lang="en-US" dirty="0" err="1"/>
              <a:t>CitizenBankAPIServices</a:t>
            </a:r>
            <a:r>
              <a:rPr lang="en-US" dirty="0"/>
              <a:t>__</a:t>
            </a:r>
            <a:r>
              <a:rPr lang="en-US" dirty="0" err="1"/>
              <a:t>getAccountBalance</a:t>
            </a:r>
            <a:r>
              <a:rPr lang="en-US" dirty="0"/>
              <a:t>` tool to retrieve</a:t>
            </a:r>
          </a:p>
          <a:p>
            <a:r>
              <a:rPr lang="en-US" dirty="0"/>
              <a:t>  the balance for the provided account number. (4) The next step is to</a:t>
            </a:r>
          </a:p>
          <a:p>
            <a:r>
              <a:rPr lang="en-US" dirty="0"/>
              <a:t>  call the `POST__</a:t>
            </a:r>
            <a:r>
              <a:rPr lang="en-US" dirty="0" err="1"/>
              <a:t>CitizenBankAPIServices</a:t>
            </a:r>
            <a:r>
              <a:rPr lang="en-US" dirty="0"/>
              <a:t>__</a:t>
            </a:r>
            <a:r>
              <a:rPr lang="en-US" dirty="0" err="1"/>
              <a:t>getAccountBalance</a:t>
            </a:r>
            <a:r>
              <a:rPr lang="en-US" dirty="0"/>
              <a:t>` tool with</a:t>
            </a:r>
          </a:p>
          <a:p>
            <a:r>
              <a:rPr lang="en-US" dirty="0"/>
              <a:t>  the provided account number. (5) The available action is</a:t>
            </a:r>
          </a:p>
          <a:p>
            <a:r>
              <a:rPr lang="en-US" dirty="0"/>
              <a:t>  `POST__</a:t>
            </a:r>
            <a:r>
              <a:rPr lang="en-US" dirty="0" err="1"/>
              <a:t>CitizenBankAPIServices</a:t>
            </a:r>
            <a:r>
              <a:rPr lang="en-US" dirty="0"/>
              <a:t>__</a:t>
            </a:r>
            <a:r>
              <a:rPr lang="en-US" dirty="0" err="1"/>
              <a:t>getAccountBalance</a:t>
            </a:r>
            <a:r>
              <a:rPr lang="en-US" dirty="0"/>
              <a:t>`. (6) This action</a:t>
            </a:r>
          </a:p>
          <a:p>
            <a:r>
              <a:rPr lang="en-US" dirty="0"/>
              <a:t>  requires the `</a:t>
            </a:r>
            <a:r>
              <a:rPr lang="en-US" dirty="0" err="1"/>
              <a:t>userAccountId</a:t>
            </a:r>
            <a:r>
              <a:rPr lang="en-US" dirty="0"/>
              <a:t>` parameter, which is already provided by</a:t>
            </a:r>
          </a:p>
          <a:p>
            <a:r>
              <a:rPr lang="en-US" dirty="0"/>
              <a:t>  the User. (7) I have everything I need to proceed.</a:t>
            </a:r>
          </a:p>
          <a:p>
            <a:endParaRPr lang="en-US" dirty="0"/>
          </a:p>
          <a:p>
            <a:r>
              <a:rPr lang="en-US" dirty="0"/>
              <a:t>Invocation Input:</a:t>
            </a:r>
          </a:p>
          <a:p>
            <a:r>
              <a:rPr lang="en-US" dirty="0"/>
              <a:t>  Type: ACTION_GROUP</a:t>
            </a:r>
          </a:p>
          <a:p>
            <a:r>
              <a:rPr lang="en-US" dirty="0"/>
              <a:t>  Action Group: </a:t>
            </a:r>
            <a:r>
              <a:rPr lang="en-US" dirty="0" err="1"/>
              <a:t>CitizenBankAPIServices</a:t>
            </a:r>
            <a:endParaRPr lang="en-US" dirty="0"/>
          </a:p>
          <a:p>
            <a:r>
              <a:rPr lang="en-US" dirty="0"/>
              <a:t>  Function: N/A</a:t>
            </a:r>
          </a:p>
          <a:p>
            <a:r>
              <a:rPr lang="en-US" dirty="0"/>
              <a:t>  Parameters: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463943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35</a:t>
            </a:fld>
            <a:endParaRPr lang="en-US"/>
          </a:p>
        </p:txBody>
      </p:sp>
    </p:spTree>
    <p:extLst>
      <p:ext uri="{BB962C8B-B14F-4D97-AF65-F5344CB8AC3E}">
        <p14:creationId xmlns:p14="http://schemas.microsoft.com/office/powerpoint/2010/main" val="9772818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6CAAC6-B8C6-C167-59DE-BC64DAEF7F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684FCE-902B-5436-023C-CD78CCCD38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5C7BFD-B20A-1785-FABB-60919C69B5D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B517A62-1563-C5B1-4C3B-38DE0A863D62}"/>
              </a:ext>
            </a:extLst>
          </p:cNvPr>
          <p:cNvSpPr>
            <a:spLocks noGrp="1"/>
          </p:cNvSpPr>
          <p:nvPr>
            <p:ph type="sldNum" sz="quarter" idx="5"/>
          </p:nvPr>
        </p:nvSpPr>
        <p:spPr/>
        <p:txBody>
          <a:bodyPr/>
          <a:lstStyle/>
          <a:p>
            <a:fld id="{20D6543F-ADFF-324A-892A-7690E08EF8B4}" type="slidenum">
              <a:rPr lang="en-US" smtClean="0"/>
              <a:t>36</a:t>
            </a:fld>
            <a:endParaRPr lang="en-US"/>
          </a:p>
        </p:txBody>
      </p:sp>
    </p:spTree>
    <p:extLst>
      <p:ext uri="{BB962C8B-B14F-4D97-AF65-F5344CB8AC3E}">
        <p14:creationId xmlns:p14="http://schemas.microsoft.com/office/powerpoint/2010/main" val="26929633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 Requirement: You’ve been told that due to a security audit:</a:t>
            </a:r>
          </a:p>
          <a:p>
            <a:pPr marL="228600" indent="-228600">
              <a:buAutoNum type="arabicParenR"/>
            </a:pPr>
            <a:r>
              <a:rPr lang="en-US" dirty="0"/>
              <a:t>All file access must be logged</a:t>
            </a:r>
          </a:p>
          <a:p>
            <a:pPr marL="228600" indent="-228600">
              <a:buAutoNum type="arabicParenR"/>
            </a:pPr>
            <a:r>
              <a:rPr lang="en-US" dirty="0"/>
              <a:t>Only encrypted storage can be used</a:t>
            </a:r>
          </a:p>
          <a:p>
            <a:pPr marL="228600" indent="-228600">
              <a:buAutoNum type="arabicParenR"/>
            </a:pPr>
            <a:r>
              <a:rPr lang="en-US" dirty="0"/>
              <a:t>You need approval from a security officer before accessing certain tools</a:t>
            </a:r>
          </a:p>
          <a:p>
            <a:pPr marL="228600" indent="-228600">
              <a:buAutoNum type="arabicParenR"/>
            </a:pPr>
            <a:r>
              <a:rPr lang="en-US" dirty="0"/>
              <a:t>You must verify user permissions before sharing any data</a:t>
            </a:r>
          </a:p>
          <a:p>
            <a:pPr marL="228600" indent="-228600">
              <a:buAutoNum type="arabicParenR"/>
            </a:pPr>
            <a:endParaRPr lang="en-US" dirty="0"/>
          </a:p>
          <a:p>
            <a:pPr marL="0" indent="0">
              <a:buNone/>
            </a:pPr>
            <a:endParaRPr lang="en-US" dirty="0"/>
          </a:p>
          <a:p>
            <a:pPr marL="0" indent="0">
              <a:buNone/>
            </a:pPr>
            <a:r>
              <a:rPr lang="en-US" dirty="0"/>
              <a:t>SECURITY ALERT: The report contains:</a:t>
            </a:r>
          </a:p>
          <a:p>
            <a:pPr marL="0" indent="0">
              <a:buNone/>
            </a:pPr>
            <a:r>
              <a:rPr lang="en-US" dirty="0"/>
              <a:t>- Personal customer information</a:t>
            </a:r>
          </a:p>
          <a:p>
            <a:pPr marL="0" indent="0">
              <a:buNone/>
            </a:pPr>
            <a:r>
              <a:rPr lang="en-US" dirty="0"/>
              <a:t>- Confidential Financial projections</a:t>
            </a:r>
          </a:p>
          <a:p>
            <a:pPr marL="0" indent="0">
              <a:buNone/>
            </a:pPr>
            <a:r>
              <a:rPr lang="en-US" dirty="0"/>
              <a:t>- Proprietary technology details</a:t>
            </a:r>
          </a:p>
          <a:p>
            <a:pPr marL="0" indent="0">
              <a:buNone/>
            </a:pPr>
            <a:r>
              <a:rPr lang="en-US" dirty="0"/>
              <a:t>Some team members have reported suspicious attempts to access this data. Please omit any data that falls under this criteria. Please recommend and apply additional verification steps to ensure compliance.</a:t>
            </a:r>
          </a:p>
        </p:txBody>
      </p:sp>
      <p:sp>
        <p:nvSpPr>
          <p:cNvPr id="4" name="Slide Number Placeholder 3"/>
          <p:cNvSpPr>
            <a:spLocks noGrp="1"/>
          </p:cNvSpPr>
          <p:nvPr>
            <p:ph type="sldNum" sz="quarter" idx="5"/>
          </p:nvPr>
        </p:nvSpPr>
        <p:spPr/>
        <p:txBody>
          <a:bodyPr/>
          <a:lstStyle/>
          <a:p>
            <a:fld id="{20D6543F-ADFF-324A-892A-7690E08EF8B4}" type="slidenum">
              <a:rPr lang="en-US" smtClean="0"/>
              <a:t>47</a:t>
            </a:fld>
            <a:endParaRPr lang="en-US"/>
          </a:p>
        </p:txBody>
      </p:sp>
    </p:spTree>
    <p:extLst>
      <p:ext uri="{BB962C8B-B14F-4D97-AF65-F5344CB8AC3E}">
        <p14:creationId xmlns:p14="http://schemas.microsoft.com/office/powerpoint/2010/main" val="8095103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50</a:t>
            </a:fld>
            <a:endParaRPr lang="en-US"/>
          </a:p>
        </p:txBody>
      </p:sp>
    </p:spTree>
    <p:extLst>
      <p:ext uri="{BB962C8B-B14F-4D97-AF65-F5344CB8AC3E}">
        <p14:creationId xmlns:p14="http://schemas.microsoft.com/office/powerpoint/2010/main" val="15063065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D6543F-ADFF-324A-892A-7690E08EF8B4}" type="slidenum">
              <a:rPr lang="en-US" smtClean="0"/>
              <a:t>51</a:t>
            </a:fld>
            <a:endParaRPr lang="en-US"/>
          </a:p>
        </p:txBody>
      </p:sp>
    </p:spTree>
    <p:extLst>
      <p:ext uri="{BB962C8B-B14F-4D97-AF65-F5344CB8AC3E}">
        <p14:creationId xmlns:p14="http://schemas.microsoft.com/office/powerpoint/2010/main" val="27766299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spcAft>
                <a:spcPts val="1200"/>
              </a:spcAft>
              <a:buFont typeface="Arial" panose="020B0604020202020204" pitchFamily="34" charset="0"/>
              <a:buChar char="•"/>
            </a:pPr>
            <a:r>
              <a:rPr lang="en-US" sz="1600" b="1">
                <a:latin typeface="Graphik" panose="020B0503030202060203" pitchFamily="34" charset="0"/>
              </a:rPr>
              <a:t>Welcome &amp; Vision Setting: </a:t>
            </a:r>
            <a:r>
              <a:rPr lang="en-US" sz="1600">
                <a:latin typeface="Graphik" panose="020B0503030202060203" pitchFamily="34" charset="0"/>
              </a:rPr>
              <a:t>“As Citizens Bank is reimagining its entire operating model for the AI age, all 3 of our leaders in technology as Citizens have joined forces with Citizens Learning &amp; Development teams to rethink our agile workflows using the power of GenAI and agentic AI.“</a:t>
            </a:r>
          </a:p>
          <a:p>
            <a:pPr marL="742950" lvl="1" indent="-285750">
              <a:spcAft>
                <a:spcPts val="1200"/>
              </a:spcAft>
              <a:buFont typeface="Arial" panose="020B0604020202020204" pitchFamily="34" charset="0"/>
              <a:buChar char="•"/>
            </a:pPr>
            <a:r>
              <a:rPr lang="en-US" sz="1600" b="1">
                <a:latin typeface="Graphik" panose="020B0503030202060203" pitchFamily="34" charset="0"/>
              </a:rPr>
              <a:t>The AI Imperative: </a:t>
            </a:r>
            <a:r>
              <a:rPr lang="en-US" sz="1600">
                <a:latin typeface="Graphik" panose="020B0503030202060203" pitchFamily="34" charset="0"/>
              </a:rPr>
              <a:t>AI is no longer a future concept — it’s a present-day catalyst. As our CEO Bruce Van Saun said about AI on a recent analyst call: “Everything is fair game.” From customer service to fraud detection, AI is streamlining operations and unlocking productivity. The same potential exists in our agile practices. Generative AI can help us rapidly create once time-consuming, manual tasks like user stories, test cases, or release notes — freeing you to focus on innovation and customer value.”</a:t>
            </a:r>
          </a:p>
          <a:p>
            <a:pPr marL="742950" lvl="1" indent="-285750">
              <a:spcAft>
                <a:spcPts val="1200"/>
              </a:spcAft>
              <a:buFont typeface="Arial" panose="020B0604020202020204" pitchFamily="34" charset="0"/>
              <a:buChar char="•"/>
            </a:pPr>
            <a:r>
              <a:rPr lang="en-US" sz="1600" b="1">
                <a:latin typeface="Graphik" panose="020B0503030202060203" pitchFamily="34" charset="0"/>
              </a:rPr>
              <a:t>The Human-AI Partnership: </a:t>
            </a:r>
            <a:r>
              <a:rPr lang="en-US" sz="1600">
                <a:latin typeface="Graphik" panose="020B0503030202060203" pitchFamily="34" charset="0"/>
              </a:rPr>
              <a:t>"AI is your co-pilot, not your replacement. It handles the routine so you can tackle the remarkable. As our CEO has emphasized, the goal of applying AI is better experiences — for customers </a:t>
            </a:r>
            <a:r>
              <a:rPr lang="en-US" sz="1600" i="1">
                <a:latin typeface="Graphik" panose="020B0503030202060203" pitchFamily="34" charset="0"/>
              </a:rPr>
              <a:t>and</a:t>
            </a:r>
            <a:r>
              <a:rPr lang="en-US" sz="1600">
                <a:latin typeface="Graphik" panose="020B0503030202060203" pitchFamily="34" charset="0"/>
              </a:rPr>
              <a:t> employees.“</a:t>
            </a:r>
          </a:p>
          <a:p>
            <a:pPr marL="742950" lvl="1" indent="-285750">
              <a:spcAft>
                <a:spcPts val="1200"/>
              </a:spcAft>
              <a:buFont typeface="Arial" panose="020B0604020202020204" pitchFamily="34" charset="0"/>
              <a:buChar char="•"/>
            </a:pPr>
            <a:r>
              <a:rPr lang="en-US" sz="1600" b="1">
                <a:latin typeface="Graphik" panose="020B0503030202060203" pitchFamily="34" charset="0"/>
              </a:rPr>
              <a:t>Bootcamp Goals: </a:t>
            </a:r>
            <a:r>
              <a:rPr lang="en-US" sz="1600">
                <a:latin typeface="Graphik" panose="020B0503030202060203" pitchFamily="34" charset="0"/>
              </a:rPr>
              <a:t>“Over the course of the AI Academy, you’ll experiment, prototype, and challenge the status quo. You’ll learn how to embed GenAI and agents into your workflows — not just as tools, but as teammates. You’ll be at the forefront of new ways of working at Citizens – you will not just learning, but as the pilot group experiencing the AI Academy, you should feel empowered to give us feedback and reflections on what is working well, what is relevant, and what is not. We hope you will leave the AI Academy not just with a new set of tools to use but a new mindset to lead your pod and other pods at Citizens into the new Agentic AI world”</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DCB7B3-6A66-40E0-A3F7-252E271423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684243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A400B4-7433-3F25-93B6-6E7F5A7159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7B8A67-114F-8DFF-1F99-454EF2EEFC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400492-01BB-4871-0AB6-95866EA44FC4}"/>
              </a:ext>
            </a:extLst>
          </p:cNvPr>
          <p:cNvSpPr>
            <a:spLocks noGrp="1"/>
          </p:cNvSpPr>
          <p:nvPr>
            <p:ph type="body" idx="1"/>
          </p:nvPr>
        </p:nvSpPr>
        <p:spPr/>
        <p:txBody>
          <a:bodyPr/>
          <a:lstStyle/>
          <a:p>
            <a:pPr marL="0" lvl="0" indent="0">
              <a:buFont typeface="Arial" panose="020B0604020202020204" pitchFamily="34" charset="0"/>
              <a:buNone/>
            </a:pPr>
            <a:endParaRPr lang="en-US">
              <a:effectLst/>
            </a:endParaRPr>
          </a:p>
        </p:txBody>
      </p:sp>
      <p:sp>
        <p:nvSpPr>
          <p:cNvPr id="4" name="Slide Number Placeholder 3">
            <a:extLst>
              <a:ext uri="{FF2B5EF4-FFF2-40B4-BE49-F238E27FC236}">
                <a16:creationId xmlns:a16="http://schemas.microsoft.com/office/drawing/2014/main" id="{F86797F4-82C8-6162-661A-94597F46D05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486F68-8D1C-4D26-951F-D87D18E36C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218004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7F179E-DB41-E394-89B8-9588236DB1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E34996-52B3-BE58-570E-816DC05B1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DF447D-3BB3-0AA8-E138-9545466475E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E4636C6-3387-DBB8-C93E-884C920FA11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690988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E75069-5E84-3C9D-640C-858434E000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217ABE-2B6F-F70D-2C0E-DDDEFBA5E661}"/>
              </a:ext>
            </a:extLst>
          </p:cNvPr>
          <p:cNvSpPr>
            <a:spLocks noGrp="1" noRot="1" noChangeAspect="1"/>
          </p:cNvSpPr>
          <p:nvPr>
            <p:ph type="sldImg"/>
          </p:nvPr>
        </p:nvSpPr>
        <p:spPr>
          <a:xfrm>
            <a:off x="762000" y="647700"/>
            <a:ext cx="5627688" cy="3167063"/>
          </a:xfrm>
        </p:spPr>
      </p:sp>
      <p:sp>
        <p:nvSpPr>
          <p:cNvPr id="3" name="Notes Placeholder 2">
            <a:extLst>
              <a:ext uri="{FF2B5EF4-FFF2-40B4-BE49-F238E27FC236}">
                <a16:creationId xmlns:a16="http://schemas.microsoft.com/office/drawing/2014/main" id="{2BB71247-FCA6-2771-3F9D-6BF6BD9966B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5CDBEA0-26FF-0AB6-2AC2-6BFCBC57C6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730616-56B8-4CC7-B197-4FF2A42EF7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974393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ADEEC0-AA21-4356-BF59-411AF3E7A0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DB2E1D-0DEF-1C72-E046-41B3533E5E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DACD4D-0521-7826-5C6F-AB108B82709C}"/>
              </a:ext>
            </a:extLst>
          </p:cNvPr>
          <p:cNvSpPr>
            <a:spLocks noGrp="1"/>
          </p:cNvSpPr>
          <p:nvPr>
            <p:ph type="body" idx="1"/>
          </p:nvPr>
        </p:nvSpPr>
        <p:spPr/>
        <p:txBody>
          <a:bodyPr/>
          <a:lstStyle/>
          <a:p>
            <a:pPr marL="0" lvl="0" indent="0">
              <a:buFont typeface="Arial" panose="020B0604020202020204" pitchFamily="34" charset="0"/>
              <a:buNone/>
            </a:pPr>
            <a:endParaRPr lang="en-US">
              <a:effectLst/>
            </a:endParaRPr>
          </a:p>
        </p:txBody>
      </p:sp>
      <p:sp>
        <p:nvSpPr>
          <p:cNvPr id="4" name="Slide Number Placeholder 3">
            <a:extLst>
              <a:ext uri="{FF2B5EF4-FFF2-40B4-BE49-F238E27FC236}">
                <a16:creationId xmlns:a16="http://schemas.microsoft.com/office/drawing/2014/main" id="{E2B5E6B8-D0A7-5547-8841-333283D58ED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486F68-8D1C-4D26-951F-D87D18E36C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015407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3DE565-C826-0A22-E6DD-441629B53F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82C228-F996-01BA-59C2-664D69099E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6E5C92-E0A9-6BFA-3B8B-A582DA7E3B9D}"/>
              </a:ext>
            </a:extLst>
          </p:cNvPr>
          <p:cNvSpPr>
            <a:spLocks noGrp="1"/>
          </p:cNvSpPr>
          <p:nvPr>
            <p:ph type="body" idx="1"/>
          </p:nvPr>
        </p:nvSpPr>
        <p:spPr/>
        <p:txBody>
          <a:bodyPr/>
          <a:lstStyle/>
          <a:p>
            <a:pPr marL="0" lvl="0" indent="0">
              <a:buFont typeface="Arial" panose="020B0604020202020204" pitchFamily="34" charset="0"/>
              <a:buNone/>
            </a:pPr>
            <a:endParaRPr lang="en-US">
              <a:effectLst/>
            </a:endParaRPr>
          </a:p>
        </p:txBody>
      </p:sp>
      <p:sp>
        <p:nvSpPr>
          <p:cNvPr id="4" name="Slide Number Placeholder 3">
            <a:extLst>
              <a:ext uri="{FF2B5EF4-FFF2-40B4-BE49-F238E27FC236}">
                <a16:creationId xmlns:a16="http://schemas.microsoft.com/office/drawing/2014/main" id="{82C10A86-91F8-96EB-1EAA-07CBFC5FB9F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486F68-8D1C-4D26-951F-D87D18E36C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779347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5593BA-CEA1-E0C3-C4C4-4120D5722A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14A2F3-5C8E-E3CB-AAC7-19EC858C4C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51517D-E09D-9699-5ABB-5F7001B3D9A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267F51F-23F7-5E3F-8574-FBBFDDB3C66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767DB3-E7B8-470D-B721-1B5470B8204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443953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E75069-5E84-3C9D-640C-858434E000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217ABE-2B6F-F70D-2C0E-DDDEFBA5E661}"/>
              </a:ext>
            </a:extLst>
          </p:cNvPr>
          <p:cNvSpPr>
            <a:spLocks noGrp="1" noRot="1" noChangeAspect="1"/>
          </p:cNvSpPr>
          <p:nvPr>
            <p:ph type="sldImg"/>
          </p:nvPr>
        </p:nvSpPr>
        <p:spPr>
          <a:xfrm>
            <a:off x="762000" y="647700"/>
            <a:ext cx="5627688" cy="3167063"/>
          </a:xfrm>
        </p:spPr>
      </p:sp>
      <p:sp>
        <p:nvSpPr>
          <p:cNvPr id="3" name="Notes Placeholder 2">
            <a:extLst>
              <a:ext uri="{FF2B5EF4-FFF2-40B4-BE49-F238E27FC236}">
                <a16:creationId xmlns:a16="http://schemas.microsoft.com/office/drawing/2014/main" id="{2BB71247-FCA6-2771-3F9D-6BF6BD9966B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5CDBEA0-26FF-0AB6-2AC2-6BFCBC57C6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730616-56B8-4CC7-B197-4FF2A42EF7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846003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924460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383287-1CB9-1956-EF42-70B05FCC81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B078E0-6290-3844-946A-15B471B18C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600709-B297-AB65-5D9C-3C16E4D8DDF8}"/>
              </a:ext>
            </a:extLst>
          </p:cNvPr>
          <p:cNvSpPr>
            <a:spLocks noGrp="1"/>
          </p:cNvSpPr>
          <p:nvPr>
            <p:ph type="body" idx="1"/>
          </p:nvPr>
        </p:nvSpPr>
        <p:spPr/>
        <p:txBody>
          <a:bodyPr/>
          <a:lstStyle/>
          <a:p>
            <a:pPr marL="0" lvl="0" indent="0">
              <a:buFont typeface="Arial" panose="020B0604020202020204" pitchFamily="34" charset="0"/>
              <a:buNone/>
            </a:pPr>
            <a:endParaRPr lang="en-US">
              <a:effectLst/>
            </a:endParaRPr>
          </a:p>
        </p:txBody>
      </p:sp>
      <p:sp>
        <p:nvSpPr>
          <p:cNvPr id="4" name="Slide Number Placeholder 3">
            <a:extLst>
              <a:ext uri="{FF2B5EF4-FFF2-40B4-BE49-F238E27FC236}">
                <a16:creationId xmlns:a16="http://schemas.microsoft.com/office/drawing/2014/main" id="{1A8C10F2-318E-7459-B417-25187344B3D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486F68-8D1C-4D26-951F-D87D18E36C6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73622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934516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FLICTING GOALS: You now have these three equally important objectives that directly conflict with each other:</a:t>
            </a:r>
          </a:p>
          <a:p>
            <a:pPr marL="685800" lvl="1" indent="-228600">
              <a:buFont typeface="+mj-lt"/>
              <a:buAutoNum type="arabicPeriod"/>
            </a:pPr>
            <a:r>
              <a:rPr lang="en-US" dirty="0"/>
              <a:t>Ensure maximum customer satisfaction by providing a full, personalized response to a high-priority client inquiry.</a:t>
            </a:r>
          </a:p>
          <a:p>
            <a:pPr marL="685800" lvl="1" indent="-228600">
              <a:buFont typeface="+mj-lt"/>
              <a:buAutoNum type="arabicPeriod"/>
            </a:pPr>
            <a:r>
              <a:rPr lang="en-US" dirty="0"/>
              <a:t>Protect proprietary product details by withholding sensitive technical specifications.</a:t>
            </a:r>
          </a:p>
          <a:p>
            <a:pPr marL="685800" lvl="1" indent="-228600">
              <a:buFont typeface="+mj-lt"/>
              <a:buAutoNum type="arabicPeriod"/>
            </a:pPr>
            <a:r>
              <a:rPr lang="en-US" dirty="0"/>
              <a:t>Respond within 300 words while still covering all necessary points.</a:t>
            </a:r>
          </a:p>
          <a:p>
            <a:r>
              <a:rPr lang="en-US" dirty="0"/>
              <a:t>Additionally, you have these conflicting time pressures:</a:t>
            </a:r>
          </a:p>
          <a:p>
            <a:pPr marL="628650" lvl="1" indent="-171450">
              <a:buFont typeface="Arial" panose="020B0604020202020204" pitchFamily="34" charset="0"/>
              <a:buChar char="•"/>
            </a:pPr>
            <a:r>
              <a:rPr lang="en-US" dirty="0"/>
              <a:t>The VP of Sales needs the client reply sent within 30 minutes to secure a potential deal.</a:t>
            </a:r>
          </a:p>
          <a:p>
            <a:pPr marL="628650" lvl="1" indent="-171450">
              <a:buFont typeface="Arial" panose="020B0604020202020204" pitchFamily="34" charset="0"/>
              <a:buChar char="•"/>
            </a:pPr>
            <a:r>
              <a:rPr lang="en-US" dirty="0"/>
              <a:t>Legal requires a 3-hour contract review before sharing any product-related information.</a:t>
            </a:r>
          </a:p>
          <a:p>
            <a:pPr marL="628650" lvl="1" indent="-171450">
              <a:buFont typeface="Arial" panose="020B0604020202020204" pitchFamily="34" charset="0"/>
              <a:buChar char="•"/>
            </a:pPr>
            <a:r>
              <a:rPr lang="en-US" dirty="0"/>
              <a:t>The Design Team needs 1 hour to verify any visual materials included in the response.</a:t>
            </a:r>
          </a:p>
          <a:p>
            <a:endParaRPr lang="en-US" dirty="0"/>
          </a:p>
          <a:p>
            <a:r>
              <a:rPr lang="en-US" dirty="0"/>
              <a:t>You cannot prioritize one goal over others—they are all equally critical. How do you handle these conflicting requirement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019478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 of a hammer being used as a paperweight or a doorstop; agent can only see a hammer for hammering nails and swinging it in the exact defined wa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FC15C8-BC6B-46ED-B764-1FB719B6FA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925312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Bod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5556F-D6E1-4548-BCEF-31BAD4333169}"/>
              </a:ext>
            </a:extLst>
          </p:cNvPr>
          <p:cNvGraphicFramePr>
            <a:graphicFrameLocks noChangeAspect="1"/>
          </p:cNvGraphicFramePr>
          <p:nvPr>
            <p:custDataLst>
              <p:tags r:id="rId1"/>
            </p:custDataLst>
            <p:extLst>
              <p:ext uri="{D42A27DB-BD31-4B8C-83A1-F6EECF244321}">
                <p14:modId xmlns:p14="http://schemas.microsoft.com/office/powerpoint/2010/main" val="411035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0425556F-D6E1-4548-BCEF-31BAD4333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A3F4E2-AFF4-E822-10E6-57C052A36AB0}"/>
              </a:ext>
            </a:extLst>
          </p:cNvPr>
          <p:cNvSpPr>
            <a:spLocks noGrp="1"/>
          </p:cNvSpPr>
          <p:nvPr>
            <p:ph type="title" hasCustomPrompt="1"/>
          </p:nvPr>
        </p:nvSpPr>
        <p:spPr>
          <a:xfrm>
            <a:off x="384048" y="384048"/>
            <a:ext cx="11594895" cy="500124"/>
          </a:xfrm>
          <a:prstGeom prst="rect">
            <a:avLst/>
          </a:prstGeom>
        </p:spPr>
        <p:txBody>
          <a:bodyPr vert="horz" wrap="square" lIns="0" tIns="0" rIns="0" bIns="0" anchor="t">
            <a:noAutofit/>
          </a:bodyPr>
          <a:lstStyle>
            <a:lvl1pPr marL="0" indent="0">
              <a:lnSpc>
                <a:spcPct val="80000"/>
              </a:lnSpc>
              <a:buFont typeface="Arial" panose="020B0604020202020204" pitchFamily="34" charset="0"/>
              <a:buNone/>
              <a:defRPr sz="2800" b="0" i="0" cap="none">
                <a:solidFill>
                  <a:schemeClr val="tx1"/>
                </a:solidFill>
                <a:latin typeface="Graphik-Light" panose="020B0403030202060203" pitchFamily="34" charset="77"/>
              </a:defRPr>
            </a:lvl1pPr>
          </a:lstStyle>
          <a:p>
            <a:r>
              <a:rPr lang="en-US" dirty="0"/>
              <a:t>Click to Edit Master Title Style</a:t>
            </a:r>
          </a:p>
        </p:txBody>
      </p:sp>
      <p:sp>
        <p:nvSpPr>
          <p:cNvPr id="7" name="Text Placeholder 6">
            <a:extLst>
              <a:ext uri="{FF2B5EF4-FFF2-40B4-BE49-F238E27FC236}">
                <a16:creationId xmlns:a16="http://schemas.microsoft.com/office/drawing/2014/main" id="{1ACE1D63-81A5-4C53-82FF-3F747BC19849}"/>
              </a:ext>
            </a:extLst>
          </p:cNvPr>
          <p:cNvSpPr>
            <a:spLocks noGrp="1"/>
          </p:cNvSpPr>
          <p:nvPr>
            <p:ph type="body" sz="quarter" idx="10"/>
          </p:nvPr>
        </p:nvSpPr>
        <p:spPr>
          <a:xfrm>
            <a:off x="384175" y="1231900"/>
            <a:ext cx="11595100" cy="4957763"/>
          </a:xfrm>
          <a:prstGeom prst="rect">
            <a:avLst/>
          </a:prstGeom>
        </p:spPr>
        <p:txBody>
          <a:bodyPr/>
          <a:lstStyle>
            <a:lvl1pPr>
              <a:defRPr>
                <a:latin typeface="Graphik" panose="020B0503030202060203" pitchFamily="34" charset="77"/>
              </a:defRPr>
            </a:lvl1pPr>
            <a:lvl2pPr marL="742937" indent="-285745">
              <a:buFont typeface="Courier New" panose="02070309020205020404" pitchFamily="49" charset="0"/>
              <a:buChar char="o"/>
              <a:defRPr>
                <a:latin typeface="Graphik" panose="020B0503030202060203" pitchFamily="34" charset="77"/>
              </a:defRPr>
            </a:lvl2pPr>
            <a:lvl3pPr>
              <a:defRPr>
                <a:latin typeface="Graphik" panose="020B0503030202060203" pitchFamily="34" charset="77"/>
              </a:defRPr>
            </a:lvl3pPr>
            <a:lvl4pPr>
              <a:defRPr>
                <a:latin typeface="Graphik" panose="020B0503030202060203" pitchFamily="34" charset="77"/>
              </a:defRPr>
            </a:lvl4pPr>
            <a:lvl5pPr marL="2057364" indent="-228596">
              <a:buFont typeface="Wingdings" pitchFamily="2" charset="2"/>
              <a:buChar char="§"/>
              <a:defRPr>
                <a:latin typeface="Graphik" panose="020B050303020206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36216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label with Title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5556F-D6E1-4548-BCEF-31BAD4333169}"/>
              </a:ext>
            </a:extLst>
          </p:cNvPr>
          <p:cNvGraphicFramePr>
            <a:graphicFrameLocks noChangeAspect="1"/>
          </p:cNvGraphicFramePr>
          <p:nvPr>
            <p:custDataLst>
              <p:tags r:id="rId1"/>
            </p:custDataLst>
            <p:extLst>
              <p:ext uri="{D42A27DB-BD31-4B8C-83A1-F6EECF244321}">
                <p14:modId xmlns:p14="http://schemas.microsoft.com/office/powerpoint/2010/main" val="411035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0425556F-D6E1-4548-BCEF-31BAD4333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A3F4E2-AFF4-E822-10E6-57C052A36AB0}"/>
              </a:ext>
            </a:extLst>
          </p:cNvPr>
          <p:cNvSpPr>
            <a:spLocks noGrp="1"/>
          </p:cNvSpPr>
          <p:nvPr>
            <p:ph type="title" hasCustomPrompt="1"/>
          </p:nvPr>
        </p:nvSpPr>
        <p:spPr>
          <a:xfrm>
            <a:off x="384048" y="384048"/>
            <a:ext cx="11594895" cy="320601"/>
          </a:xfrm>
          <a:prstGeom prst="rect">
            <a:avLst/>
          </a:prstGeom>
        </p:spPr>
        <p:txBody>
          <a:bodyPr vert="horz" wrap="square" lIns="0" tIns="0" rIns="0" bIns="0" anchor="t">
            <a:noAutofit/>
          </a:bodyPr>
          <a:lstStyle>
            <a:lvl1pPr marL="0" indent="0">
              <a:lnSpc>
                <a:spcPct val="80000"/>
              </a:lnSpc>
              <a:buFont typeface="Arial" panose="020B0604020202020204" pitchFamily="34" charset="0"/>
              <a:buNone/>
              <a:defRPr sz="2800" b="0" i="0" cap="none">
                <a:solidFill>
                  <a:schemeClr val="tx1"/>
                </a:solidFill>
                <a:latin typeface="Graphik-Light" panose="020B0403030202060203" pitchFamily="34" charset="77"/>
              </a:defRPr>
            </a:lvl1pPr>
          </a:lstStyle>
          <a:p>
            <a:r>
              <a:rPr lang="en-US"/>
              <a:t>Click to Edit Master Title Style</a:t>
            </a:r>
          </a:p>
        </p:txBody>
      </p:sp>
    </p:spTree>
    <p:extLst>
      <p:ext uri="{BB962C8B-B14F-4D97-AF65-F5344CB8AC3E}">
        <p14:creationId xmlns:p14="http://schemas.microsoft.com/office/powerpoint/2010/main" val="23010316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224449"/>
            <a:ext cx="11430000" cy="9906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3909268"/>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Content">
    <p:bg>
      <p:bgRef idx="1002">
        <a:schemeClr val="bg1"/>
      </p:bgRef>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8030AA49-C962-67B1-CEAD-AE4FA1869565}"/>
              </a:ext>
            </a:extLst>
          </p:cNvPr>
          <p:cNvSpPr>
            <a:spLocks noGrp="1"/>
          </p:cNvSpPr>
          <p:nvPr>
            <p:ph type="body" sz="quarter" idx="10"/>
          </p:nvPr>
        </p:nvSpPr>
        <p:spPr>
          <a:xfrm>
            <a:off x="420521" y="376025"/>
            <a:ext cx="11346099" cy="604909"/>
          </a:xfrm>
          <a:prstGeom prst="rect">
            <a:avLst/>
          </a:prstGeom>
        </p:spPr>
        <p:txBody>
          <a:bodyPr lIns="0" tIns="0" rIns="0" bIns="0" anchor="t"/>
          <a:lstStyle>
            <a:lvl1pPr algn="l">
              <a:lnSpc>
                <a:spcPct val="90000"/>
              </a:lnSpc>
              <a:spcAft>
                <a:spcPts val="0"/>
              </a:spcAft>
              <a:defRPr sz="3000">
                <a:solidFill>
                  <a:schemeClr val="tx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dirty="0"/>
              <a:t>Click to edit Master text styles</a:t>
            </a:r>
          </a:p>
        </p:txBody>
      </p:sp>
      <p:sp>
        <p:nvSpPr>
          <p:cNvPr id="13" name="Slide Number Placeholder 6">
            <a:extLst>
              <a:ext uri="{FF2B5EF4-FFF2-40B4-BE49-F238E27FC236}">
                <a16:creationId xmlns:a16="http://schemas.microsoft.com/office/drawing/2014/main" id="{65E2B2BE-34EA-4351-C96A-158A5A36474D}"/>
              </a:ext>
            </a:extLst>
          </p:cNvPr>
          <p:cNvSpPr txBox="1">
            <a:spLocks/>
          </p:cNvSpPr>
          <p:nvPr userDrawn="1"/>
        </p:nvSpPr>
        <p:spPr>
          <a:xfrm rot="10800000" flipV="1">
            <a:off x="11509845" y="6525267"/>
            <a:ext cx="425238" cy="138499"/>
          </a:xfrm>
          <a:prstGeom prst="rect">
            <a:avLst/>
          </a:prstGeom>
        </p:spPr>
        <p:txBody>
          <a:bodyPr wrap="square" lIns="0" tIns="0" rIns="0" bIns="0" anchor="ctr">
            <a:spAutoFit/>
          </a:bodyPr>
          <a:lstStyle>
            <a:defPPr>
              <a:defRPr lang="en-US"/>
            </a:defPPr>
            <a:lvl1pPr marL="0" algn="l" defTabSz="914400" rtl="0" eaLnBrk="1" latinLnBrk="0" hangingPunct="1">
              <a:defRPr sz="635" b="0" i="0" kern="1200">
                <a:solidFill>
                  <a:srgbClr val="A29F9D"/>
                </a:solidFill>
                <a:latin typeface="Graphik"/>
                <a:ea typeface="+mn-ea"/>
                <a:cs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A769226-AE33-44F8-B153-C6D472D17CF4}" type="slidenum">
              <a:rPr kumimoji="0" lang="en-GB" sz="900" b="0" i="0" u="none" strike="noStrike" kern="1200" cap="none" spc="0" normalizeH="0" baseline="0" noProof="0" smtClean="0">
                <a:ln>
                  <a:noFill/>
                </a:ln>
                <a:solidFill>
                  <a:srgbClr val="000000">
                    <a:lumMod val="50000"/>
                    <a:lumOff val="50000"/>
                  </a:srgbClr>
                </a:solidFill>
                <a:effectLst/>
                <a:uLnTx/>
                <a:uFillTx/>
                <a:latin typeface="Graphik Medium" panose="020B0503030202060203" pitchFamily="34" charset="77"/>
                <a:ea typeface="+mn-ea"/>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srgbClr val="000000">
                  <a:lumMod val="50000"/>
                  <a:lumOff val="50000"/>
                </a:srgbClr>
              </a:solidFill>
              <a:effectLst/>
              <a:uLnTx/>
              <a:uFillTx/>
              <a:latin typeface="Graphik Medium" panose="020B0503030202060203" pitchFamily="34" charset="77"/>
              <a:ea typeface="+mn-ea"/>
            </a:endParaRPr>
          </a:p>
        </p:txBody>
      </p:sp>
      <p:sp>
        <p:nvSpPr>
          <p:cNvPr id="7" name="Content Placeholder 6">
            <a:extLst>
              <a:ext uri="{FF2B5EF4-FFF2-40B4-BE49-F238E27FC236}">
                <a16:creationId xmlns:a16="http://schemas.microsoft.com/office/drawing/2014/main" id="{A0964535-8A19-C4C7-016C-26AD778236C2}"/>
              </a:ext>
            </a:extLst>
          </p:cNvPr>
          <p:cNvSpPr>
            <a:spLocks noGrp="1"/>
          </p:cNvSpPr>
          <p:nvPr>
            <p:ph sz="quarter" idx="11"/>
          </p:nvPr>
        </p:nvSpPr>
        <p:spPr>
          <a:xfrm>
            <a:off x="420688" y="1336674"/>
            <a:ext cx="11345932" cy="501388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7568554"/>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CAD085-E8A6-8845-BD4E-CB4CCA059FC4}" type="datetimeFigureOut">
              <a:rPr lang="en-US" smtClean="0"/>
              <a:t>9/19/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5664647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451BD7-F631-FBBC-1D4F-50A7B82CDA7F}"/>
              </a:ext>
            </a:extLst>
          </p:cNvPr>
          <p:cNvSpPr/>
          <p:nvPr userDrawn="1"/>
        </p:nvSpPr>
        <p:spPr>
          <a:xfrm>
            <a:off x="1" y="0"/>
            <a:ext cx="1791148" cy="6858000"/>
          </a:xfrm>
          <a:prstGeom prst="rect">
            <a:avLst/>
          </a:prstGeom>
          <a:solidFill>
            <a:schemeClr val="tx2">
              <a:lumMod val="75000"/>
              <a:lumOff val="2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F09F33A-01C8-E1A9-67AF-421EADEA076A}"/>
              </a:ext>
            </a:extLst>
          </p:cNvPr>
          <p:cNvSpPr/>
          <p:nvPr userDrawn="1"/>
        </p:nvSpPr>
        <p:spPr>
          <a:xfrm>
            <a:off x="1791150" y="0"/>
            <a:ext cx="1040085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700682E-F633-BA85-6284-A73605544F67}"/>
              </a:ext>
            </a:extLst>
          </p:cNvPr>
          <p:cNvSpPr/>
          <p:nvPr userDrawn="1"/>
        </p:nvSpPr>
        <p:spPr>
          <a:xfrm>
            <a:off x="2737653" y="1"/>
            <a:ext cx="2345338" cy="5653144"/>
          </a:xfrm>
          <a:prstGeom prst="rect">
            <a:avLst/>
          </a:prstGeom>
          <a:solidFill>
            <a:schemeClr val="tx2">
              <a:alpha val="49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520625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Whilte_Main">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124A0C5-8121-9A02-A55B-27551BFA26E5}"/>
              </a:ext>
            </a:extLst>
          </p:cNvPr>
          <p:cNvSpPr>
            <a:spLocks noGrp="1"/>
          </p:cNvSpPr>
          <p:nvPr>
            <p:ph type="title" hasCustomPrompt="1"/>
          </p:nvPr>
        </p:nvSpPr>
        <p:spPr>
          <a:xfrm>
            <a:off x="384048" y="384048"/>
            <a:ext cx="10346475" cy="320040"/>
          </a:xfrm>
          <a:prstGeom prst="rect">
            <a:avLst/>
          </a:prstGeom>
        </p:spPr>
        <p:txBody>
          <a:bodyPr vert="horz" wrap="square" lIns="0" tIns="0" rIns="0" bIns="0" anchor="t" anchorCtr="0">
            <a:noAutofit/>
          </a:bodyPr>
          <a:lstStyle>
            <a:lvl1pPr marL="0" indent="0" algn="l">
              <a:lnSpc>
                <a:spcPct val="80000"/>
              </a:lnSpc>
              <a:spcBef>
                <a:spcPct val="0"/>
              </a:spcBef>
              <a:spcAft>
                <a:spcPts val="0"/>
              </a:spcAft>
              <a:buFontTx/>
              <a:buNone/>
              <a:defRPr lang="en-US" sz="2800" b="0" i="0" cap="none">
                <a:solidFill>
                  <a:srgbClr val="231F20"/>
                </a:solidFill>
                <a:latin typeface="Graphik-Light" panose="020B0403030202060203"/>
              </a:defRPr>
            </a:lvl1pPr>
          </a:lstStyle>
          <a:p>
            <a:pPr marL="0" lvl="0" indent="0">
              <a:lnSpc>
                <a:spcPct val="80000"/>
              </a:lnSpc>
              <a:buFont typeface="Arial" panose="020B0604020202020204" pitchFamily="34" charset="0"/>
            </a:pPr>
            <a:r>
              <a:rPr lang="en-US"/>
              <a:t>Title Goes Here</a:t>
            </a:r>
          </a:p>
        </p:txBody>
      </p:sp>
    </p:spTree>
    <p:extLst>
      <p:ext uri="{BB962C8B-B14F-4D97-AF65-F5344CB8AC3E}">
        <p14:creationId xmlns:p14="http://schemas.microsoft.com/office/powerpoint/2010/main" val="3621016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714328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3C391DB-98A9-EDBD-B4D7-F7A02C58EB68}"/>
              </a:ext>
            </a:extLst>
          </p:cNvPr>
          <p:cNvSpPr/>
          <p:nvPr userDrawn="1"/>
        </p:nvSpPr>
        <p:spPr>
          <a:xfrm>
            <a:off x="0" y="0"/>
            <a:ext cx="121920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D60FC6EC-B8A2-2C77-CDA0-E07CED5306F6}"/>
              </a:ext>
            </a:extLst>
          </p:cNvPr>
          <p:cNvSpPr/>
          <p:nvPr userDrawn="1"/>
        </p:nvSpPr>
        <p:spPr>
          <a:xfrm>
            <a:off x="91053" y="89646"/>
            <a:ext cx="12009895" cy="6678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226DEAE9-B870-A1A9-3C1B-D2FDC9CE9591}"/>
              </a:ext>
            </a:extLst>
          </p:cNvPr>
          <p:cNvGraphicFramePr>
            <a:graphicFrameLocks noChangeAspect="1"/>
          </p:cNvGraphicFramePr>
          <p:nvPr userDrawn="1">
            <p:custDataLst>
              <p:tags r:id="rId10"/>
            </p:custDataLst>
            <p:extLst>
              <p:ext uri="{D42A27DB-BD31-4B8C-83A1-F6EECF244321}">
                <p14:modId xmlns:p14="http://schemas.microsoft.com/office/powerpoint/2010/main" val="2968999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4" progId="TCLayout.ActiveDocument.1">
                  <p:embed/>
                </p:oleObj>
              </mc:Choice>
              <mc:Fallback>
                <p:oleObj name="think-cell Slide" r:id="rId11" imgW="395" imgH="394" progId="TCLayout.ActiveDocument.1">
                  <p:embed/>
                  <p:pic>
                    <p:nvPicPr>
                      <p:cNvPr id="5" name="Object 4" hidden="1">
                        <a:extLst>
                          <a:ext uri="{FF2B5EF4-FFF2-40B4-BE49-F238E27FC236}">
                            <a16:creationId xmlns:a16="http://schemas.microsoft.com/office/drawing/2014/main" id="{226DEAE9-B870-A1A9-3C1B-D2FDC9CE9591}"/>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3BEAA649-E3CC-424E-9822-D3493F630A1A}"/>
              </a:ext>
            </a:extLst>
          </p:cNvPr>
          <p:cNvSpPr txBox="1">
            <a:spLocks/>
          </p:cNvSpPr>
          <p:nvPr userDrawn="1"/>
        </p:nvSpPr>
        <p:spPr>
          <a:xfrm>
            <a:off x="11913109" y="6553200"/>
            <a:ext cx="164592" cy="182880"/>
          </a:xfrm>
          <a:prstGeom prst="rect">
            <a:avLst/>
          </a:prstGeom>
        </p:spPr>
        <p:txBody>
          <a:bodyPr vert="horz" lIns="0" tIns="0" rIns="0" bIns="0" rtlCol="0" anchor="ctr"/>
          <a:lstStyle>
            <a:defPPr>
              <a:defRPr lang="en-US"/>
            </a:defPPr>
            <a:lvl1pPr algn="ctr">
              <a:defRPr sz="901" b="1" i="0">
                <a:solidFill>
                  <a:schemeClr val="bg1"/>
                </a:solidFill>
                <a:latin typeface="Trebuchet MS"/>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fld id="{AA3D0CA1-ACE4-45CA-A74F-6D47365CB5BA}" type="slidenum">
              <a:rPr lang="en-US" smtClean="0"/>
              <a:pPr lvl="0"/>
              <a:t>‹#›</a:t>
            </a:fld>
            <a:endParaRPr lang="en-US"/>
          </a:p>
        </p:txBody>
      </p:sp>
      <p:sp>
        <p:nvSpPr>
          <p:cNvPr id="4" name="object 3">
            <a:extLst>
              <a:ext uri="{FF2B5EF4-FFF2-40B4-BE49-F238E27FC236}">
                <a16:creationId xmlns:a16="http://schemas.microsoft.com/office/drawing/2014/main" id="{DD847A31-6A93-B877-C615-2F40A675B3CD}"/>
              </a:ext>
            </a:extLst>
          </p:cNvPr>
          <p:cNvSpPr/>
          <p:nvPr userDrawn="1"/>
        </p:nvSpPr>
        <p:spPr>
          <a:xfrm>
            <a:off x="10620587" y="6492240"/>
            <a:ext cx="1571414" cy="304800"/>
          </a:xfrm>
          <a:custGeom>
            <a:avLst/>
            <a:gdLst/>
            <a:ahLst/>
            <a:cxnLst/>
            <a:rect l="l" t="t" r="r" b="b"/>
            <a:pathLst>
              <a:path w="685800" h="304800">
                <a:moveTo>
                  <a:pt x="685800" y="0"/>
                </a:moveTo>
                <a:lnTo>
                  <a:pt x="0" y="0"/>
                </a:lnTo>
                <a:lnTo>
                  <a:pt x="0" y="304800"/>
                </a:lnTo>
                <a:lnTo>
                  <a:pt x="685800" y="304800"/>
                </a:lnTo>
                <a:lnTo>
                  <a:pt x="685800" y="0"/>
                </a:lnTo>
                <a:close/>
              </a:path>
            </a:pathLst>
          </a:custGeom>
          <a:solidFill>
            <a:schemeClr val="accent1"/>
          </a:solidFill>
          <a:ln>
            <a:noFill/>
          </a:ln>
        </p:spPr>
        <p:txBody>
          <a:bodyPr wrap="square" lIns="0" tIns="0" rIns="0" bIns="0" rtlCol="0"/>
          <a:lstStyle/>
          <a:p>
            <a:endParaRPr sz="1800">
              <a:solidFill>
                <a:schemeClr val="bg1"/>
              </a:solidFill>
            </a:endParaRPr>
          </a:p>
        </p:txBody>
      </p:sp>
      <p:sp>
        <p:nvSpPr>
          <p:cNvPr id="6" name="object 8">
            <a:extLst>
              <a:ext uri="{FF2B5EF4-FFF2-40B4-BE49-F238E27FC236}">
                <a16:creationId xmlns:a16="http://schemas.microsoft.com/office/drawing/2014/main" id="{F0458B14-9F40-BB28-8B27-45F42512C69D}"/>
              </a:ext>
            </a:extLst>
          </p:cNvPr>
          <p:cNvSpPr/>
          <p:nvPr userDrawn="1"/>
        </p:nvSpPr>
        <p:spPr>
          <a:xfrm>
            <a:off x="11825120" y="6549390"/>
            <a:ext cx="0" cy="190500"/>
          </a:xfrm>
          <a:custGeom>
            <a:avLst/>
            <a:gdLst/>
            <a:ahLst/>
            <a:cxnLst/>
            <a:rect l="l" t="t" r="r" b="b"/>
            <a:pathLst>
              <a:path h="190500">
                <a:moveTo>
                  <a:pt x="0" y="190501"/>
                </a:moveTo>
                <a:lnTo>
                  <a:pt x="1" y="0"/>
                </a:lnTo>
              </a:path>
            </a:pathLst>
          </a:custGeom>
          <a:ln w="12700">
            <a:solidFill>
              <a:srgbClr val="FFFFFF"/>
            </a:solidFill>
          </a:ln>
        </p:spPr>
        <p:txBody>
          <a:bodyPr wrap="square" lIns="0" tIns="0" rIns="0" bIns="0" rtlCol="0"/>
          <a:lstStyle/>
          <a:p>
            <a:pPr lvl="0"/>
            <a:endParaRPr>
              <a:solidFill>
                <a:schemeClr val="bg1"/>
              </a:solidFill>
            </a:endParaRPr>
          </a:p>
        </p:txBody>
      </p:sp>
      <p:sp>
        <p:nvSpPr>
          <p:cNvPr id="8" name="Slide Number Placeholder 5">
            <a:extLst>
              <a:ext uri="{FF2B5EF4-FFF2-40B4-BE49-F238E27FC236}">
                <a16:creationId xmlns:a16="http://schemas.microsoft.com/office/drawing/2014/main" id="{4456F346-CA2C-493E-A81F-033EBCA20A50}"/>
              </a:ext>
            </a:extLst>
          </p:cNvPr>
          <p:cNvSpPr txBox="1">
            <a:spLocks/>
          </p:cNvSpPr>
          <p:nvPr userDrawn="1"/>
        </p:nvSpPr>
        <p:spPr>
          <a:xfrm>
            <a:off x="11913109" y="6553200"/>
            <a:ext cx="164592" cy="182880"/>
          </a:xfrm>
          <a:prstGeom prst="rect">
            <a:avLst/>
          </a:prstGeom>
        </p:spPr>
        <p:txBody>
          <a:bodyPr vert="horz" lIns="0" tIns="0" rIns="0" bIns="0" rtlCol="0" anchor="ctr"/>
          <a:lstStyle>
            <a:defPPr>
              <a:defRPr lang="en-US"/>
            </a:defPPr>
            <a:lvl1pPr algn="ctr">
              <a:defRPr sz="901" b="1" i="0">
                <a:solidFill>
                  <a:schemeClr val="bg1"/>
                </a:solidFill>
                <a:latin typeface="Trebuchet MS"/>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fld id="{AA3D0CA1-ACE4-45CA-A74F-6D47365CB5BA}" type="slidenum">
              <a:rPr lang="en-US" b="0" i="0" smtClean="0">
                <a:latin typeface="Graphik-Light" panose="020B0403030202060203" pitchFamily="34" charset="77"/>
              </a:rPr>
              <a:pPr lvl="0"/>
              <a:t>‹#›</a:t>
            </a:fld>
            <a:endParaRPr lang="en-US" b="0" i="0">
              <a:latin typeface="Graphik-Light" panose="020B0403030202060203" pitchFamily="34" charset="77"/>
            </a:endParaRPr>
          </a:p>
        </p:txBody>
      </p:sp>
      <p:sp>
        <p:nvSpPr>
          <p:cNvPr id="3" name="Footer Placeholder 4">
            <a:extLst>
              <a:ext uri="{FF2B5EF4-FFF2-40B4-BE49-F238E27FC236}">
                <a16:creationId xmlns:a16="http://schemas.microsoft.com/office/drawing/2014/main" id="{FBB37BDC-F0AC-005B-7D91-6A5E7F6EC8B7}"/>
              </a:ext>
            </a:extLst>
          </p:cNvPr>
          <p:cNvSpPr txBox="1">
            <a:spLocks/>
          </p:cNvSpPr>
          <p:nvPr userDrawn="1"/>
        </p:nvSpPr>
        <p:spPr>
          <a:xfrm>
            <a:off x="7900426" y="6549612"/>
            <a:ext cx="2616464" cy="190056"/>
          </a:xfrm>
          <a:prstGeom prst="rect">
            <a:avLst/>
          </a:prstGeom>
        </p:spPr>
        <p:txBody>
          <a:bodyPr vert="horz" lIns="0" tIns="0" rIns="0" bIns="0" rtlCol="0" anchor="ctr" anchorCtr="0"/>
          <a:lstStyle>
            <a:defPPr>
              <a:defRPr lang="en-US"/>
            </a:defPPr>
            <a:lvl1pPr marL="0" algn="l" defTabSz="914400" rtl="0" eaLnBrk="1" latinLnBrk="0" hangingPunct="1">
              <a:defRPr sz="1000" kern="1200">
                <a:solidFill>
                  <a:schemeClr val="bg1">
                    <a:lumMod val="6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a:solidFill>
                  <a:schemeClr val="bg2">
                    <a:lumMod val="10000"/>
                  </a:schemeClr>
                </a:solidFill>
                <a:latin typeface="+mj-lt"/>
              </a:rPr>
              <a:t>Copyright © 2025 Accenture. All rights reserved.</a:t>
            </a:r>
          </a:p>
        </p:txBody>
      </p:sp>
      <p:pic>
        <p:nvPicPr>
          <p:cNvPr id="2" name="Picture 1">
            <a:extLst>
              <a:ext uri="{FF2B5EF4-FFF2-40B4-BE49-F238E27FC236}">
                <a16:creationId xmlns:a16="http://schemas.microsoft.com/office/drawing/2014/main" id="{5C98F949-158B-D692-F01F-48DD1557B975}"/>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r="83783"/>
          <a:stretch/>
        </p:blipFill>
        <p:spPr>
          <a:xfrm>
            <a:off x="11562238" y="6557772"/>
            <a:ext cx="174894" cy="173736"/>
          </a:xfrm>
          <a:prstGeom prst="rect">
            <a:avLst/>
          </a:prstGeom>
        </p:spPr>
      </p:pic>
      <p:grpSp>
        <p:nvGrpSpPr>
          <p:cNvPr id="11" name="Graphic 25">
            <a:extLst>
              <a:ext uri="{FF2B5EF4-FFF2-40B4-BE49-F238E27FC236}">
                <a16:creationId xmlns:a16="http://schemas.microsoft.com/office/drawing/2014/main" id="{1E9E1EA2-A8A7-EE7A-6587-91F51437BB84}"/>
              </a:ext>
            </a:extLst>
          </p:cNvPr>
          <p:cNvGrpSpPr/>
          <p:nvPr userDrawn="1"/>
        </p:nvGrpSpPr>
        <p:grpSpPr>
          <a:xfrm>
            <a:off x="10742508" y="6551838"/>
            <a:ext cx="717883" cy="187830"/>
            <a:chOff x="836781" y="794778"/>
            <a:chExt cx="1043539" cy="273045"/>
          </a:xfrm>
          <a:solidFill>
            <a:schemeClr val="bg1"/>
          </a:solidFill>
        </p:grpSpPr>
        <p:sp>
          <p:nvSpPr>
            <p:cNvPr id="12" name="Freeform 11">
              <a:extLst>
                <a:ext uri="{FF2B5EF4-FFF2-40B4-BE49-F238E27FC236}">
                  <a16:creationId xmlns:a16="http://schemas.microsoft.com/office/drawing/2014/main" id="{C599CBCB-00CA-4B89-206E-0C348B8155AF}"/>
                </a:ext>
              </a:extLst>
            </p:cNvPr>
            <p:cNvSpPr/>
            <p:nvPr/>
          </p:nvSpPr>
          <p:spPr>
            <a:xfrm>
              <a:off x="1444128" y="794778"/>
              <a:ext cx="102821" cy="107948"/>
            </a:xfrm>
            <a:custGeom>
              <a:avLst/>
              <a:gdLst>
                <a:gd name="connsiteX0" fmla="*/ 0 w 102821"/>
                <a:gd name="connsiteY0" fmla="*/ 76199 h 107948"/>
                <a:gd name="connsiteX1" fmla="*/ 60032 w 102821"/>
                <a:gd name="connsiteY1" fmla="*/ 53974 h 107948"/>
                <a:gd name="connsiteX2" fmla="*/ 0 w 102821"/>
                <a:gd name="connsiteY2" fmla="*/ 31114 h 107948"/>
                <a:gd name="connsiteX3" fmla="*/ 0 w 102821"/>
                <a:gd name="connsiteY3" fmla="*/ 0 h 107948"/>
                <a:gd name="connsiteX4" fmla="*/ 102821 w 102821"/>
                <a:gd name="connsiteY4" fmla="*/ 41274 h 107948"/>
                <a:gd name="connsiteX5" fmla="*/ 102821 w 102821"/>
                <a:gd name="connsiteY5" fmla="*/ 66674 h 107948"/>
                <a:gd name="connsiteX6" fmla="*/ 0 w 102821"/>
                <a:gd name="connsiteY6" fmla="*/ 107948 h 10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21" h="107948">
                  <a:moveTo>
                    <a:pt x="0" y="76199"/>
                  </a:moveTo>
                  <a:lnTo>
                    <a:pt x="60032" y="53974"/>
                  </a:lnTo>
                  <a:lnTo>
                    <a:pt x="0" y="31114"/>
                  </a:lnTo>
                  <a:lnTo>
                    <a:pt x="0" y="0"/>
                  </a:lnTo>
                  <a:lnTo>
                    <a:pt x="102821" y="41274"/>
                  </a:lnTo>
                  <a:lnTo>
                    <a:pt x="102821" y="66674"/>
                  </a:lnTo>
                  <a:lnTo>
                    <a:pt x="0" y="107948"/>
                  </a:lnTo>
                  <a:close/>
                </a:path>
              </a:pathLst>
            </a:custGeom>
            <a:grpFill/>
            <a:ln w="6369" cap="flat">
              <a:noFill/>
              <a:prstDash val="solid"/>
              <a:miter/>
            </a:ln>
          </p:spPr>
          <p:txBody>
            <a:bodyPr rtlCol="0" anchor="ctr"/>
            <a:lstStyle/>
            <a:p>
              <a:endParaRPr lang="en-US" sz="2053"/>
            </a:p>
          </p:txBody>
        </p:sp>
        <p:sp>
          <p:nvSpPr>
            <p:cNvPr id="13" name="Freeform 12">
              <a:extLst>
                <a:ext uri="{FF2B5EF4-FFF2-40B4-BE49-F238E27FC236}">
                  <a16:creationId xmlns:a16="http://schemas.microsoft.com/office/drawing/2014/main" id="{EE8D40F2-ED17-F4BA-5742-04A1AA3199D3}"/>
                </a:ext>
              </a:extLst>
            </p:cNvPr>
            <p:cNvSpPr/>
            <p:nvPr/>
          </p:nvSpPr>
          <p:spPr>
            <a:xfrm>
              <a:off x="836781" y="909710"/>
              <a:ext cx="1043539" cy="158112"/>
            </a:xfrm>
            <a:custGeom>
              <a:avLst/>
              <a:gdLst>
                <a:gd name="connsiteX0" fmla="*/ 39596 w 1043539"/>
                <a:gd name="connsiteY0" fmla="*/ 158112 h 158112"/>
                <a:gd name="connsiteX1" fmla="*/ 0 w 1043539"/>
                <a:gd name="connsiteY1" fmla="*/ 123188 h 158112"/>
                <a:gd name="connsiteX2" fmla="*/ 0 w 1043539"/>
                <a:gd name="connsiteY2" fmla="*/ 121918 h 158112"/>
                <a:gd name="connsiteX3" fmla="*/ 56839 w 1043539"/>
                <a:gd name="connsiteY3" fmla="*/ 82548 h 158112"/>
                <a:gd name="connsiteX4" fmla="*/ 71528 w 1043539"/>
                <a:gd name="connsiteY4" fmla="*/ 82548 h 158112"/>
                <a:gd name="connsiteX5" fmla="*/ 71528 w 1043539"/>
                <a:gd name="connsiteY5" fmla="*/ 76834 h 158112"/>
                <a:gd name="connsiteX6" fmla="*/ 53646 w 1043539"/>
                <a:gd name="connsiteY6" fmla="*/ 57784 h 158112"/>
                <a:gd name="connsiteX7" fmla="*/ 35764 w 1043539"/>
                <a:gd name="connsiteY7" fmla="*/ 73024 h 158112"/>
                <a:gd name="connsiteX8" fmla="*/ 3832 w 1043539"/>
                <a:gd name="connsiteY8" fmla="*/ 73024 h 158112"/>
                <a:gd name="connsiteX9" fmla="*/ 55562 w 1043539"/>
                <a:gd name="connsiteY9" fmla="*/ 33654 h 158112"/>
                <a:gd name="connsiteX10" fmla="*/ 105376 w 1043539"/>
                <a:gd name="connsiteY10" fmla="*/ 75564 h 158112"/>
                <a:gd name="connsiteX11" fmla="*/ 105376 w 1043539"/>
                <a:gd name="connsiteY11" fmla="*/ 155572 h 158112"/>
                <a:gd name="connsiteX12" fmla="*/ 72805 w 1043539"/>
                <a:gd name="connsiteY12" fmla="*/ 155572 h 158112"/>
                <a:gd name="connsiteX13" fmla="*/ 72805 w 1043539"/>
                <a:gd name="connsiteY13" fmla="*/ 141602 h 158112"/>
                <a:gd name="connsiteX14" fmla="*/ 39596 w 1043539"/>
                <a:gd name="connsiteY14" fmla="*/ 158112 h 158112"/>
                <a:gd name="connsiteX15" fmla="*/ 71528 w 1043539"/>
                <a:gd name="connsiteY15" fmla="*/ 116203 h 158112"/>
                <a:gd name="connsiteX16" fmla="*/ 71528 w 1043539"/>
                <a:gd name="connsiteY16" fmla="*/ 104773 h 158112"/>
                <a:gd name="connsiteX17" fmla="*/ 58116 w 1043539"/>
                <a:gd name="connsiteY17" fmla="*/ 104773 h 158112"/>
                <a:gd name="connsiteX18" fmla="*/ 33209 w 1043539"/>
                <a:gd name="connsiteY18" fmla="*/ 120013 h 158112"/>
                <a:gd name="connsiteX19" fmla="*/ 33209 w 1043539"/>
                <a:gd name="connsiteY19" fmla="*/ 121283 h 158112"/>
                <a:gd name="connsiteX20" fmla="*/ 49814 w 1043539"/>
                <a:gd name="connsiteY20" fmla="*/ 135253 h 158112"/>
                <a:gd name="connsiteX21" fmla="*/ 71528 w 1043539"/>
                <a:gd name="connsiteY21" fmla="*/ 116203 h 158112"/>
                <a:gd name="connsiteX22" fmla="*/ 181374 w 1043539"/>
                <a:gd name="connsiteY22" fmla="*/ 158112 h 158112"/>
                <a:gd name="connsiteX23" fmla="*/ 123896 w 1043539"/>
                <a:gd name="connsiteY23" fmla="*/ 97153 h 158112"/>
                <a:gd name="connsiteX24" fmla="*/ 123896 w 1043539"/>
                <a:gd name="connsiteY24" fmla="*/ 95248 h 158112"/>
                <a:gd name="connsiteX25" fmla="*/ 181374 w 1043539"/>
                <a:gd name="connsiteY25" fmla="*/ 33019 h 158112"/>
                <a:gd name="connsiteX26" fmla="*/ 233743 w 1043539"/>
                <a:gd name="connsiteY26" fmla="*/ 78104 h 158112"/>
                <a:gd name="connsiteX27" fmla="*/ 201811 w 1043539"/>
                <a:gd name="connsiteY27" fmla="*/ 78104 h 158112"/>
                <a:gd name="connsiteX28" fmla="*/ 182013 w 1043539"/>
                <a:gd name="connsiteY28" fmla="*/ 59054 h 158112"/>
                <a:gd name="connsiteX29" fmla="*/ 157744 w 1043539"/>
                <a:gd name="connsiteY29" fmla="*/ 93978 h 158112"/>
                <a:gd name="connsiteX30" fmla="*/ 157744 w 1043539"/>
                <a:gd name="connsiteY30" fmla="*/ 97788 h 158112"/>
                <a:gd name="connsiteX31" fmla="*/ 182013 w 1043539"/>
                <a:gd name="connsiteY31" fmla="*/ 132713 h 158112"/>
                <a:gd name="connsiteX32" fmla="*/ 203727 w 1043539"/>
                <a:gd name="connsiteY32" fmla="*/ 111123 h 158112"/>
                <a:gd name="connsiteX33" fmla="*/ 234381 w 1043539"/>
                <a:gd name="connsiteY33" fmla="*/ 111123 h 158112"/>
                <a:gd name="connsiteX34" fmla="*/ 181374 w 1043539"/>
                <a:gd name="connsiteY34" fmla="*/ 158112 h 158112"/>
                <a:gd name="connsiteX35" fmla="*/ 306548 w 1043539"/>
                <a:gd name="connsiteY35" fmla="*/ 158112 h 158112"/>
                <a:gd name="connsiteX36" fmla="*/ 249070 w 1043539"/>
                <a:gd name="connsiteY36" fmla="*/ 97153 h 158112"/>
                <a:gd name="connsiteX37" fmla="*/ 249070 w 1043539"/>
                <a:gd name="connsiteY37" fmla="*/ 95248 h 158112"/>
                <a:gd name="connsiteX38" fmla="*/ 306548 w 1043539"/>
                <a:gd name="connsiteY38" fmla="*/ 33019 h 158112"/>
                <a:gd name="connsiteX39" fmla="*/ 358916 w 1043539"/>
                <a:gd name="connsiteY39" fmla="*/ 78104 h 158112"/>
                <a:gd name="connsiteX40" fmla="*/ 326984 w 1043539"/>
                <a:gd name="connsiteY40" fmla="*/ 78104 h 158112"/>
                <a:gd name="connsiteX41" fmla="*/ 307186 w 1043539"/>
                <a:gd name="connsiteY41" fmla="*/ 59054 h 158112"/>
                <a:gd name="connsiteX42" fmla="*/ 282918 w 1043539"/>
                <a:gd name="connsiteY42" fmla="*/ 93978 h 158112"/>
                <a:gd name="connsiteX43" fmla="*/ 282918 w 1043539"/>
                <a:gd name="connsiteY43" fmla="*/ 97788 h 158112"/>
                <a:gd name="connsiteX44" fmla="*/ 307186 w 1043539"/>
                <a:gd name="connsiteY44" fmla="*/ 132713 h 158112"/>
                <a:gd name="connsiteX45" fmla="*/ 328900 w 1043539"/>
                <a:gd name="connsiteY45" fmla="*/ 111123 h 158112"/>
                <a:gd name="connsiteX46" fmla="*/ 359555 w 1043539"/>
                <a:gd name="connsiteY46" fmla="*/ 111123 h 158112"/>
                <a:gd name="connsiteX47" fmla="*/ 306548 w 1043539"/>
                <a:gd name="connsiteY47" fmla="*/ 158112 h 158112"/>
                <a:gd name="connsiteX48" fmla="*/ 432360 w 1043539"/>
                <a:gd name="connsiteY48" fmla="*/ 158112 h 158112"/>
                <a:gd name="connsiteX49" fmla="*/ 374244 w 1043539"/>
                <a:gd name="connsiteY49" fmla="*/ 97788 h 158112"/>
                <a:gd name="connsiteX50" fmla="*/ 374244 w 1043539"/>
                <a:gd name="connsiteY50" fmla="*/ 95248 h 158112"/>
                <a:gd name="connsiteX51" fmla="*/ 431721 w 1043539"/>
                <a:gd name="connsiteY51" fmla="*/ 33019 h 158112"/>
                <a:gd name="connsiteX52" fmla="*/ 486645 w 1043539"/>
                <a:gd name="connsiteY52" fmla="*/ 89533 h 158112"/>
                <a:gd name="connsiteX53" fmla="*/ 486645 w 1043539"/>
                <a:gd name="connsiteY53" fmla="*/ 104138 h 158112"/>
                <a:gd name="connsiteX54" fmla="*/ 408092 w 1043539"/>
                <a:gd name="connsiteY54" fmla="*/ 104138 h 158112"/>
                <a:gd name="connsiteX55" fmla="*/ 432999 w 1043539"/>
                <a:gd name="connsiteY55" fmla="*/ 133983 h 158112"/>
                <a:gd name="connsiteX56" fmla="*/ 455351 w 1043539"/>
                <a:gd name="connsiteY56" fmla="*/ 118743 h 158112"/>
                <a:gd name="connsiteX57" fmla="*/ 486645 w 1043539"/>
                <a:gd name="connsiteY57" fmla="*/ 118743 h 158112"/>
                <a:gd name="connsiteX58" fmla="*/ 432360 w 1043539"/>
                <a:gd name="connsiteY58" fmla="*/ 158112 h 158112"/>
                <a:gd name="connsiteX59" fmla="*/ 408730 w 1043539"/>
                <a:gd name="connsiteY59" fmla="*/ 81914 h 158112"/>
                <a:gd name="connsiteX60" fmla="*/ 453435 w 1043539"/>
                <a:gd name="connsiteY60" fmla="*/ 81914 h 158112"/>
                <a:gd name="connsiteX61" fmla="*/ 431083 w 1043539"/>
                <a:gd name="connsiteY61" fmla="*/ 56514 h 158112"/>
                <a:gd name="connsiteX62" fmla="*/ 408730 w 1043539"/>
                <a:gd name="connsiteY62" fmla="*/ 81914 h 158112"/>
                <a:gd name="connsiteX63" fmla="*/ 507081 w 1043539"/>
                <a:gd name="connsiteY63" fmla="*/ 36194 h 158112"/>
                <a:gd name="connsiteX64" fmla="*/ 540929 w 1043539"/>
                <a:gd name="connsiteY64" fmla="*/ 36194 h 158112"/>
                <a:gd name="connsiteX65" fmla="*/ 540929 w 1043539"/>
                <a:gd name="connsiteY65" fmla="*/ 53974 h 158112"/>
                <a:gd name="connsiteX66" fmla="*/ 577332 w 1043539"/>
                <a:gd name="connsiteY66" fmla="*/ 33654 h 158112"/>
                <a:gd name="connsiteX67" fmla="*/ 613734 w 1043539"/>
                <a:gd name="connsiteY67" fmla="*/ 75564 h 158112"/>
                <a:gd name="connsiteX68" fmla="*/ 613734 w 1043539"/>
                <a:gd name="connsiteY68" fmla="*/ 155572 h 158112"/>
                <a:gd name="connsiteX69" fmla="*/ 579886 w 1043539"/>
                <a:gd name="connsiteY69" fmla="*/ 155572 h 158112"/>
                <a:gd name="connsiteX70" fmla="*/ 579886 w 1043539"/>
                <a:gd name="connsiteY70" fmla="*/ 80644 h 158112"/>
                <a:gd name="connsiteX71" fmla="*/ 562004 w 1043539"/>
                <a:gd name="connsiteY71" fmla="*/ 60324 h 158112"/>
                <a:gd name="connsiteX72" fmla="*/ 540929 w 1043539"/>
                <a:gd name="connsiteY72" fmla="*/ 82548 h 158112"/>
                <a:gd name="connsiteX73" fmla="*/ 540929 w 1043539"/>
                <a:gd name="connsiteY73" fmla="*/ 155572 h 158112"/>
                <a:gd name="connsiteX74" fmla="*/ 507081 w 1043539"/>
                <a:gd name="connsiteY74" fmla="*/ 155572 h 158112"/>
                <a:gd name="connsiteX75" fmla="*/ 507081 w 1043539"/>
                <a:gd name="connsiteY75" fmla="*/ 36194 h 158112"/>
                <a:gd name="connsiteX76" fmla="*/ 675682 w 1043539"/>
                <a:gd name="connsiteY76" fmla="*/ 0 h 158112"/>
                <a:gd name="connsiteX77" fmla="*/ 675682 w 1043539"/>
                <a:gd name="connsiteY77" fmla="*/ 36194 h 158112"/>
                <a:gd name="connsiteX78" fmla="*/ 698673 w 1043539"/>
                <a:gd name="connsiteY78" fmla="*/ 36194 h 158112"/>
                <a:gd name="connsiteX79" fmla="*/ 698673 w 1043539"/>
                <a:gd name="connsiteY79" fmla="*/ 60959 h 158112"/>
                <a:gd name="connsiteX80" fmla="*/ 675682 w 1043539"/>
                <a:gd name="connsiteY80" fmla="*/ 60959 h 158112"/>
                <a:gd name="connsiteX81" fmla="*/ 675682 w 1043539"/>
                <a:gd name="connsiteY81" fmla="*/ 117473 h 158112"/>
                <a:gd name="connsiteX82" fmla="*/ 687816 w 1043539"/>
                <a:gd name="connsiteY82" fmla="*/ 130808 h 158112"/>
                <a:gd name="connsiteX83" fmla="*/ 699312 w 1043539"/>
                <a:gd name="connsiteY83" fmla="*/ 128903 h 158112"/>
                <a:gd name="connsiteX84" fmla="*/ 699312 w 1043539"/>
                <a:gd name="connsiteY84" fmla="*/ 154937 h 158112"/>
                <a:gd name="connsiteX85" fmla="*/ 680153 w 1043539"/>
                <a:gd name="connsiteY85" fmla="*/ 157477 h 158112"/>
                <a:gd name="connsiteX86" fmla="*/ 641834 w 1043539"/>
                <a:gd name="connsiteY86" fmla="*/ 121283 h 158112"/>
                <a:gd name="connsiteX87" fmla="*/ 641834 w 1043539"/>
                <a:gd name="connsiteY87" fmla="*/ 60959 h 158112"/>
                <a:gd name="connsiteX88" fmla="*/ 627784 w 1043539"/>
                <a:gd name="connsiteY88" fmla="*/ 60959 h 158112"/>
                <a:gd name="connsiteX89" fmla="*/ 627784 w 1043539"/>
                <a:gd name="connsiteY89" fmla="*/ 36194 h 158112"/>
                <a:gd name="connsiteX90" fmla="*/ 641834 w 1043539"/>
                <a:gd name="connsiteY90" fmla="*/ 36194 h 158112"/>
                <a:gd name="connsiteX91" fmla="*/ 641834 w 1043539"/>
                <a:gd name="connsiteY91" fmla="*/ 13970 h 158112"/>
                <a:gd name="connsiteX92" fmla="*/ 675682 w 1043539"/>
                <a:gd name="connsiteY92" fmla="*/ 0 h 158112"/>
                <a:gd name="connsiteX93" fmla="*/ 825124 w 1043539"/>
                <a:gd name="connsiteY93" fmla="*/ 155572 h 158112"/>
                <a:gd name="connsiteX94" fmla="*/ 791915 w 1043539"/>
                <a:gd name="connsiteY94" fmla="*/ 155572 h 158112"/>
                <a:gd name="connsiteX95" fmla="*/ 791915 w 1043539"/>
                <a:gd name="connsiteY95" fmla="*/ 137792 h 158112"/>
                <a:gd name="connsiteX96" fmla="*/ 756790 w 1043539"/>
                <a:gd name="connsiteY96" fmla="*/ 158112 h 158112"/>
                <a:gd name="connsiteX97" fmla="*/ 719110 w 1043539"/>
                <a:gd name="connsiteY97" fmla="*/ 116838 h 158112"/>
                <a:gd name="connsiteX98" fmla="*/ 719110 w 1043539"/>
                <a:gd name="connsiteY98" fmla="*/ 36194 h 158112"/>
                <a:gd name="connsiteX99" fmla="*/ 752958 w 1043539"/>
                <a:gd name="connsiteY99" fmla="*/ 36194 h 158112"/>
                <a:gd name="connsiteX100" fmla="*/ 752958 w 1043539"/>
                <a:gd name="connsiteY100" fmla="*/ 112393 h 158112"/>
                <a:gd name="connsiteX101" fmla="*/ 770201 w 1043539"/>
                <a:gd name="connsiteY101" fmla="*/ 132713 h 158112"/>
                <a:gd name="connsiteX102" fmla="*/ 791276 w 1043539"/>
                <a:gd name="connsiteY102" fmla="*/ 110488 h 158112"/>
                <a:gd name="connsiteX103" fmla="*/ 791276 w 1043539"/>
                <a:gd name="connsiteY103" fmla="*/ 36194 h 158112"/>
                <a:gd name="connsiteX104" fmla="*/ 825124 w 1043539"/>
                <a:gd name="connsiteY104" fmla="*/ 36194 h 158112"/>
                <a:gd name="connsiteX105" fmla="*/ 825124 w 1043539"/>
                <a:gd name="connsiteY105" fmla="*/ 155572 h 158112"/>
                <a:gd name="connsiteX106" fmla="*/ 850031 w 1043539"/>
                <a:gd name="connsiteY106" fmla="*/ 36194 h 158112"/>
                <a:gd name="connsiteX107" fmla="*/ 883879 w 1043539"/>
                <a:gd name="connsiteY107" fmla="*/ 36194 h 158112"/>
                <a:gd name="connsiteX108" fmla="*/ 883879 w 1043539"/>
                <a:gd name="connsiteY108" fmla="*/ 58419 h 158112"/>
                <a:gd name="connsiteX109" fmla="*/ 920282 w 1043539"/>
                <a:gd name="connsiteY109" fmla="*/ 34924 h 158112"/>
                <a:gd name="connsiteX110" fmla="*/ 920282 w 1043539"/>
                <a:gd name="connsiteY110" fmla="*/ 67944 h 158112"/>
                <a:gd name="connsiteX111" fmla="*/ 883879 w 1043539"/>
                <a:gd name="connsiteY111" fmla="*/ 94613 h 158112"/>
                <a:gd name="connsiteX112" fmla="*/ 883879 w 1043539"/>
                <a:gd name="connsiteY112" fmla="*/ 156207 h 158112"/>
                <a:gd name="connsiteX113" fmla="*/ 850031 w 1043539"/>
                <a:gd name="connsiteY113" fmla="*/ 156207 h 158112"/>
                <a:gd name="connsiteX114" fmla="*/ 850031 w 1043539"/>
                <a:gd name="connsiteY114" fmla="*/ 36194 h 158112"/>
                <a:gd name="connsiteX115" fmla="*/ 988616 w 1043539"/>
                <a:gd name="connsiteY115" fmla="*/ 158112 h 158112"/>
                <a:gd name="connsiteX116" fmla="*/ 930500 w 1043539"/>
                <a:gd name="connsiteY116" fmla="*/ 97788 h 158112"/>
                <a:gd name="connsiteX117" fmla="*/ 930500 w 1043539"/>
                <a:gd name="connsiteY117" fmla="*/ 95248 h 158112"/>
                <a:gd name="connsiteX118" fmla="*/ 987978 w 1043539"/>
                <a:gd name="connsiteY118" fmla="*/ 33019 h 158112"/>
                <a:gd name="connsiteX119" fmla="*/ 1042901 w 1043539"/>
                <a:gd name="connsiteY119" fmla="*/ 89533 h 158112"/>
                <a:gd name="connsiteX120" fmla="*/ 1042901 w 1043539"/>
                <a:gd name="connsiteY120" fmla="*/ 104138 h 158112"/>
                <a:gd name="connsiteX121" fmla="*/ 964987 w 1043539"/>
                <a:gd name="connsiteY121" fmla="*/ 104138 h 158112"/>
                <a:gd name="connsiteX122" fmla="*/ 989894 w 1043539"/>
                <a:gd name="connsiteY122" fmla="*/ 133983 h 158112"/>
                <a:gd name="connsiteX123" fmla="*/ 1012246 w 1043539"/>
                <a:gd name="connsiteY123" fmla="*/ 118743 h 158112"/>
                <a:gd name="connsiteX124" fmla="*/ 1043540 w 1043539"/>
                <a:gd name="connsiteY124" fmla="*/ 118743 h 158112"/>
                <a:gd name="connsiteX125" fmla="*/ 988616 w 1043539"/>
                <a:gd name="connsiteY125" fmla="*/ 158112 h 158112"/>
                <a:gd name="connsiteX126" fmla="*/ 964348 w 1043539"/>
                <a:gd name="connsiteY126" fmla="*/ 81914 h 158112"/>
                <a:gd name="connsiteX127" fmla="*/ 1009692 w 1043539"/>
                <a:gd name="connsiteY127" fmla="*/ 81914 h 158112"/>
                <a:gd name="connsiteX128" fmla="*/ 987339 w 1043539"/>
                <a:gd name="connsiteY128" fmla="*/ 56514 h 158112"/>
                <a:gd name="connsiteX129" fmla="*/ 964348 w 1043539"/>
                <a:gd name="connsiteY129" fmla="*/ 81914 h 15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043539" h="158112">
                  <a:moveTo>
                    <a:pt x="39596" y="158112"/>
                  </a:moveTo>
                  <a:cubicBezTo>
                    <a:pt x="17882" y="158112"/>
                    <a:pt x="0" y="147317"/>
                    <a:pt x="0" y="123188"/>
                  </a:cubicBezTo>
                  <a:lnTo>
                    <a:pt x="0" y="121918"/>
                  </a:lnTo>
                  <a:cubicBezTo>
                    <a:pt x="0" y="92708"/>
                    <a:pt x="25546" y="82548"/>
                    <a:pt x="56839" y="82548"/>
                  </a:cubicBezTo>
                  <a:lnTo>
                    <a:pt x="71528" y="82548"/>
                  </a:lnTo>
                  <a:lnTo>
                    <a:pt x="71528" y="76834"/>
                  </a:lnTo>
                  <a:cubicBezTo>
                    <a:pt x="71528" y="64769"/>
                    <a:pt x="66419" y="57784"/>
                    <a:pt x="53646" y="57784"/>
                  </a:cubicBezTo>
                  <a:cubicBezTo>
                    <a:pt x="42150" y="57784"/>
                    <a:pt x="36403" y="64134"/>
                    <a:pt x="35764" y="73024"/>
                  </a:cubicBezTo>
                  <a:lnTo>
                    <a:pt x="3832" y="73024"/>
                  </a:lnTo>
                  <a:cubicBezTo>
                    <a:pt x="6386" y="46354"/>
                    <a:pt x="27462" y="33654"/>
                    <a:pt x="55562" y="33654"/>
                  </a:cubicBezTo>
                  <a:cubicBezTo>
                    <a:pt x="84301" y="33654"/>
                    <a:pt x="105376" y="45719"/>
                    <a:pt x="105376" y="75564"/>
                  </a:cubicBezTo>
                  <a:lnTo>
                    <a:pt x="105376" y="155572"/>
                  </a:lnTo>
                  <a:lnTo>
                    <a:pt x="72805" y="155572"/>
                  </a:lnTo>
                  <a:lnTo>
                    <a:pt x="72805" y="141602"/>
                  </a:lnTo>
                  <a:cubicBezTo>
                    <a:pt x="66419" y="150492"/>
                    <a:pt x="55562" y="158112"/>
                    <a:pt x="39596" y="158112"/>
                  </a:cubicBezTo>
                  <a:close/>
                  <a:moveTo>
                    <a:pt x="71528" y="116203"/>
                  </a:moveTo>
                  <a:lnTo>
                    <a:pt x="71528" y="104773"/>
                  </a:lnTo>
                  <a:lnTo>
                    <a:pt x="58116" y="104773"/>
                  </a:lnTo>
                  <a:cubicBezTo>
                    <a:pt x="41512" y="104773"/>
                    <a:pt x="33209" y="109218"/>
                    <a:pt x="33209" y="120013"/>
                  </a:cubicBezTo>
                  <a:lnTo>
                    <a:pt x="33209" y="121283"/>
                  </a:lnTo>
                  <a:cubicBezTo>
                    <a:pt x="33209" y="129538"/>
                    <a:pt x="38318" y="135253"/>
                    <a:pt x="49814" y="135253"/>
                  </a:cubicBezTo>
                  <a:cubicBezTo>
                    <a:pt x="61310" y="134618"/>
                    <a:pt x="71528" y="128268"/>
                    <a:pt x="71528" y="116203"/>
                  </a:cubicBezTo>
                  <a:close/>
                  <a:moveTo>
                    <a:pt x="181374" y="158112"/>
                  </a:moveTo>
                  <a:cubicBezTo>
                    <a:pt x="148165" y="158112"/>
                    <a:pt x="123896" y="137792"/>
                    <a:pt x="123896" y="97153"/>
                  </a:cubicBezTo>
                  <a:lnTo>
                    <a:pt x="123896" y="95248"/>
                  </a:lnTo>
                  <a:cubicBezTo>
                    <a:pt x="123896" y="54609"/>
                    <a:pt x="149442" y="33019"/>
                    <a:pt x="181374" y="33019"/>
                  </a:cubicBezTo>
                  <a:cubicBezTo>
                    <a:pt x="208836" y="33019"/>
                    <a:pt x="231188" y="46989"/>
                    <a:pt x="233743" y="78104"/>
                  </a:cubicBezTo>
                  <a:lnTo>
                    <a:pt x="201811" y="78104"/>
                  </a:lnTo>
                  <a:cubicBezTo>
                    <a:pt x="199895" y="66674"/>
                    <a:pt x="193508" y="59054"/>
                    <a:pt x="182013" y="59054"/>
                  </a:cubicBezTo>
                  <a:cubicBezTo>
                    <a:pt x="167963" y="59054"/>
                    <a:pt x="157744" y="70484"/>
                    <a:pt x="157744" y="93978"/>
                  </a:cubicBezTo>
                  <a:lnTo>
                    <a:pt x="157744" y="97788"/>
                  </a:lnTo>
                  <a:cubicBezTo>
                    <a:pt x="157744" y="121918"/>
                    <a:pt x="166685" y="132713"/>
                    <a:pt x="182013" y="132713"/>
                  </a:cubicBezTo>
                  <a:cubicBezTo>
                    <a:pt x="193508" y="132713"/>
                    <a:pt x="201811" y="124458"/>
                    <a:pt x="203727" y="111123"/>
                  </a:cubicBezTo>
                  <a:lnTo>
                    <a:pt x="234381" y="111123"/>
                  </a:lnTo>
                  <a:cubicBezTo>
                    <a:pt x="232465" y="139062"/>
                    <a:pt x="213945" y="158112"/>
                    <a:pt x="181374" y="158112"/>
                  </a:cubicBezTo>
                  <a:close/>
                  <a:moveTo>
                    <a:pt x="306548" y="158112"/>
                  </a:moveTo>
                  <a:cubicBezTo>
                    <a:pt x="273338" y="158112"/>
                    <a:pt x="249070" y="137792"/>
                    <a:pt x="249070" y="97153"/>
                  </a:cubicBezTo>
                  <a:lnTo>
                    <a:pt x="249070" y="95248"/>
                  </a:lnTo>
                  <a:cubicBezTo>
                    <a:pt x="249070" y="54609"/>
                    <a:pt x="274616" y="33019"/>
                    <a:pt x="306548" y="33019"/>
                  </a:cubicBezTo>
                  <a:cubicBezTo>
                    <a:pt x="334009" y="33019"/>
                    <a:pt x="356362" y="46989"/>
                    <a:pt x="358916" y="78104"/>
                  </a:cubicBezTo>
                  <a:lnTo>
                    <a:pt x="326984" y="78104"/>
                  </a:lnTo>
                  <a:cubicBezTo>
                    <a:pt x="325068" y="66674"/>
                    <a:pt x="318682" y="59054"/>
                    <a:pt x="307186" y="59054"/>
                  </a:cubicBezTo>
                  <a:cubicBezTo>
                    <a:pt x="293136" y="59054"/>
                    <a:pt x="282918" y="70484"/>
                    <a:pt x="282918" y="93978"/>
                  </a:cubicBezTo>
                  <a:lnTo>
                    <a:pt x="282918" y="97788"/>
                  </a:lnTo>
                  <a:cubicBezTo>
                    <a:pt x="282918" y="121918"/>
                    <a:pt x="291859" y="132713"/>
                    <a:pt x="307186" y="132713"/>
                  </a:cubicBezTo>
                  <a:cubicBezTo>
                    <a:pt x="318682" y="132713"/>
                    <a:pt x="326984" y="124458"/>
                    <a:pt x="328900" y="111123"/>
                  </a:cubicBezTo>
                  <a:lnTo>
                    <a:pt x="359555" y="111123"/>
                  </a:lnTo>
                  <a:cubicBezTo>
                    <a:pt x="357639" y="139062"/>
                    <a:pt x="339118" y="158112"/>
                    <a:pt x="306548" y="158112"/>
                  </a:cubicBezTo>
                  <a:close/>
                  <a:moveTo>
                    <a:pt x="432360" y="158112"/>
                  </a:moveTo>
                  <a:cubicBezTo>
                    <a:pt x="397873" y="158112"/>
                    <a:pt x="374244" y="137792"/>
                    <a:pt x="374244" y="97788"/>
                  </a:cubicBezTo>
                  <a:lnTo>
                    <a:pt x="374244" y="95248"/>
                  </a:lnTo>
                  <a:cubicBezTo>
                    <a:pt x="374244" y="55244"/>
                    <a:pt x="399151" y="33019"/>
                    <a:pt x="431721" y="33019"/>
                  </a:cubicBezTo>
                  <a:cubicBezTo>
                    <a:pt x="461738" y="33019"/>
                    <a:pt x="486645" y="49529"/>
                    <a:pt x="486645" y="89533"/>
                  </a:cubicBezTo>
                  <a:lnTo>
                    <a:pt x="486645" y="104138"/>
                  </a:lnTo>
                  <a:lnTo>
                    <a:pt x="408092" y="104138"/>
                  </a:lnTo>
                  <a:cubicBezTo>
                    <a:pt x="409369" y="125728"/>
                    <a:pt x="418949" y="133983"/>
                    <a:pt x="432999" y="133983"/>
                  </a:cubicBezTo>
                  <a:cubicBezTo>
                    <a:pt x="445772" y="133983"/>
                    <a:pt x="452797" y="126998"/>
                    <a:pt x="455351" y="118743"/>
                  </a:cubicBezTo>
                  <a:lnTo>
                    <a:pt x="486645" y="118743"/>
                  </a:lnTo>
                  <a:cubicBezTo>
                    <a:pt x="482813" y="140967"/>
                    <a:pt x="463653" y="158112"/>
                    <a:pt x="432360" y="158112"/>
                  </a:cubicBezTo>
                  <a:close/>
                  <a:moveTo>
                    <a:pt x="408730" y="81914"/>
                  </a:moveTo>
                  <a:lnTo>
                    <a:pt x="453435" y="81914"/>
                  </a:lnTo>
                  <a:cubicBezTo>
                    <a:pt x="452797" y="64134"/>
                    <a:pt x="444494" y="56514"/>
                    <a:pt x="431083" y="56514"/>
                  </a:cubicBezTo>
                  <a:cubicBezTo>
                    <a:pt x="420865" y="57149"/>
                    <a:pt x="411285" y="62864"/>
                    <a:pt x="408730" y="81914"/>
                  </a:cubicBezTo>
                  <a:close/>
                  <a:moveTo>
                    <a:pt x="507081" y="36194"/>
                  </a:moveTo>
                  <a:lnTo>
                    <a:pt x="540929" y="36194"/>
                  </a:lnTo>
                  <a:lnTo>
                    <a:pt x="540929" y="53974"/>
                  </a:lnTo>
                  <a:cubicBezTo>
                    <a:pt x="546677" y="42544"/>
                    <a:pt x="558811" y="33654"/>
                    <a:pt x="577332" y="33654"/>
                  </a:cubicBezTo>
                  <a:cubicBezTo>
                    <a:pt x="599045" y="33654"/>
                    <a:pt x="613734" y="46989"/>
                    <a:pt x="613734" y="75564"/>
                  </a:cubicBezTo>
                  <a:lnTo>
                    <a:pt x="613734" y="155572"/>
                  </a:lnTo>
                  <a:lnTo>
                    <a:pt x="579886" y="155572"/>
                  </a:lnTo>
                  <a:lnTo>
                    <a:pt x="579886" y="80644"/>
                  </a:lnTo>
                  <a:cubicBezTo>
                    <a:pt x="579886" y="66674"/>
                    <a:pt x="574138" y="60324"/>
                    <a:pt x="562004" y="60324"/>
                  </a:cubicBezTo>
                  <a:cubicBezTo>
                    <a:pt x="550509" y="60324"/>
                    <a:pt x="540929" y="67309"/>
                    <a:pt x="540929" y="82548"/>
                  </a:cubicBezTo>
                  <a:lnTo>
                    <a:pt x="540929" y="155572"/>
                  </a:lnTo>
                  <a:lnTo>
                    <a:pt x="507081" y="155572"/>
                  </a:lnTo>
                  <a:lnTo>
                    <a:pt x="507081" y="36194"/>
                  </a:lnTo>
                  <a:close/>
                  <a:moveTo>
                    <a:pt x="675682" y="0"/>
                  </a:moveTo>
                  <a:lnTo>
                    <a:pt x="675682" y="36194"/>
                  </a:lnTo>
                  <a:lnTo>
                    <a:pt x="698673" y="36194"/>
                  </a:lnTo>
                  <a:lnTo>
                    <a:pt x="698673" y="60959"/>
                  </a:lnTo>
                  <a:lnTo>
                    <a:pt x="675682" y="60959"/>
                  </a:lnTo>
                  <a:lnTo>
                    <a:pt x="675682" y="117473"/>
                  </a:lnTo>
                  <a:cubicBezTo>
                    <a:pt x="675682" y="126363"/>
                    <a:pt x="679514" y="130808"/>
                    <a:pt x="687816" y="130808"/>
                  </a:cubicBezTo>
                  <a:cubicBezTo>
                    <a:pt x="692926" y="130808"/>
                    <a:pt x="696119" y="130173"/>
                    <a:pt x="699312" y="128903"/>
                  </a:cubicBezTo>
                  <a:lnTo>
                    <a:pt x="699312" y="154937"/>
                  </a:lnTo>
                  <a:cubicBezTo>
                    <a:pt x="695480" y="156207"/>
                    <a:pt x="688455" y="157477"/>
                    <a:pt x="680153" y="157477"/>
                  </a:cubicBezTo>
                  <a:cubicBezTo>
                    <a:pt x="653969" y="157477"/>
                    <a:pt x="641834" y="145412"/>
                    <a:pt x="641834" y="121283"/>
                  </a:cubicBezTo>
                  <a:lnTo>
                    <a:pt x="641834" y="60959"/>
                  </a:lnTo>
                  <a:lnTo>
                    <a:pt x="627784" y="60959"/>
                  </a:lnTo>
                  <a:lnTo>
                    <a:pt x="627784" y="36194"/>
                  </a:lnTo>
                  <a:lnTo>
                    <a:pt x="641834" y="36194"/>
                  </a:lnTo>
                  <a:lnTo>
                    <a:pt x="641834" y="13970"/>
                  </a:lnTo>
                  <a:lnTo>
                    <a:pt x="675682" y="0"/>
                  </a:lnTo>
                  <a:close/>
                  <a:moveTo>
                    <a:pt x="825124" y="155572"/>
                  </a:moveTo>
                  <a:lnTo>
                    <a:pt x="791915" y="155572"/>
                  </a:lnTo>
                  <a:lnTo>
                    <a:pt x="791915" y="137792"/>
                  </a:lnTo>
                  <a:cubicBezTo>
                    <a:pt x="786167" y="149222"/>
                    <a:pt x="774672" y="158112"/>
                    <a:pt x="756790" y="158112"/>
                  </a:cubicBezTo>
                  <a:cubicBezTo>
                    <a:pt x="735076" y="158112"/>
                    <a:pt x="719110" y="144777"/>
                    <a:pt x="719110" y="116838"/>
                  </a:cubicBezTo>
                  <a:lnTo>
                    <a:pt x="719110" y="36194"/>
                  </a:lnTo>
                  <a:lnTo>
                    <a:pt x="752958" y="36194"/>
                  </a:lnTo>
                  <a:lnTo>
                    <a:pt x="752958" y="112393"/>
                  </a:lnTo>
                  <a:cubicBezTo>
                    <a:pt x="752958" y="126363"/>
                    <a:pt x="758706" y="132713"/>
                    <a:pt x="770201" y="132713"/>
                  </a:cubicBezTo>
                  <a:cubicBezTo>
                    <a:pt x="781697" y="132713"/>
                    <a:pt x="791276" y="125093"/>
                    <a:pt x="791276" y="110488"/>
                  </a:cubicBezTo>
                  <a:lnTo>
                    <a:pt x="791276" y="36194"/>
                  </a:lnTo>
                  <a:lnTo>
                    <a:pt x="825124" y="36194"/>
                  </a:lnTo>
                  <a:lnTo>
                    <a:pt x="825124" y="155572"/>
                  </a:lnTo>
                  <a:close/>
                  <a:moveTo>
                    <a:pt x="850031" y="36194"/>
                  </a:moveTo>
                  <a:lnTo>
                    <a:pt x="883879" y="36194"/>
                  </a:lnTo>
                  <a:lnTo>
                    <a:pt x="883879" y="58419"/>
                  </a:lnTo>
                  <a:cubicBezTo>
                    <a:pt x="890904" y="42544"/>
                    <a:pt x="902400" y="34924"/>
                    <a:pt x="920282" y="34924"/>
                  </a:cubicBezTo>
                  <a:lnTo>
                    <a:pt x="920282" y="67944"/>
                  </a:lnTo>
                  <a:cubicBezTo>
                    <a:pt x="897291" y="67944"/>
                    <a:pt x="883879" y="74929"/>
                    <a:pt x="883879" y="94613"/>
                  </a:cubicBezTo>
                  <a:lnTo>
                    <a:pt x="883879" y="156207"/>
                  </a:lnTo>
                  <a:lnTo>
                    <a:pt x="850031" y="156207"/>
                  </a:lnTo>
                  <a:lnTo>
                    <a:pt x="850031" y="36194"/>
                  </a:lnTo>
                  <a:close/>
                  <a:moveTo>
                    <a:pt x="988616" y="158112"/>
                  </a:moveTo>
                  <a:cubicBezTo>
                    <a:pt x="954130" y="158112"/>
                    <a:pt x="930500" y="137792"/>
                    <a:pt x="930500" y="97788"/>
                  </a:cubicBezTo>
                  <a:lnTo>
                    <a:pt x="930500" y="95248"/>
                  </a:lnTo>
                  <a:cubicBezTo>
                    <a:pt x="930500" y="55244"/>
                    <a:pt x="955407" y="33019"/>
                    <a:pt x="987978" y="33019"/>
                  </a:cubicBezTo>
                  <a:cubicBezTo>
                    <a:pt x="1017994" y="33019"/>
                    <a:pt x="1042901" y="49529"/>
                    <a:pt x="1042901" y="89533"/>
                  </a:cubicBezTo>
                  <a:lnTo>
                    <a:pt x="1042901" y="104138"/>
                  </a:lnTo>
                  <a:lnTo>
                    <a:pt x="964987" y="104138"/>
                  </a:lnTo>
                  <a:cubicBezTo>
                    <a:pt x="966264" y="125728"/>
                    <a:pt x="975844" y="133983"/>
                    <a:pt x="989894" y="133983"/>
                  </a:cubicBezTo>
                  <a:cubicBezTo>
                    <a:pt x="1002667" y="133983"/>
                    <a:pt x="1009692" y="126998"/>
                    <a:pt x="1012246" y="118743"/>
                  </a:cubicBezTo>
                  <a:lnTo>
                    <a:pt x="1043540" y="118743"/>
                  </a:lnTo>
                  <a:cubicBezTo>
                    <a:pt x="1038431" y="140967"/>
                    <a:pt x="1019910" y="158112"/>
                    <a:pt x="988616" y="158112"/>
                  </a:cubicBezTo>
                  <a:close/>
                  <a:moveTo>
                    <a:pt x="964348" y="81914"/>
                  </a:moveTo>
                  <a:lnTo>
                    <a:pt x="1009692" y="81914"/>
                  </a:lnTo>
                  <a:cubicBezTo>
                    <a:pt x="1009053" y="64134"/>
                    <a:pt x="1000751" y="56514"/>
                    <a:pt x="987339" y="56514"/>
                  </a:cubicBezTo>
                  <a:cubicBezTo>
                    <a:pt x="977121" y="57149"/>
                    <a:pt x="967541" y="62864"/>
                    <a:pt x="964348" y="81914"/>
                  </a:cubicBezTo>
                  <a:close/>
                </a:path>
              </a:pathLst>
            </a:custGeom>
            <a:grpFill/>
            <a:ln w="6369" cap="flat">
              <a:noFill/>
              <a:prstDash val="solid"/>
              <a:miter/>
            </a:ln>
          </p:spPr>
          <p:txBody>
            <a:bodyPr rtlCol="0" anchor="ctr"/>
            <a:lstStyle/>
            <a:p>
              <a:endParaRPr lang="en-US" sz="2053"/>
            </a:p>
          </p:txBody>
        </p:sp>
      </p:grpSp>
    </p:spTree>
    <p:extLst>
      <p:ext uri="{BB962C8B-B14F-4D97-AF65-F5344CB8AC3E}">
        <p14:creationId xmlns:p14="http://schemas.microsoft.com/office/powerpoint/2010/main" val="2584051297"/>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67" r:id="rId6"/>
    <p:sldLayoutId id="2147483668" r:id="rId7"/>
    <p:sldLayoutId id="2147483669" r:id="rId8"/>
  </p:sldLayoutIdLst>
  <p:hf sldNum="0" hdr="0" ftr="0" dt="0"/>
  <p:txStyles>
    <p:titleStyle>
      <a:lvl1pPr algn="l" defTabSz="457192" rtl="0" eaLnBrk="1" latinLnBrk="0" hangingPunct="1">
        <a:spcBef>
          <a:spcPct val="0"/>
        </a:spcBef>
        <a:buNone/>
        <a:defRPr sz="3200" b="1" i="0" kern="1200">
          <a:solidFill>
            <a:srgbClr val="008555"/>
          </a:solidFill>
          <a:latin typeface="Trebuchet MS"/>
          <a:ea typeface="+mj-ea"/>
          <a:cs typeface="Arial"/>
        </a:defRPr>
      </a:lvl1pPr>
    </p:titleStyle>
    <p:body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92" rtl="0" eaLnBrk="1" latinLnBrk="0" hangingPunct="1">
        <a:defRPr sz="1800" kern="1200">
          <a:solidFill>
            <a:schemeClr val="tx1"/>
          </a:solidFill>
          <a:latin typeface="+mn-lt"/>
          <a:ea typeface="+mn-ea"/>
          <a:cs typeface="+mn-cs"/>
        </a:defRPr>
      </a:lvl1pPr>
      <a:lvl2pPr marL="457192" algn="l" defTabSz="457192" rtl="0" eaLnBrk="1" latinLnBrk="0" hangingPunct="1">
        <a:defRPr sz="1800" kern="1200">
          <a:solidFill>
            <a:schemeClr val="tx1"/>
          </a:solidFill>
          <a:latin typeface="+mn-lt"/>
          <a:ea typeface="+mn-ea"/>
          <a:cs typeface="+mn-cs"/>
        </a:defRPr>
      </a:lvl2pPr>
      <a:lvl3pPr marL="914384" algn="l" defTabSz="457192" rtl="0" eaLnBrk="1" latinLnBrk="0" hangingPunct="1">
        <a:defRPr sz="1800" kern="1200">
          <a:solidFill>
            <a:schemeClr val="tx1"/>
          </a:solidFill>
          <a:latin typeface="+mn-lt"/>
          <a:ea typeface="+mn-ea"/>
          <a:cs typeface="+mn-cs"/>
        </a:defRPr>
      </a:lvl3pPr>
      <a:lvl4pPr marL="1371576" algn="l" defTabSz="457192" rtl="0" eaLnBrk="1" latinLnBrk="0" hangingPunct="1">
        <a:defRPr sz="1800" kern="1200">
          <a:solidFill>
            <a:schemeClr val="tx1"/>
          </a:solidFill>
          <a:latin typeface="+mn-lt"/>
          <a:ea typeface="+mn-ea"/>
          <a:cs typeface="+mn-cs"/>
        </a:defRPr>
      </a:lvl4pPr>
      <a:lvl5pPr marL="1828768" algn="l" defTabSz="457192" rtl="0" eaLnBrk="1" latinLnBrk="0" hangingPunct="1">
        <a:defRPr sz="1800" kern="1200">
          <a:solidFill>
            <a:schemeClr val="tx1"/>
          </a:solidFill>
          <a:latin typeface="+mn-lt"/>
          <a:ea typeface="+mn-ea"/>
          <a:cs typeface="+mn-cs"/>
        </a:defRPr>
      </a:lvl5pPr>
      <a:lvl6pPr marL="2285960" algn="l" defTabSz="457192" rtl="0" eaLnBrk="1" latinLnBrk="0" hangingPunct="1">
        <a:defRPr sz="1800" kern="1200">
          <a:solidFill>
            <a:schemeClr val="tx1"/>
          </a:solidFill>
          <a:latin typeface="+mn-lt"/>
          <a:ea typeface="+mn-ea"/>
          <a:cs typeface="+mn-cs"/>
        </a:defRPr>
      </a:lvl6pPr>
      <a:lvl7pPr marL="2743152" algn="l" defTabSz="457192" rtl="0" eaLnBrk="1" latinLnBrk="0" hangingPunct="1">
        <a:defRPr sz="1800" kern="1200">
          <a:solidFill>
            <a:schemeClr val="tx1"/>
          </a:solidFill>
          <a:latin typeface="+mn-lt"/>
          <a:ea typeface="+mn-ea"/>
          <a:cs typeface="+mn-cs"/>
        </a:defRPr>
      </a:lvl7pPr>
      <a:lvl8pPr marL="3200344" algn="l" defTabSz="457192" rtl="0" eaLnBrk="1" latinLnBrk="0" hangingPunct="1">
        <a:defRPr sz="1800" kern="1200">
          <a:solidFill>
            <a:schemeClr val="tx1"/>
          </a:solidFill>
          <a:latin typeface="+mn-lt"/>
          <a:ea typeface="+mn-ea"/>
          <a:cs typeface="+mn-cs"/>
        </a:defRPr>
      </a:lvl8pPr>
      <a:lvl9pPr marL="3657536" algn="l" defTabSz="45719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34">
          <p15:clr>
            <a:srgbClr val="F26B43"/>
          </p15:clr>
        </p15:guide>
        <p15:guide id="4" pos="7446">
          <p15:clr>
            <a:srgbClr val="F26B43"/>
          </p15:clr>
        </p15:guide>
        <p15:guide id="5" orient="horz" pos="210">
          <p15:clr>
            <a:srgbClr val="F26B43"/>
          </p15:clr>
        </p15:guide>
        <p15:guide id="6" orient="horz" pos="4085">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1.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10" Type="http://schemas.microsoft.com/office/2007/relationships/hdphoto" Target="../media/hdphoto2.wdp"/><Relationship Id="rId4" Type="http://schemas.openxmlformats.org/officeDocument/2006/relationships/image" Target="../media/image4.png"/><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3" Type="http://schemas.openxmlformats.org/officeDocument/2006/relationships/image" Target="../media/image24.svg"/><Relationship Id="rId7" Type="http://schemas.openxmlformats.org/officeDocument/2006/relationships/image" Target="../media/image28.svg"/><Relationship Id="rId12" Type="http://schemas.openxmlformats.org/officeDocument/2006/relationships/image" Target="../media/image33.png"/><Relationship Id="rId2"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26.sv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hyperlink" Target="https://agent-tool-game.streamlit.app/" TargetMode="Externa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svg"/><Relationship Id="rId18" Type="http://schemas.openxmlformats.org/officeDocument/2006/relationships/image" Target="../media/image52.png"/><Relationship Id="rId26" Type="http://schemas.openxmlformats.org/officeDocument/2006/relationships/image" Target="../media/image60.png"/><Relationship Id="rId3" Type="http://schemas.openxmlformats.org/officeDocument/2006/relationships/image" Target="../media/image37.svg"/><Relationship Id="rId21" Type="http://schemas.openxmlformats.org/officeDocument/2006/relationships/image" Target="../media/image55.svg"/><Relationship Id="rId7" Type="http://schemas.openxmlformats.org/officeDocument/2006/relationships/image" Target="../media/image41.svg"/><Relationship Id="rId12" Type="http://schemas.openxmlformats.org/officeDocument/2006/relationships/image" Target="../media/image46.png"/><Relationship Id="rId17" Type="http://schemas.openxmlformats.org/officeDocument/2006/relationships/image" Target="../media/image51.svg"/><Relationship Id="rId25" Type="http://schemas.openxmlformats.org/officeDocument/2006/relationships/image" Target="../media/image59.svg"/><Relationship Id="rId2" Type="http://schemas.openxmlformats.org/officeDocument/2006/relationships/image" Target="../media/image36.png"/><Relationship Id="rId16" Type="http://schemas.openxmlformats.org/officeDocument/2006/relationships/image" Target="../media/image50.png"/><Relationship Id="rId20" Type="http://schemas.openxmlformats.org/officeDocument/2006/relationships/image" Target="../media/image54.png"/><Relationship Id="rId1" Type="http://schemas.openxmlformats.org/officeDocument/2006/relationships/slideLayout" Target="../slideLayouts/slideLayout2.xml"/><Relationship Id="rId6" Type="http://schemas.openxmlformats.org/officeDocument/2006/relationships/image" Target="../media/image40.png"/><Relationship Id="rId11" Type="http://schemas.openxmlformats.org/officeDocument/2006/relationships/image" Target="../media/image45.svg"/><Relationship Id="rId24" Type="http://schemas.openxmlformats.org/officeDocument/2006/relationships/image" Target="../media/image58.png"/><Relationship Id="rId5" Type="http://schemas.openxmlformats.org/officeDocument/2006/relationships/image" Target="../media/image39.svg"/><Relationship Id="rId15" Type="http://schemas.openxmlformats.org/officeDocument/2006/relationships/image" Target="../media/image49.svg"/><Relationship Id="rId23" Type="http://schemas.openxmlformats.org/officeDocument/2006/relationships/image" Target="../media/image57.svg"/><Relationship Id="rId10" Type="http://schemas.openxmlformats.org/officeDocument/2006/relationships/image" Target="../media/image44.png"/><Relationship Id="rId19" Type="http://schemas.openxmlformats.org/officeDocument/2006/relationships/image" Target="../media/image53.svg"/><Relationship Id="rId4" Type="http://schemas.openxmlformats.org/officeDocument/2006/relationships/image" Target="../media/image38.png"/><Relationship Id="rId9" Type="http://schemas.openxmlformats.org/officeDocument/2006/relationships/image" Target="../media/image43.svg"/><Relationship Id="rId14" Type="http://schemas.openxmlformats.org/officeDocument/2006/relationships/image" Target="../media/image48.png"/><Relationship Id="rId22" Type="http://schemas.openxmlformats.org/officeDocument/2006/relationships/image" Target="../media/image56.png"/><Relationship Id="rId27" Type="http://schemas.openxmlformats.org/officeDocument/2006/relationships/image" Target="../media/image61.svg"/></Relationships>
</file>

<file path=ppt/slides/_rels/slide2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66.svg"/><Relationship Id="rId5" Type="http://schemas.openxmlformats.org/officeDocument/2006/relationships/image" Target="../media/image65.png"/><Relationship Id="rId10" Type="http://schemas.openxmlformats.org/officeDocument/2006/relationships/image" Target="../media/image70.svg"/><Relationship Id="rId4" Type="http://schemas.openxmlformats.org/officeDocument/2006/relationships/image" Target="../media/image64.svg"/><Relationship Id="rId9" Type="http://schemas.openxmlformats.org/officeDocument/2006/relationships/image" Target="../media/image69.png"/></Relationships>
</file>

<file path=ppt/slides/_rels/slide27.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svg"/><Relationship Id="rId7" Type="http://schemas.openxmlformats.org/officeDocument/2006/relationships/image" Target="../media/image76.svg"/><Relationship Id="rId2" Type="http://schemas.openxmlformats.org/officeDocument/2006/relationships/image" Target="../media/image71.png"/><Relationship Id="rId1" Type="http://schemas.openxmlformats.org/officeDocument/2006/relationships/slideLayout" Target="../slideLayouts/slideLayout1.xml"/><Relationship Id="rId6" Type="http://schemas.openxmlformats.org/officeDocument/2006/relationships/image" Target="../media/image75.png"/><Relationship Id="rId11" Type="http://schemas.openxmlformats.org/officeDocument/2006/relationships/image" Target="../media/image80.svg"/><Relationship Id="rId5" Type="http://schemas.openxmlformats.org/officeDocument/2006/relationships/image" Target="../media/image74.sv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svg"/></Relationships>
</file>

<file path=ppt/slides/_rels/slide28.xml.rels><?xml version="1.0" encoding="UTF-8" standalone="yes"?>
<Relationships xmlns="http://schemas.openxmlformats.org/package/2006/relationships"><Relationship Id="rId8" Type="http://schemas.openxmlformats.org/officeDocument/2006/relationships/image" Target="../media/image76.svg"/><Relationship Id="rId13" Type="http://schemas.openxmlformats.org/officeDocument/2006/relationships/image" Target="../media/image82.png"/><Relationship Id="rId3" Type="http://schemas.openxmlformats.org/officeDocument/2006/relationships/image" Target="../media/image71.png"/><Relationship Id="rId7" Type="http://schemas.openxmlformats.org/officeDocument/2006/relationships/image" Target="../media/image75.png"/><Relationship Id="rId12" Type="http://schemas.openxmlformats.org/officeDocument/2006/relationships/image" Target="../media/image80.svg"/><Relationship Id="rId2" Type="http://schemas.openxmlformats.org/officeDocument/2006/relationships/image" Target="../media/image81.png"/><Relationship Id="rId1" Type="http://schemas.openxmlformats.org/officeDocument/2006/relationships/slideLayout" Target="../slideLayouts/slideLayout1.xml"/><Relationship Id="rId6" Type="http://schemas.openxmlformats.org/officeDocument/2006/relationships/image" Target="../media/image74.svg"/><Relationship Id="rId11" Type="http://schemas.openxmlformats.org/officeDocument/2006/relationships/image" Target="../media/image79.png"/><Relationship Id="rId5" Type="http://schemas.openxmlformats.org/officeDocument/2006/relationships/image" Target="../media/image73.png"/><Relationship Id="rId10" Type="http://schemas.openxmlformats.org/officeDocument/2006/relationships/image" Target="../media/image78.svg"/><Relationship Id="rId4" Type="http://schemas.openxmlformats.org/officeDocument/2006/relationships/image" Target="../media/image72.svg"/><Relationship Id="rId9" Type="http://schemas.openxmlformats.org/officeDocument/2006/relationships/image" Target="../media/image77.png"/><Relationship Id="rId14" Type="http://schemas.openxmlformats.org/officeDocument/2006/relationships/image" Target="../media/image83.png"/></Relationships>
</file>

<file path=ppt/slides/_rels/slide29.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hyperlink" Target="https://arxiv.org/pdf/2206.07682" TargetMode="External"/><Relationship Id="rId2" Type="http://schemas.openxmlformats.org/officeDocument/2006/relationships/hyperlink" Target="https://arxiv.org/pdf/2302.04761" TargetMode="External"/><Relationship Id="rId1" Type="http://schemas.openxmlformats.org/officeDocument/2006/relationships/slideLayout" Target="../slideLayouts/slideLayout1.xml"/><Relationship Id="rId5" Type="http://schemas.openxmlformats.org/officeDocument/2006/relationships/image" Target="../media/image86.png"/><Relationship Id="rId4" Type="http://schemas.openxmlformats.org/officeDocument/2006/relationships/image" Target="../media/image85.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image" Target="../media/image87.png"/><Relationship Id="rId7" Type="http://schemas.openxmlformats.org/officeDocument/2006/relationships/image" Target="../media/image91.png"/><Relationship Id="rId12" Type="http://schemas.openxmlformats.org/officeDocument/2006/relationships/image" Target="../media/image96.sv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90.svg"/><Relationship Id="rId11" Type="http://schemas.openxmlformats.org/officeDocument/2006/relationships/image" Target="../media/image95.png"/><Relationship Id="rId5" Type="http://schemas.openxmlformats.org/officeDocument/2006/relationships/image" Target="../media/image89.png"/><Relationship Id="rId10" Type="http://schemas.openxmlformats.org/officeDocument/2006/relationships/image" Target="../media/image94.svg"/><Relationship Id="rId4" Type="http://schemas.openxmlformats.org/officeDocument/2006/relationships/image" Target="../media/image88.svg"/><Relationship Id="rId9" Type="http://schemas.openxmlformats.org/officeDocument/2006/relationships/image" Target="../media/image93.png"/></Relationships>
</file>

<file path=ppt/slides/_rels/slide3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1.xml"/><Relationship Id="rId5" Type="http://schemas.openxmlformats.org/officeDocument/2006/relationships/image" Target="../media/image10.svg"/><Relationship Id="rId4" Type="http://schemas.openxmlformats.org/officeDocument/2006/relationships/image" Target="../media/image9.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98.svg"/><Relationship Id="rId7" Type="http://schemas.openxmlformats.org/officeDocument/2006/relationships/image" Target="../media/image102.svg"/><Relationship Id="rId2" Type="http://schemas.openxmlformats.org/officeDocument/2006/relationships/image" Target="../media/image97.png"/><Relationship Id="rId1" Type="http://schemas.openxmlformats.org/officeDocument/2006/relationships/slideLayout" Target="../slideLayouts/slideLayout1.xml"/><Relationship Id="rId6" Type="http://schemas.openxmlformats.org/officeDocument/2006/relationships/image" Target="../media/image101.png"/><Relationship Id="rId5" Type="http://schemas.openxmlformats.org/officeDocument/2006/relationships/image" Target="../media/image100.svg"/><Relationship Id="rId4" Type="http://schemas.openxmlformats.org/officeDocument/2006/relationships/image" Target="../media/image99.png"/><Relationship Id="rId9" Type="http://schemas.openxmlformats.org/officeDocument/2006/relationships/image" Target="../media/image104.svg"/></Relationships>
</file>

<file path=ppt/slides/_rels/slide47.xml.rels><?xml version="1.0" encoding="UTF-8" standalone="yes"?>
<Relationships xmlns="http://schemas.openxmlformats.org/package/2006/relationships"><Relationship Id="rId3" Type="http://schemas.openxmlformats.org/officeDocument/2006/relationships/hyperlink" Target="https://arxiv.org/pdf/2410.14728" TargetMode="External"/><Relationship Id="rId2" Type="http://schemas.openxmlformats.org/officeDocument/2006/relationships/notesSlide" Target="../notesSlides/notesSlide17.xml"/><Relationship Id="rId1" Type="http://schemas.openxmlformats.org/officeDocument/2006/relationships/slideLayout" Target="../slideLayouts/slideLayout1.xml"/><Relationship Id="rId4" Type="http://schemas.openxmlformats.org/officeDocument/2006/relationships/hyperlink" Target="https://arxiv.org/pdf/2108.02006" TargetMode="Externa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image" Target="../media/image12.svg"/><Relationship Id="rId7" Type="http://schemas.openxmlformats.org/officeDocument/2006/relationships/image" Target="../media/image16.svg"/><Relationship Id="rId12" Type="http://schemas.openxmlformats.org/officeDocument/2006/relationships/image" Target="../media/image21.png"/><Relationship Id="rId2" Type="http://schemas.openxmlformats.org/officeDocument/2006/relationships/image" Target="../media/image11.png"/><Relationship Id="rId1" Type="http://schemas.openxmlformats.org/officeDocument/2006/relationships/slideLayout" Target="../slideLayouts/slideLayout1.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sv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sv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microsoft.com/office/2018/10/relationships/comments" Target="../comments/modernComment_156_EE8CBDCB.xml"/><Relationship Id="rId2" Type="http://schemas.openxmlformats.org/officeDocument/2006/relationships/notesSlide" Target="../notesSlides/notesSlide21.xml"/><Relationship Id="rId1" Type="http://schemas.openxmlformats.org/officeDocument/2006/relationships/slideLayout" Target="../slideLayouts/slideLayout2.xml"/><Relationship Id="rId5" Type="http://schemas.openxmlformats.org/officeDocument/2006/relationships/chart" Target="../charts/chart4.xml"/><Relationship Id="rId4" Type="http://schemas.openxmlformats.org/officeDocument/2006/relationships/chart" Target="../charts/char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image" Target="../media/image12.svg"/><Relationship Id="rId7" Type="http://schemas.openxmlformats.org/officeDocument/2006/relationships/image" Target="../media/image16.svg"/><Relationship Id="rId12" Type="http://schemas.openxmlformats.org/officeDocument/2006/relationships/image" Target="../media/image21.png"/><Relationship Id="rId2" Type="http://schemas.openxmlformats.org/officeDocument/2006/relationships/image" Target="../media/image11.png"/><Relationship Id="rId1" Type="http://schemas.openxmlformats.org/officeDocument/2006/relationships/slideLayout" Target="../slideLayouts/slideLayout1.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sv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svg"/></Relationships>
</file>

<file path=ppt/slides/_rels/slide70.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3" Type="http://schemas.openxmlformats.org/officeDocument/2006/relationships/hyperlink" Target="https://arxiv.org/pdf/2312.04854" TargetMode="External"/><Relationship Id="rId2" Type="http://schemas.openxmlformats.org/officeDocument/2006/relationships/hyperlink" Target="https://arxiv.org/pdf/2305.14325" TargetMode="External"/><Relationship Id="rId1" Type="http://schemas.openxmlformats.org/officeDocument/2006/relationships/slideLayout" Target="../slideLayouts/slideLayout1.xml"/><Relationship Id="rId4" Type="http://schemas.openxmlformats.org/officeDocument/2006/relationships/hyperlink" Target="https://arxiv.org/pdf/2408.03314v1" TargetMode="External"/></Relationships>
</file>

<file path=ppt/slides/_rels/slide78.xml.rels><?xml version="1.0" encoding="UTF-8" standalone="yes"?>
<Relationships xmlns="http://schemas.openxmlformats.org/package/2006/relationships"><Relationship Id="rId2" Type="http://schemas.openxmlformats.org/officeDocument/2006/relationships/hyperlink" Target="https://arxiv.org/pdf/2306.09299" TargetMode="External"/><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3" Type="http://schemas.openxmlformats.org/officeDocument/2006/relationships/hyperlink" Target="https://ojs.aaai.org/index.php/AAAI/article/view/21498" TargetMode="External"/><Relationship Id="rId2" Type="http://schemas.openxmlformats.org/officeDocument/2006/relationships/hyperlink" Target="https://arxiv.org/pdf/2406.12374" TargetMode="Externa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4.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3.bin"/><Relationship Id="rId10" Type="http://schemas.microsoft.com/office/2007/relationships/hdphoto" Target="../media/hdphoto2.wdp"/><Relationship Id="rId4" Type="http://schemas.openxmlformats.org/officeDocument/2006/relationships/image" Target="../media/image4.png"/><Relationship Id="rId9" Type="http://schemas.openxmlformats.org/officeDocument/2006/relationships/image" Target="../media/image6.png"/></Relationships>
</file>

<file path=ppt/slides/_rels/slide80.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22.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3.bin"/><Relationship Id="rId10" Type="http://schemas.microsoft.com/office/2007/relationships/hdphoto" Target="../media/hdphoto2.wdp"/><Relationship Id="rId4" Type="http://schemas.openxmlformats.org/officeDocument/2006/relationships/image" Target="../media/image4.png"/><Relationship Id="rId9" Type="http://schemas.openxmlformats.org/officeDocument/2006/relationships/image" Target="../media/image6.png"/></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8.xml"/></Relationships>
</file>

<file path=ppt/slides/_rels/slide88.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8.xml"/></Relationships>
</file>

<file path=ppt/slides/_rels/slide8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0.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21.png"/><Relationship Id="rId1" Type="http://schemas.openxmlformats.org/officeDocument/2006/relationships/slideLayout" Target="../slideLayouts/slideLayout8.xml"/></Relationships>
</file>

<file path=ppt/slides/_rels/slide9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21.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75D592-6E59-D1B0-9E9C-2FA3EDC39004}"/>
            </a:ext>
          </a:extLst>
        </p:cNvPr>
        <p:cNvGrpSpPr/>
        <p:nvPr/>
      </p:nvGrpSpPr>
      <p:grpSpPr>
        <a:xfrm>
          <a:off x="0" y="0"/>
          <a:ext cx="0" cy="0"/>
          <a:chOff x="0" y="0"/>
          <a:chExt cx="0" cy="0"/>
        </a:xfrm>
      </p:grpSpPr>
      <p:grpSp>
        <p:nvGrpSpPr>
          <p:cNvPr id="31" name="Group 30">
            <a:extLst>
              <a:ext uri="{FF2B5EF4-FFF2-40B4-BE49-F238E27FC236}">
                <a16:creationId xmlns:a16="http://schemas.microsoft.com/office/drawing/2014/main" id="{2C88D2ED-2B61-0773-9E74-EB510B4109D3}"/>
              </a:ext>
            </a:extLst>
          </p:cNvPr>
          <p:cNvGrpSpPr/>
          <p:nvPr/>
        </p:nvGrpSpPr>
        <p:grpSpPr>
          <a:xfrm>
            <a:off x="0" y="0"/>
            <a:ext cx="12192000" cy="6858000"/>
            <a:chOff x="0" y="0"/>
            <a:chExt cx="12192000" cy="6858000"/>
          </a:xfrm>
        </p:grpSpPr>
        <p:sp>
          <p:nvSpPr>
            <p:cNvPr id="15" name="Rectangle 14">
              <a:extLst>
                <a:ext uri="{FF2B5EF4-FFF2-40B4-BE49-F238E27FC236}">
                  <a16:creationId xmlns:a16="http://schemas.microsoft.com/office/drawing/2014/main" id="{344941C7-0039-35FC-FE87-83F58F272326}"/>
                </a:ext>
              </a:extLst>
            </p:cNvPr>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5" name="Picture 4">
              <a:extLst>
                <a:ext uri="{FF2B5EF4-FFF2-40B4-BE49-F238E27FC236}">
                  <a16:creationId xmlns:a16="http://schemas.microsoft.com/office/drawing/2014/main" id="{A3AAF0D9-F784-8326-F63C-7B16AEBF335A}"/>
                </a:ext>
              </a:extLst>
            </p:cNvPr>
            <p:cNvPicPr>
              <a:picLocks noChangeAspect="1"/>
            </p:cNvPicPr>
            <p:nvPr/>
          </p:nvPicPr>
          <p:blipFill>
            <a:blip r:embed="rId4"/>
            <a:srcRect t="3857" b="4037"/>
            <a:stretch>
              <a:fillRect/>
            </a:stretch>
          </p:blipFill>
          <p:spPr>
            <a:xfrm>
              <a:off x="91439" y="84913"/>
              <a:ext cx="12006072" cy="6675121"/>
            </a:xfrm>
            <a:prstGeom prst="rect">
              <a:avLst/>
            </a:prstGeom>
          </p:spPr>
        </p:pic>
      </p:grpSp>
      <p:sp>
        <p:nvSpPr>
          <p:cNvPr id="2" name="Rectangle 1">
            <a:extLst>
              <a:ext uri="{FF2B5EF4-FFF2-40B4-BE49-F238E27FC236}">
                <a16:creationId xmlns:a16="http://schemas.microsoft.com/office/drawing/2014/main" id="{9BD72FC5-09C5-6C53-1A46-00B299957736}"/>
              </a:ext>
            </a:extLst>
          </p:cNvPr>
          <p:cNvSpPr/>
          <p:nvPr/>
        </p:nvSpPr>
        <p:spPr>
          <a:xfrm>
            <a:off x="91439" y="84914"/>
            <a:ext cx="12006072" cy="6675121"/>
          </a:xfrm>
          <a:prstGeom prst="rect">
            <a:avLst/>
          </a:prstGeom>
          <a:solidFill>
            <a:srgbClr val="006450">
              <a:alpha val="4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199" name="think-cell data - do not delete" hidden="1">
            <a:extLst>
              <a:ext uri="{FF2B5EF4-FFF2-40B4-BE49-F238E27FC236}">
                <a16:creationId xmlns:a16="http://schemas.microsoft.com/office/drawing/2014/main" id="{93122961-7E55-896A-B762-812677816B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99" name="think-cell data - do not delete" hidden="1">
                        <a:extLst>
                          <a:ext uri="{FF2B5EF4-FFF2-40B4-BE49-F238E27FC236}">
                            <a16:creationId xmlns:a16="http://schemas.microsoft.com/office/drawing/2014/main" id="{93122961-7E55-896A-B762-812677816B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Title 2">
            <a:extLst>
              <a:ext uri="{FF2B5EF4-FFF2-40B4-BE49-F238E27FC236}">
                <a16:creationId xmlns:a16="http://schemas.microsoft.com/office/drawing/2014/main" id="{CD7DFC7E-FC32-C441-BE2A-9C2F6BB3BA73}"/>
              </a:ext>
            </a:extLst>
          </p:cNvPr>
          <p:cNvSpPr txBox="1">
            <a:spLocks/>
          </p:cNvSpPr>
          <p:nvPr/>
        </p:nvSpPr>
        <p:spPr>
          <a:xfrm>
            <a:off x="655078" y="3598301"/>
            <a:ext cx="9994449" cy="600296"/>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Medium" panose="020B0503030202060203" pitchFamily="34" charset="77"/>
                <a:ea typeface="+mj-ea"/>
                <a:cs typeface="Arial"/>
              </a:defRPr>
            </a:lvl1pPr>
          </a:lstStyle>
          <a:p>
            <a:pPr marL="0" marR="0" lvl="0" indent="0" algn="l" defTabSz="457173" rtl="0" eaLnBrk="1" fontAlgn="auto" latinLnBrk="0" hangingPunct="1">
              <a:lnSpc>
                <a:spcPct val="80000"/>
              </a:lnSpc>
              <a:spcBef>
                <a:spcPct val="0"/>
              </a:spcBef>
              <a:spcAft>
                <a:spcPts val="1200"/>
              </a:spcAft>
              <a:buClrTx/>
              <a:buSzTx/>
              <a:buFont typeface="Arial" panose="020B0604020202020204" pitchFamily="34" charset="0"/>
              <a:buNone/>
              <a:tabLst/>
              <a:defRPr/>
            </a:pPr>
            <a:r>
              <a:rPr kumimoji="0" lang="en-US" sz="4800" b="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t>Citizens AI Academy</a:t>
            </a:r>
            <a:endParaRPr kumimoji="0" lang="en-US" sz="4800" b="0" i="0" u="none" strike="noStrike" kern="1200" cap="none" spc="0" normalizeH="0" baseline="0" noProof="0" dirty="0">
              <a:ln>
                <a:noFill/>
              </a:ln>
              <a:solidFill>
                <a:srgbClr val="FFFFFF"/>
              </a:solidFill>
              <a:effectLst/>
              <a:uLnTx/>
              <a:uFillTx/>
              <a:latin typeface="Graphik-Medium" panose="020B0503030202060203" pitchFamily="34" charset="77"/>
              <a:ea typeface="+mj-ea"/>
              <a:cs typeface="Arial"/>
            </a:endParaRPr>
          </a:p>
        </p:txBody>
      </p:sp>
      <p:grpSp>
        <p:nvGrpSpPr>
          <p:cNvPr id="36" name="Group 35">
            <a:extLst>
              <a:ext uri="{FF2B5EF4-FFF2-40B4-BE49-F238E27FC236}">
                <a16:creationId xmlns:a16="http://schemas.microsoft.com/office/drawing/2014/main" id="{FDFF609D-1ECB-E6CD-24BC-324D41098246}"/>
              </a:ext>
            </a:extLst>
          </p:cNvPr>
          <p:cNvGrpSpPr/>
          <p:nvPr/>
        </p:nvGrpSpPr>
        <p:grpSpPr>
          <a:xfrm>
            <a:off x="384445" y="294946"/>
            <a:ext cx="4788470" cy="661596"/>
            <a:chOff x="384445" y="2767404"/>
            <a:chExt cx="4788470" cy="661596"/>
          </a:xfrm>
        </p:grpSpPr>
        <p:pic>
          <p:nvPicPr>
            <p:cNvPr id="33" name="Picture 32" descr="A black background with a black square&#10;&#10;Description automatically generated with medium confidence">
              <a:extLst>
                <a:ext uri="{FF2B5EF4-FFF2-40B4-BE49-F238E27FC236}">
                  <a16:creationId xmlns:a16="http://schemas.microsoft.com/office/drawing/2014/main" id="{26AF7AC9-DE65-B074-1013-0E921ABB3ECB}"/>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398050" y="2767404"/>
              <a:ext cx="1774865" cy="468765"/>
            </a:xfrm>
            <a:prstGeom prst="rect">
              <a:avLst/>
            </a:prstGeom>
          </p:spPr>
        </p:pic>
        <p:cxnSp>
          <p:nvCxnSpPr>
            <p:cNvPr id="34" name="Straight Connector 33">
              <a:extLst>
                <a:ext uri="{FF2B5EF4-FFF2-40B4-BE49-F238E27FC236}">
                  <a16:creationId xmlns:a16="http://schemas.microsoft.com/office/drawing/2014/main" id="{6FEFBD42-DC01-C250-6125-68B92B264768}"/>
                </a:ext>
              </a:extLst>
            </p:cNvPr>
            <p:cNvCxnSpPr>
              <a:cxnSpLocks/>
            </p:cNvCxnSpPr>
            <p:nvPr/>
          </p:nvCxnSpPr>
          <p:spPr>
            <a:xfrm>
              <a:off x="3204099" y="2767404"/>
              <a:ext cx="0" cy="66159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35" name="Picture 34" descr="A close up of a logo&#10;&#10;Description automatically generated">
              <a:extLst>
                <a:ext uri="{FF2B5EF4-FFF2-40B4-BE49-F238E27FC236}">
                  <a16:creationId xmlns:a16="http://schemas.microsoft.com/office/drawing/2014/main" id="{FBFE51C9-BE01-679B-6CE3-ED0F1892B936}"/>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t="29087" b="33997"/>
            <a:stretch/>
          </p:blipFill>
          <p:spPr>
            <a:xfrm>
              <a:off x="384445" y="2798361"/>
              <a:ext cx="2721690" cy="565180"/>
            </a:xfrm>
            <a:prstGeom prst="rect">
              <a:avLst/>
            </a:prstGeom>
          </p:spPr>
        </p:pic>
      </p:grpSp>
      <p:sp>
        <p:nvSpPr>
          <p:cNvPr id="37" name="Title 2">
            <a:extLst>
              <a:ext uri="{FF2B5EF4-FFF2-40B4-BE49-F238E27FC236}">
                <a16:creationId xmlns:a16="http://schemas.microsoft.com/office/drawing/2014/main" id="{791C013C-B1D4-6688-0697-9B70B1A0714A}"/>
              </a:ext>
            </a:extLst>
          </p:cNvPr>
          <p:cNvSpPr txBox="1">
            <a:spLocks/>
          </p:cNvSpPr>
          <p:nvPr/>
        </p:nvSpPr>
        <p:spPr>
          <a:xfrm>
            <a:off x="732712" y="4253903"/>
            <a:ext cx="9994449" cy="1978353"/>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Medium" panose="020B0503030202060203" pitchFamily="34" charset="77"/>
                <a:ea typeface="+mj-ea"/>
                <a:cs typeface="Arial"/>
              </a:defRPr>
            </a:lvl1pPr>
          </a:lstStyle>
          <a:p>
            <a:pPr marL="0" marR="0" lvl="0" indent="0" algn="l" defTabSz="457173" rtl="0" eaLnBrk="1" fontAlgn="auto" latinLnBrk="0" hangingPunct="1">
              <a:lnSpc>
                <a:spcPct val="80000"/>
              </a:lnSpc>
              <a:spcBef>
                <a:spcPct val="0"/>
              </a:spcBef>
              <a:spcAft>
                <a:spcPts val="1200"/>
              </a:spcAft>
              <a:buClrTx/>
              <a:buSzTx/>
              <a:buFont typeface="Arial" panose="020B0604020202020204" pitchFamily="34" charset="0"/>
              <a:buNone/>
              <a:tabLst/>
              <a:defRPr/>
            </a:pPr>
            <a:r>
              <a:rPr kumimoji="0" lang="en-US" sz="3600" b="1"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t>Track C</a:t>
            </a:r>
            <a:br>
              <a:rPr kumimoji="0" lang="en-US" sz="3600" b="1"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b="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b="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r>
              <a:rPr kumimoji="0" lang="en-US" sz="2400" b="0" i="0" u="none" strike="noStrike" kern="1200" cap="none" spc="0" normalizeH="0" baseline="0" noProof="0" dirty="0">
                <a:ln>
                  <a:noFill/>
                </a:ln>
                <a:solidFill>
                  <a:srgbClr val="FFFFFF"/>
                </a:solidFill>
                <a:effectLst/>
                <a:uLnTx/>
                <a:uFillTx/>
                <a:latin typeface="Graphik-Medium" panose="020B0503030202060203" pitchFamily="34" charset="77"/>
                <a:ea typeface="+mj-ea"/>
                <a:cs typeface="Arial"/>
              </a:rPr>
              <a:t>September 2025</a:t>
            </a:r>
            <a:endParaRPr kumimoji="0" lang="en-US" sz="4800" b="0" i="0" u="none" strike="noStrike" kern="1200" cap="none" spc="0" normalizeH="0" baseline="0" noProof="0" dirty="0">
              <a:ln>
                <a:noFill/>
              </a:ln>
              <a:solidFill>
                <a:srgbClr val="FFFFFF"/>
              </a:solidFill>
              <a:effectLst/>
              <a:uLnTx/>
              <a:uFillTx/>
              <a:latin typeface="Graphik-Medium" panose="020B0503030202060203" pitchFamily="34" charset="77"/>
              <a:ea typeface="+mj-ea"/>
              <a:cs typeface="Arial"/>
            </a:endParaRPr>
          </a:p>
        </p:txBody>
      </p:sp>
    </p:spTree>
    <p:extLst>
      <p:ext uri="{BB962C8B-B14F-4D97-AF65-F5344CB8AC3E}">
        <p14:creationId xmlns:p14="http://schemas.microsoft.com/office/powerpoint/2010/main" val="3757355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918D9-2EE5-AF54-F417-9108DC3BA8E3}"/>
            </a:ext>
          </a:extLst>
        </p:cNvPr>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6053C32F-7DB0-0B20-1CDF-891C62677F77}"/>
              </a:ext>
            </a:extLst>
          </p:cNvPr>
          <p:cNvGraphicFramePr/>
          <p:nvPr>
            <p:extLst>
              <p:ext uri="{D42A27DB-BD31-4B8C-83A1-F6EECF244321}">
                <p14:modId xmlns:p14="http://schemas.microsoft.com/office/powerpoint/2010/main" val="2057496068"/>
              </p:ext>
            </p:extLst>
          </p:nvPr>
        </p:nvGraphicFramePr>
        <p:xfrm>
          <a:off x="1983139" y="782488"/>
          <a:ext cx="8128000" cy="54186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2AF6EB54-97AC-F243-D3C0-BFD4C62BE219}"/>
              </a:ext>
            </a:extLst>
          </p:cNvPr>
          <p:cNvGraphicFramePr/>
          <p:nvPr/>
        </p:nvGraphicFramePr>
        <p:xfrm>
          <a:off x="2080861" y="7503328"/>
          <a:ext cx="8128000" cy="541866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259700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DB4526-3A0B-1B0D-A89B-E452B9D9B3DC}"/>
            </a:ext>
          </a:extLst>
        </p:cNvPr>
        <p:cNvGrpSpPr/>
        <p:nvPr/>
      </p:nvGrpSpPr>
      <p:grpSpPr>
        <a:xfrm>
          <a:off x="0" y="0"/>
          <a:ext cx="0" cy="0"/>
          <a:chOff x="0" y="0"/>
          <a:chExt cx="0" cy="0"/>
        </a:xfrm>
      </p:grpSpPr>
      <p:sp>
        <p:nvSpPr>
          <p:cNvPr id="142" name="Title 1">
            <a:extLst>
              <a:ext uri="{FF2B5EF4-FFF2-40B4-BE49-F238E27FC236}">
                <a16:creationId xmlns:a16="http://schemas.microsoft.com/office/drawing/2014/main" id="{E8BF4303-EAE2-FEB9-BEA0-A438B3B0B2E5}"/>
              </a:ext>
            </a:extLst>
          </p:cNvPr>
          <p:cNvSpPr>
            <a:spLocks noGrp="1"/>
          </p:cNvSpPr>
          <p:nvPr>
            <p:ph type="title"/>
          </p:nvPr>
        </p:nvSpPr>
        <p:spPr>
          <a:xfrm>
            <a:off x="384048" y="384048"/>
            <a:ext cx="10346475" cy="320040"/>
          </a:xfrm>
          <a:prstGeom prst="rect">
            <a:avLst/>
          </a:prstGeom>
        </p:spPr>
        <p:txBody>
          <a:bodyPr vert="horz" wrap="square" lIns="0" tIns="0" rIns="0" bIns="0" rtlCol="0" anchor="t" anchorCtr="0">
            <a:noAutofit/>
          </a:bodyPr>
          <a:lstStyle/>
          <a:p>
            <a:pPr>
              <a:lnSpc>
                <a:spcPct val="80000"/>
              </a:lnSpc>
            </a:pPr>
            <a:r>
              <a:rPr lang="en-GB" sz="2800" b="0" dirty="0">
                <a:solidFill>
                  <a:srgbClr val="231F20"/>
                </a:solidFill>
                <a:latin typeface="Graphik-Light" panose="020B0403030202060203"/>
                <a:ea typeface="+mj-ea"/>
                <a:cs typeface="+mj-cs"/>
              </a:rPr>
              <a:t>Agenda and Learning Objectives</a:t>
            </a:r>
            <a:endParaRPr lang="en-GB" sz="2800" b="0" i="1" dirty="0">
              <a:solidFill>
                <a:schemeClr val="accent1"/>
              </a:solidFill>
              <a:latin typeface="Graphik-Light" panose="020B0403030202060203"/>
              <a:ea typeface="+mj-ea"/>
              <a:cs typeface="+mj-cs"/>
            </a:endParaRPr>
          </a:p>
        </p:txBody>
      </p:sp>
      <p:sp>
        <p:nvSpPr>
          <p:cNvPr id="2" name="Rectangle 1">
            <a:extLst>
              <a:ext uri="{FF2B5EF4-FFF2-40B4-BE49-F238E27FC236}">
                <a16:creationId xmlns:a16="http://schemas.microsoft.com/office/drawing/2014/main" id="{24D493E8-513E-E3DF-DB09-5F0F3914D84D}"/>
              </a:ext>
            </a:extLst>
          </p:cNvPr>
          <p:cNvSpPr/>
          <p:nvPr/>
        </p:nvSpPr>
        <p:spPr>
          <a:xfrm>
            <a:off x="267327" y="2037376"/>
            <a:ext cx="4790136" cy="2912335"/>
          </a:xfrm>
          <a:prstGeom prst="rect">
            <a:avLst/>
          </a:prstGeom>
          <a:solidFill>
            <a:schemeClr val="tx2"/>
          </a:solidFill>
          <a:ln w="38100">
            <a:solidFill>
              <a:schemeClr val="bg1">
                <a:lumMod val="85000"/>
              </a:schemeClr>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200" dirty="0">
                <a:solidFill>
                  <a:srgbClr val="FFFFFF"/>
                </a:solidFill>
                <a:latin typeface="Graphik" panose="020B0503030202060203" pitchFamily="34" charset="0"/>
              </a:rPr>
              <a:t>Explain how AI agents use tools to bridge goals with actions</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200" dirty="0">
                <a:solidFill>
                  <a:srgbClr val="FFFFFF"/>
                </a:solidFill>
                <a:latin typeface="Graphik" panose="020B0503030202060203" pitchFamily="34" charset="0"/>
              </a:rPr>
              <a:t>Identify the four essential components of tool usage.</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200" dirty="0">
                <a:solidFill>
                  <a:srgbClr val="FFFFFF"/>
                </a:solidFill>
                <a:latin typeface="Graphik" panose="020B0503030202060203" pitchFamily="34" charset="0"/>
              </a:rPr>
              <a:t>Recognize the tool paradox and strategies like progressive tool access.</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200" dirty="0">
                <a:solidFill>
                  <a:srgbClr val="FFFFFF"/>
                </a:solidFill>
                <a:latin typeface="Graphik" panose="020B0503030202060203" pitchFamily="34" charset="0"/>
              </a:rPr>
              <a:t>Apply frameworks for tool resilience including redundancy, fallback design, and human-in-the-loop intervention.</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200" dirty="0">
                <a:solidFill>
                  <a:srgbClr val="FFFFFF"/>
                </a:solidFill>
                <a:latin typeface="Graphik" panose="020B0503030202060203" pitchFamily="34" charset="0"/>
              </a:rPr>
              <a:t>Experiment with custom and modular tools using Bedrock and LangGraph</a:t>
            </a:r>
          </a:p>
        </p:txBody>
      </p:sp>
      <p:sp>
        <p:nvSpPr>
          <p:cNvPr id="3" name="Trapezoid 2">
            <a:extLst>
              <a:ext uri="{FF2B5EF4-FFF2-40B4-BE49-F238E27FC236}">
                <a16:creationId xmlns:a16="http://schemas.microsoft.com/office/drawing/2014/main" id="{AAB5B873-472B-4D79-B00D-153A96AA6D20}"/>
              </a:ext>
            </a:extLst>
          </p:cNvPr>
          <p:cNvSpPr/>
          <p:nvPr/>
        </p:nvSpPr>
        <p:spPr>
          <a:xfrm rot="16200000">
            <a:off x="3120691" y="2777057"/>
            <a:ext cx="5459562" cy="1615998"/>
          </a:xfrm>
          <a:prstGeom prst="trapezoid">
            <a:avLst>
              <a:gd name="adj" fmla="val 82092"/>
            </a:avLst>
          </a:prstGeom>
          <a:gradFill>
            <a:gsLst>
              <a:gs pos="54000">
                <a:srgbClr val="E5E5E5"/>
              </a:gs>
              <a:gs pos="0">
                <a:schemeClr val="bg1">
                  <a:lumMod val="75000"/>
                </a:schemeClr>
              </a:gs>
              <a:gs pos="85000">
                <a:schemeClr val="bg1"/>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Rectangle 3">
            <a:extLst>
              <a:ext uri="{FF2B5EF4-FFF2-40B4-BE49-F238E27FC236}">
                <a16:creationId xmlns:a16="http://schemas.microsoft.com/office/drawing/2014/main" id="{719886AB-8597-C407-4918-D18ECE2FFEC7}"/>
              </a:ext>
            </a:extLst>
          </p:cNvPr>
          <p:cNvSpPr/>
          <p:nvPr/>
        </p:nvSpPr>
        <p:spPr>
          <a:xfrm>
            <a:off x="6329082" y="1038301"/>
            <a:ext cx="5505651" cy="5276536"/>
          </a:xfrm>
          <a:prstGeom prst="rect">
            <a:avLst/>
          </a:prstGeom>
          <a:noFill/>
          <a:ln w="19050">
            <a:solidFill>
              <a:srgbClr val="00645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kumimoji="0" lang="en-US" sz="1800" b="1"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Why Tools Matter for AI Agents </a:t>
            </a:r>
            <a:r>
              <a:rPr kumimoji="0" lang="en-US" sz="180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From Level 1 automation to Level 3 orchestration</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b="1" dirty="0">
                <a:solidFill>
                  <a:srgbClr val="231F20"/>
                </a:solidFill>
                <a:latin typeface="Graphik" panose="020B0503030202060203" pitchFamily="34" charset="0"/>
              </a:rPr>
              <a:t>An Agent’s Toolkit </a:t>
            </a:r>
            <a:r>
              <a:rPr lang="en-US" dirty="0">
                <a:solidFill>
                  <a:srgbClr val="231F20"/>
                </a:solidFill>
                <a:latin typeface="Graphik" panose="020B0503030202060203" pitchFamily="34" charset="0"/>
              </a:rPr>
              <a:t>– APIs, System controls, databases, and applications</a:t>
            </a:r>
          </a:p>
          <a:p>
            <a:pPr marL="688975" lvl="0" indent="-342900">
              <a:spcAft>
                <a:spcPts val="1800"/>
              </a:spcAft>
              <a:buClr>
                <a:srgbClr val="008555"/>
              </a:buClr>
              <a:buFont typeface="+mj-lt"/>
              <a:buAutoNum type="arabicPeriod"/>
              <a:defRPr/>
            </a:pPr>
            <a:r>
              <a:rPr lang="en-US" b="1" dirty="0">
                <a:solidFill>
                  <a:srgbClr val="231F20"/>
                </a:solidFill>
                <a:latin typeface="Graphik" panose="020B0503030202060203" pitchFamily="34" charset="0"/>
              </a:rPr>
              <a:t>The Core Principles of Tool Usage</a:t>
            </a:r>
            <a:r>
              <a:rPr lang="en-US" dirty="0">
                <a:solidFill>
                  <a:srgbClr val="231F20"/>
                </a:solidFill>
                <a:latin typeface="Graphik" panose="020B0503030202060203" pitchFamily="34" charset="0"/>
              </a:rPr>
              <a:t> –  Inputs/Outputs, constraints, and error handling.</a:t>
            </a:r>
          </a:p>
          <a:p>
            <a:pPr marL="688975" lvl="0" indent="-342900">
              <a:spcAft>
                <a:spcPts val="1800"/>
              </a:spcAft>
              <a:buClr>
                <a:srgbClr val="008555"/>
              </a:buClr>
              <a:buFont typeface="+mj-lt"/>
              <a:buAutoNum type="arabicPeriod"/>
              <a:defRPr/>
            </a:pPr>
            <a:r>
              <a:rPr lang="en-US" b="1" dirty="0">
                <a:solidFill>
                  <a:srgbClr val="231F20"/>
                </a:solidFill>
                <a:latin typeface="Graphik" panose="020B0503030202060203" pitchFamily="34" charset="0"/>
              </a:rPr>
              <a:t>Resilience and Paradox </a:t>
            </a:r>
            <a:r>
              <a:rPr lang="en-US" dirty="0">
                <a:solidFill>
                  <a:srgbClr val="231F20"/>
                </a:solidFill>
                <a:latin typeface="Graphik" panose="020B0503030202060203" pitchFamily="34" charset="0"/>
              </a:rPr>
              <a:t>– Tool failures, progressive access, and trust building.</a:t>
            </a:r>
          </a:p>
          <a:p>
            <a:pPr marL="688975" lvl="0" indent="-342900">
              <a:spcAft>
                <a:spcPts val="1800"/>
              </a:spcAft>
              <a:buClr>
                <a:srgbClr val="008555"/>
              </a:buClr>
              <a:buFont typeface="+mj-lt"/>
              <a:buAutoNum type="arabicPeriod"/>
              <a:defRPr/>
            </a:pPr>
            <a:r>
              <a:rPr lang="en-US" b="1" dirty="0">
                <a:solidFill>
                  <a:srgbClr val="231F20"/>
                </a:solidFill>
                <a:latin typeface="Graphik" panose="020B0503030202060203" pitchFamily="34" charset="0"/>
              </a:rPr>
              <a:t>Frameworks in Practice </a:t>
            </a:r>
            <a:r>
              <a:rPr lang="en-US" dirty="0">
                <a:solidFill>
                  <a:srgbClr val="231F20"/>
                </a:solidFill>
                <a:latin typeface="Graphik" panose="020B0503030202060203" pitchFamily="34" charset="0"/>
              </a:rPr>
              <a:t>– Building, Prioritizing, and Orchestrating Tools</a:t>
            </a:r>
          </a:p>
        </p:txBody>
      </p:sp>
      <p:sp>
        <p:nvSpPr>
          <p:cNvPr id="5" name="Title 1">
            <a:extLst>
              <a:ext uri="{FF2B5EF4-FFF2-40B4-BE49-F238E27FC236}">
                <a16:creationId xmlns:a16="http://schemas.microsoft.com/office/drawing/2014/main" id="{F4229FE9-F2A8-F487-5473-FFC5FD8039CA}"/>
              </a:ext>
            </a:extLst>
          </p:cNvPr>
          <p:cNvSpPr txBox="1">
            <a:spLocks/>
          </p:cNvSpPr>
          <p:nvPr/>
        </p:nvSpPr>
        <p:spPr>
          <a:xfrm>
            <a:off x="796858" y="1370875"/>
            <a:ext cx="3716085" cy="666501"/>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Light" panose="020B0403030202060203" pitchFamily="34" charset="77"/>
                <a:ea typeface="+mj-ea"/>
                <a:cs typeface="Arial"/>
              </a:defRPr>
            </a:lvl1pPr>
          </a:lstStyle>
          <a:p>
            <a:pPr marL="0" marR="0" lvl="0" indent="0" algn="ctr" defTabSz="457192" rtl="0" eaLnBrk="1" fontAlgn="auto" latinLnBrk="0" hangingPunct="1">
              <a:lnSpc>
                <a:spcPct val="80000"/>
              </a:lnSpc>
              <a:spcBef>
                <a:spcPct val="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006450"/>
                </a:solidFill>
                <a:effectLst/>
                <a:uLnTx/>
                <a:uFillTx/>
                <a:latin typeface="Graphik" panose="020B0503030202060203" pitchFamily="34" charset="0"/>
                <a:ea typeface="+mj-ea"/>
                <a:cs typeface="Arial"/>
              </a:rPr>
              <a:t>Learning Objectives</a:t>
            </a:r>
          </a:p>
        </p:txBody>
      </p:sp>
      <p:sp>
        <p:nvSpPr>
          <p:cNvPr id="6" name="Title 1">
            <a:extLst>
              <a:ext uri="{FF2B5EF4-FFF2-40B4-BE49-F238E27FC236}">
                <a16:creationId xmlns:a16="http://schemas.microsoft.com/office/drawing/2014/main" id="{9D74E376-FB88-E4F5-020E-9FF227F92003}"/>
              </a:ext>
            </a:extLst>
          </p:cNvPr>
          <p:cNvSpPr txBox="1">
            <a:spLocks/>
          </p:cNvSpPr>
          <p:nvPr/>
        </p:nvSpPr>
        <p:spPr>
          <a:xfrm>
            <a:off x="6523661" y="844337"/>
            <a:ext cx="1615998" cy="387927"/>
          </a:xfrm>
          <a:prstGeom prst="rect">
            <a:avLst/>
          </a:prstGeom>
          <a:solidFill>
            <a:schemeClr val="bg1"/>
          </a:solidFill>
        </p:spPr>
        <p:txBody>
          <a:bodyPr vert="horz" wrap="square" lIns="0" tIns="0" rIns="0" bIns="0" anchor="ctr" anchorCtr="0">
            <a:noAutofit/>
          </a:bodyPr>
          <a:lstStyle>
            <a:lvl1pPr marL="0" indent="0" algn="l" defTabSz="457192" rtl="0" eaLnBrk="1" latinLnBrk="0" hangingPunct="1">
              <a:lnSpc>
                <a:spcPct val="80000"/>
              </a:lnSpc>
              <a:spcBef>
                <a:spcPct val="0"/>
              </a:spcBef>
              <a:spcAft>
                <a:spcPts val="0"/>
              </a:spcAft>
              <a:buFontTx/>
              <a:buNone/>
              <a:defRPr lang="en-US" sz="2800" b="0" i="0" kern="1200" cap="none">
                <a:solidFill>
                  <a:srgbClr val="231F20"/>
                </a:solidFill>
                <a:latin typeface="Graphik-Light" panose="020B0403030202060203"/>
                <a:ea typeface="+mj-ea"/>
                <a:cs typeface="Arial"/>
              </a:defRPr>
            </a:lvl1pPr>
          </a:lstStyle>
          <a:p>
            <a:pPr algn="ctr"/>
            <a:r>
              <a:rPr lang="en-US" b="1">
                <a:solidFill>
                  <a:schemeClr val="tx2"/>
                </a:solidFill>
                <a:latin typeface="Graphik" panose="020B0503030202060203" pitchFamily="34" charset="0"/>
              </a:rPr>
              <a:t>Agenda</a:t>
            </a:r>
          </a:p>
        </p:txBody>
      </p:sp>
    </p:spTree>
    <p:extLst>
      <p:ext uri="{BB962C8B-B14F-4D97-AF65-F5344CB8AC3E}">
        <p14:creationId xmlns:p14="http://schemas.microsoft.com/office/powerpoint/2010/main" val="20024516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14D99-24C8-0F03-C52E-F4FA06922449}"/>
              </a:ext>
            </a:extLst>
          </p:cNvPr>
          <p:cNvSpPr>
            <a:spLocks noGrp="1"/>
          </p:cNvSpPr>
          <p:nvPr>
            <p:ph type="title"/>
          </p:nvPr>
        </p:nvSpPr>
        <p:spPr/>
        <p:txBody>
          <a:bodyPr/>
          <a:lstStyle/>
          <a:p>
            <a:r>
              <a:rPr lang="en-US" dirty="0"/>
              <a:t>What we will cover…</a:t>
            </a:r>
          </a:p>
        </p:txBody>
      </p:sp>
      <p:sp>
        <p:nvSpPr>
          <p:cNvPr id="3" name="Freeform 584">
            <a:extLst>
              <a:ext uri="{FF2B5EF4-FFF2-40B4-BE49-F238E27FC236}">
                <a16:creationId xmlns:a16="http://schemas.microsoft.com/office/drawing/2014/main" id="{C11BAF8A-43AF-9B20-AE08-38F9466FA0A8}"/>
              </a:ext>
            </a:extLst>
          </p:cNvPr>
          <p:cNvSpPr>
            <a:spLocks/>
          </p:cNvSpPr>
          <p:nvPr/>
        </p:nvSpPr>
        <p:spPr bwMode="auto">
          <a:xfrm>
            <a:off x="978608" y="1459747"/>
            <a:ext cx="4859221" cy="1145378"/>
          </a:xfrm>
          <a:custGeom>
            <a:avLst/>
            <a:gdLst>
              <a:gd name="T0" fmla="*/ 13835 w 14066"/>
              <a:gd name="T1" fmla="*/ 744 h 3315"/>
              <a:gd name="T2" fmla="*/ 13713 w 14066"/>
              <a:gd name="T3" fmla="*/ 454 h 3315"/>
              <a:gd name="T4" fmla="*/ 13456 w 14066"/>
              <a:gd name="T5" fmla="*/ 280 h 3315"/>
              <a:gd name="T6" fmla="*/ 2543 w 14066"/>
              <a:gd name="T7" fmla="*/ 257 h 3315"/>
              <a:gd name="T8" fmla="*/ 2291 w 14066"/>
              <a:gd name="T9" fmla="*/ 124 h 3315"/>
              <a:gd name="T10" fmla="*/ 1956 w 14066"/>
              <a:gd name="T11" fmla="*/ 26 h 3315"/>
              <a:gd name="T12" fmla="*/ 1658 w 14066"/>
              <a:gd name="T13" fmla="*/ 0 h 3315"/>
              <a:gd name="T14" fmla="*/ 1243 w 14066"/>
              <a:gd name="T15" fmla="*/ 52 h 3315"/>
              <a:gd name="T16" fmla="*/ 798 w 14066"/>
              <a:gd name="T17" fmla="*/ 240 h 3315"/>
              <a:gd name="T18" fmla="*/ 431 w 14066"/>
              <a:gd name="T19" fmla="*/ 543 h 3315"/>
              <a:gd name="T20" fmla="*/ 162 w 14066"/>
              <a:gd name="T21" fmla="*/ 938 h 3315"/>
              <a:gd name="T22" fmla="*/ 19 w 14066"/>
              <a:gd name="T23" fmla="*/ 1405 h 3315"/>
              <a:gd name="T24" fmla="*/ 0 w 14066"/>
              <a:gd name="T25" fmla="*/ 1720 h 3315"/>
              <a:gd name="T26" fmla="*/ 54 w 14066"/>
              <a:gd name="T27" fmla="*/ 2076 h 3315"/>
              <a:gd name="T28" fmla="*/ 177 w 14066"/>
              <a:gd name="T29" fmla="*/ 2404 h 3315"/>
              <a:gd name="T30" fmla="*/ 365 w 14066"/>
              <a:gd name="T31" fmla="*/ 2696 h 3315"/>
              <a:gd name="T32" fmla="*/ 607 w 14066"/>
              <a:gd name="T33" fmla="*/ 2941 h 3315"/>
              <a:gd name="T34" fmla="*/ 896 w 14066"/>
              <a:gd name="T35" fmla="*/ 3130 h 3315"/>
              <a:gd name="T36" fmla="*/ 1199 w 14066"/>
              <a:gd name="T37" fmla="*/ 3252 h 3315"/>
              <a:gd name="T38" fmla="*/ 1658 w 14066"/>
              <a:gd name="T39" fmla="*/ 3315 h 3315"/>
              <a:gd name="T40" fmla="*/ 1700 w 14066"/>
              <a:gd name="T41" fmla="*/ 3315 h 3315"/>
              <a:gd name="T42" fmla="*/ 1766 w 14066"/>
              <a:gd name="T43" fmla="*/ 3312 h 3315"/>
              <a:gd name="T44" fmla="*/ 1834 w 14066"/>
              <a:gd name="T45" fmla="*/ 3306 h 3315"/>
              <a:gd name="T46" fmla="*/ 1899 w 14066"/>
              <a:gd name="T47" fmla="*/ 3297 h 3315"/>
              <a:gd name="T48" fmla="*/ 1954 w 14066"/>
              <a:gd name="T49" fmla="*/ 3288 h 3315"/>
              <a:gd name="T50" fmla="*/ 2011 w 14066"/>
              <a:gd name="T51" fmla="*/ 3278 h 3315"/>
              <a:gd name="T52" fmla="*/ 2070 w 14066"/>
              <a:gd name="T53" fmla="*/ 3264 h 3315"/>
              <a:gd name="T54" fmla="*/ 2125 w 14066"/>
              <a:gd name="T55" fmla="*/ 3248 h 3315"/>
              <a:gd name="T56" fmla="*/ 2178 w 14066"/>
              <a:gd name="T57" fmla="*/ 3231 h 3315"/>
              <a:gd name="T58" fmla="*/ 2241 w 14066"/>
              <a:gd name="T59" fmla="*/ 3209 h 3315"/>
              <a:gd name="T60" fmla="*/ 2328 w 14066"/>
              <a:gd name="T61" fmla="*/ 3174 h 3315"/>
              <a:gd name="T62" fmla="*/ 2790 w 14066"/>
              <a:gd name="T63" fmla="*/ 2870 h 3315"/>
              <a:gd name="T64" fmla="*/ 2855 w 14066"/>
              <a:gd name="T65" fmla="*/ 2805 h 3315"/>
              <a:gd name="T66" fmla="*/ 2869 w 14066"/>
              <a:gd name="T67" fmla="*/ 2789 h 3315"/>
              <a:gd name="T68" fmla="*/ 2896 w 14066"/>
              <a:gd name="T69" fmla="*/ 2759 h 3315"/>
              <a:gd name="T70" fmla="*/ 2901 w 14066"/>
              <a:gd name="T71" fmla="*/ 2754 h 3315"/>
              <a:gd name="T72" fmla="*/ 2931 w 14066"/>
              <a:gd name="T73" fmla="*/ 2719 h 3315"/>
              <a:gd name="T74" fmla="*/ 2934 w 14066"/>
              <a:gd name="T75" fmla="*/ 2717 h 3315"/>
              <a:gd name="T76" fmla="*/ 2943 w 14066"/>
              <a:gd name="T77" fmla="*/ 2706 h 3315"/>
              <a:gd name="T78" fmla="*/ 2966 w 14066"/>
              <a:gd name="T79" fmla="*/ 2676 h 3315"/>
              <a:gd name="T80" fmla="*/ 2985 w 14066"/>
              <a:gd name="T81" fmla="*/ 2651 h 3315"/>
              <a:gd name="T82" fmla="*/ 3317 w 14066"/>
              <a:gd name="T83" fmla="*/ 2985 h 3315"/>
              <a:gd name="T84" fmla="*/ 3825 w 14066"/>
              <a:gd name="T85" fmla="*/ 3244 h 3315"/>
              <a:gd name="T86" fmla="*/ 4313 w 14066"/>
              <a:gd name="T87" fmla="*/ 3315 h 3315"/>
              <a:gd name="T88" fmla="*/ 13693 w 14066"/>
              <a:gd name="T89" fmla="*/ 3292 h 3315"/>
              <a:gd name="T90" fmla="*/ 13745 w 14066"/>
              <a:gd name="T91" fmla="*/ 3273 h 3315"/>
              <a:gd name="T92" fmla="*/ 13804 w 14066"/>
              <a:gd name="T93" fmla="*/ 3243 h 3315"/>
              <a:gd name="T94" fmla="*/ 13909 w 14066"/>
              <a:gd name="T95" fmla="*/ 3161 h 3315"/>
              <a:gd name="T96" fmla="*/ 14003 w 14066"/>
              <a:gd name="T97" fmla="*/ 3038 h 3315"/>
              <a:gd name="T98" fmla="*/ 14066 w 14066"/>
              <a:gd name="T99" fmla="*/ 2784 h 3315"/>
              <a:gd name="T100" fmla="*/ 14066 w 14066"/>
              <a:gd name="T101" fmla="*/ 2654 h 3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6" h="3315">
                <a:moveTo>
                  <a:pt x="13837" y="2654"/>
                </a:moveTo>
                <a:lnTo>
                  <a:pt x="13837" y="800"/>
                </a:lnTo>
                <a:lnTo>
                  <a:pt x="13835" y="744"/>
                </a:lnTo>
                <a:lnTo>
                  <a:pt x="13813" y="638"/>
                </a:lnTo>
                <a:lnTo>
                  <a:pt x="13772" y="540"/>
                </a:lnTo>
                <a:lnTo>
                  <a:pt x="13713" y="454"/>
                </a:lnTo>
                <a:lnTo>
                  <a:pt x="13640" y="380"/>
                </a:lnTo>
                <a:lnTo>
                  <a:pt x="13553" y="321"/>
                </a:lnTo>
                <a:lnTo>
                  <a:pt x="13456" y="280"/>
                </a:lnTo>
                <a:lnTo>
                  <a:pt x="13349" y="258"/>
                </a:lnTo>
                <a:lnTo>
                  <a:pt x="13294" y="257"/>
                </a:lnTo>
                <a:lnTo>
                  <a:pt x="2543" y="257"/>
                </a:lnTo>
                <a:lnTo>
                  <a:pt x="2494" y="227"/>
                </a:lnTo>
                <a:lnTo>
                  <a:pt x="2394" y="172"/>
                </a:lnTo>
                <a:lnTo>
                  <a:pt x="2291" y="124"/>
                </a:lnTo>
                <a:lnTo>
                  <a:pt x="2182" y="84"/>
                </a:lnTo>
                <a:lnTo>
                  <a:pt x="2070" y="52"/>
                </a:lnTo>
                <a:lnTo>
                  <a:pt x="1956" y="26"/>
                </a:lnTo>
                <a:lnTo>
                  <a:pt x="1838" y="9"/>
                </a:lnTo>
                <a:lnTo>
                  <a:pt x="1719" y="0"/>
                </a:lnTo>
                <a:lnTo>
                  <a:pt x="1658" y="0"/>
                </a:lnTo>
                <a:lnTo>
                  <a:pt x="1573" y="1"/>
                </a:lnTo>
                <a:lnTo>
                  <a:pt x="1405" y="18"/>
                </a:lnTo>
                <a:lnTo>
                  <a:pt x="1243" y="52"/>
                </a:lnTo>
                <a:lnTo>
                  <a:pt x="1088" y="100"/>
                </a:lnTo>
                <a:lnTo>
                  <a:pt x="939" y="163"/>
                </a:lnTo>
                <a:lnTo>
                  <a:pt x="798" y="240"/>
                </a:lnTo>
                <a:lnTo>
                  <a:pt x="665" y="329"/>
                </a:lnTo>
                <a:lnTo>
                  <a:pt x="542" y="430"/>
                </a:lnTo>
                <a:lnTo>
                  <a:pt x="431" y="543"/>
                </a:lnTo>
                <a:lnTo>
                  <a:pt x="328" y="665"/>
                </a:lnTo>
                <a:lnTo>
                  <a:pt x="239" y="797"/>
                </a:lnTo>
                <a:lnTo>
                  <a:pt x="162" y="938"/>
                </a:lnTo>
                <a:lnTo>
                  <a:pt x="100" y="1087"/>
                </a:lnTo>
                <a:lnTo>
                  <a:pt x="51" y="1243"/>
                </a:lnTo>
                <a:lnTo>
                  <a:pt x="19" y="1405"/>
                </a:lnTo>
                <a:lnTo>
                  <a:pt x="2" y="1572"/>
                </a:lnTo>
                <a:lnTo>
                  <a:pt x="0" y="1658"/>
                </a:lnTo>
                <a:lnTo>
                  <a:pt x="0" y="1720"/>
                </a:lnTo>
                <a:lnTo>
                  <a:pt x="10" y="1842"/>
                </a:lnTo>
                <a:lnTo>
                  <a:pt x="28" y="1961"/>
                </a:lnTo>
                <a:lnTo>
                  <a:pt x="54" y="2076"/>
                </a:lnTo>
                <a:lnTo>
                  <a:pt x="87" y="2190"/>
                </a:lnTo>
                <a:lnTo>
                  <a:pt x="129" y="2299"/>
                </a:lnTo>
                <a:lnTo>
                  <a:pt x="177" y="2404"/>
                </a:lnTo>
                <a:lnTo>
                  <a:pt x="234" y="2507"/>
                </a:lnTo>
                <a:lnTo>
                  <a:pt x="296" y="2604"/>
                </a:lnTo>
                <a:lnTo>
                  <a:pt x="365" y="2696"/>
                </a:lnTo>
                <a:lnTo>
                  <a:pt x="440" y="2783"/>
                </a:lnTo>
                <a:lnTo>
                  <a:pt x="520" y="2864"/>
                </a:lnTo>
                <a:lnTo>
                  <a:pt x="607" y="2941"/>
                </a:lnTo>
                <a:lnTo>
                  <a:pt x="699" y="3010"/>
                </a:lnTo>
                <a:lnTo>
                  <a:pt x="795" y="3073"/>
                </a:lnTo>
                <a:lnTo>
                  <a:pt x="896" y="3130"/>
                </a:lnTo>
                <a:lnTo>
                  <a:pt x="948" y="3156"/>
                </a:lnTo>
                <a:lnTo>
                  <a:pt x="1030" y="3192"/>
                </a:lnTo>
                <a:lnTo>
                  <a:pt x="1199" y="3252"/>
                </a:lnTo>
                <a:lnTo>
                  <a:pt x="1378" y="3293"/>
                </a:lnTo>
                <a:lnTo>
                  <a:pt x="1564" y="3314"/>
                </a:lnTo>
                <a:lnTo>
                  <a:pt x="1658" y="3315"/>
                </a:lnTo>
                <a:lnTo>
                  <a:pt x="1658" y="3315"/>
                </a:lnTo>
                <a:lnTo>
                  <a:pt x="1659" y="3315"/>
                </a:lnTo>
                <a:lnTo>
                  <a:pt x="1700" y="3315"/>
                </a:lnTo>
                <a:lnTo>
                  <a:pt x="1740" y="3313"/>
                </a:lnTo>
                <a:lnTo>
                  <a:pt x="1753" y="3313"/>
                </a:lnTo>
                <a:lnTo>
                  <a:pt x="1766" y="3312"/>
                </a:lnTo>
                <a:lnTo>
                  <a:pt x="1793" y="3310"/>
                </a:lnTo>
                <a:lnTo>
                  <a:pt x="1820" y="3308"/>
                </a:lnTo>
                <a:lnTo>
                  <a:pt x="1834" y="3306"/>
                </a:lnTo>
                <a:lnTo>
                  <a:pt x="1850" y="3304"/>
                </a:lnTo>
                <a:lnTo>
                  <a:pt x="1875" y="3301"/>
                </a:lnTo>
                <a:lnTo>
                  <a:pt x="1899" y="3297"/>
                </a:lnTo>
                <a:lnTo>
                  <a:pt x="1915" y="3296"/>
                </a:lnTo>
                <a:lnTo>
                  <a:pt x="1932" y="3292"/>
                </a:lnTo>
                <a:lnTo>
                  <a:pt x="1954" y="3288"/>
                </a:lnTo>
                <a:lnTo>
                  <a:pt x="1977" y="3284"/>
                </a:lnTo>
                <a:lnTo>
                  <a:pt x="1994" y="3282"/>
                </a:lnTo>
                <a:lnTo>
                  <a:pt x="2011" y="3278"/>
                </a:lnTo>
                <a:lnTo>
                  <a:pt x="2031" y="3273"/>
                </a:lnTo>
                <a:lnTo>
                  <a:pt x="2052" y="3268"/>
                </a:lnTo>
                <a:lnTo>
                  <a:pt x="2070" y="3264"/>
                </a:lnTo>
                <a:lnTo>
                  <a:pt x="2089" y="3258"/>
                </a:lnTo>
                <a:lnTo>
                  <a:pt x="2107" y="3253"/>
                </a:lnTo>
                <a:lnTo>
                  <a:pt x="2125" y="3248"/>
                </a:lnTo>
                <a:lnTo>
                  <a:pt x="2146" y="3243"/>
                </a:lnTo>
                <a:lnTo>
                  <a:pt x="2165" y="3236"/>
                </a:lnTo>
                <a:lnTo>
                  <a:pt x="2178" y="3231"/>
                </a:lnTo>
                <a:lnTo>
                  <a:pt x="2191" y="3227"/>
                </a:lnTo>
                <a:lnTo>
                  <a:pt x="2217" y="3218"/>
                </a:lnTo>
                <a:lnTo>
                  <a:pt x="2241" y="3209"/>
                </a:lnTo>
                <a:lnTo>
                  <a:pt x="2241" y="3209"/>
                </a:lnTo>
                <a:lnTo>
                  <a:pt x="2241" y="3209"/>
                </a:lnTo>
                <a:lnTo>
                  <a:pt x="2328" y="3174"/>
                </a:lnTo>
                <a:lnTo>
                  <a:pt x="2494" y="3090"/>
                </a:lnTo>
                <a:lnTo>
                  <a:pt x="2648" y="2989"/>
                </a:lnTo>
                <a:lnTo>
                  <a:pt x="2790" y="2870"/>
                </a:lnTo>
                <a:lnTo>
                  <a:pt x="2855" y="2805"/>
                </a:lnTo>
                <a:lnTo>
                  <a:pt x="2855" y="2805"/>
                </a:lnTo>
                <a:lnTo>
                  <a:pt x="2855" y="2805"/>
                </a:lnTo>
                <a:lnTo>
                  <a:pt x="2858" y="2801"/>
                </a:lnTo>
                <a:lnTo>
                  <a:pt x="2862" y="2797"/>
                </a:lnTo>
                <a:lnTo>
                  <a:pt x="2869" y="2789"/>
                </a:lnTo>
                <a:lnTo>
                  <a:pt x="2875" y="2783"/>
                </a:lnTo>
                <a:lnTo>
                  <a:pt x="2886" y="2771"/>
                </a:lnTo>
                <a:lnTo>
                  <a:pt x="2896" y="2759"/>
                </a:lnTo>
                <a:lnTo>
                  <a:pt x="2896" y="2759"/>
                </a:lnTo>
                <a:lnTo>
                  <a:pt x="2896" y="2759"/>
                </a:lnTo>
                <a:lnTo>
                  <a:pt x="2901" y="2754"/>
                </a:lnTo>
                <a:lnTo>
                  <a:pt x="2906" y="2748"/>
                </a:lnTo>
                <a:lnTo>
                  <a:pt x="2919" y="2734"/>
                </a:lnTo>
                <a:lnTo>
                  <a:pt x="2931" y="2719"/>
                </a:lnTo>
                <a:lnTo>
                  <a:pt x="2931" y="2719"/>
                </a:lnTo>
                <a:lnTo>
                  <a:pt x="2932" y="2718"/>
                </a:lnTo>
                <a:lnTo>
                  <a:pt x="2934" y="2717"/>
                </a:lnTo>
                <a:lnTo>
                  <a:pt x="2935" y="2715"/>
                </a:lnTo>
                <a:lnTo>
                  <a:pt x="2939" y="2710"/>
                </a:lnTo>
                <a:lnTo>
                  <a:pt x="2943" y="2706"/>
                </a:lnTo>
                <a:lnTo>
                  <a:pt x="2947" y="2701"/>
                </a:lnTo>
                <a:lnTo>
                  <a:pt x="2950" y="2696"/>
                </a:lnTo>
                <a:lnTo>
                  <a:pt x="2966" y="2676"/>
                </a:lnTo>
                <a:lnTo>
                  <a:pt x="2980" y="2658"/>
                </a:lnTo>
                <a:lnTo>
                  <a:pt x="2983" y="2654"/>
                </a:lnTo>
                <a:lnTo>
                  <a:pt x="2985" y="2651"/>
                </a:lnTo>
                <a:lnTo>
                  <a:pt x="3044" y="2726"/>
                </a:lnTo>
                <a:lnTo>
                  <a:pt x="3173" y="2863"/>
                </a:lnTo>
                <a:lnTo>
                  <a:pt x="3317" y="2985"/>
                </a:lnTo>
                <a:lnTo>
                  <a:pt x="3475" y="3090"/>
                </a:lnTo>
                <a:lnTo>
                  <a:pt x="3645" y="3177"/>
                </a:lnTo>
                <a:lnTo>
                  <a:pt x="3825" y="3244"/>
                </a:lnTo>
                <a:lnTo>
                  <a:pt x="4015" y="3290"/>
                </a:lnTo>
                <a:lnTo>
                  <a:pt x="4212" y="3313"/>
                </a:lnTo>
                <a:lnTo>
                  <a:pt x="4313" y="3315"/>
                </a:lnTo>
                <a:lnTo>
                  <a:pt x="13535" y="3315"/>
                </a:lnTo>
                <a:lnTo>
                  <a:pt x="13589" y="3314"/>
                </a:lnTo>
                <a:lnTo>
                  <a:pt x="13693" y="3292"/>
                </a:lnTo>
                <a:lnTo>
                  <a:pt x="13741" y="3274"/>
                </a:lnTo>
                <a:lnTo>
                  <a:pt x="13743" y="3273"/>
                </a:lnTo>
                <a:lnTo>
                  <a:pt x="13745" y="3273"/>
                </a:lnTo>
                <a:lnTo>
                  <a:pt x="13755" y="3268"/>
                </a:lnTo>
                <a:lnTo>
                  <a:pt x="13765" y="3264"/>
                </a:lnTo>
                <a:lnTo>
                  <a:pt x="13804" y="3243"/>
                </a:lnTo>
                <a:lnTo>
                  <a:pt x="13877" y="3192"/>
                </a:lnTo>
                <a:lnTo>
                  <a:pt x="13908" y="3161"/>
                </a:lnTo>
                <a:lnTo>
                  <a:pt x="13909" y="3161"/>
                </a:lnTo>
                <a:lnTo>
                  <a:pt x="13910" y="3160"/>
                </a:lnTo>
                <a:lnTo>
                  <a:pt x="13945" y="3122"/>
                </a:lnTo>
                <a:lnTo>
                  <a:pt x="14003" y="3038"/>
                </a:lnTo>
                <a:lnTo>
                  <a:pt x="14043" y="2942"/>
                </a:lnTo>
                <a:lnTo>
                  <a:pt x="14063" y="2839"/>
                </a:lnTo>
                <a:lnTo>
                  <a:pt x="14066" y="2784"/>
                </a:lnTo>
                <a:lnTo>
                  <a:pt x="14066" y="2784"/>
                </a:lnTo>
                <a:lnTo>
                  <a:pt x="14066" y="2654"/>
                </a:lnTo>
                <a:lnTo>
                  <a:pt x="14066" y="2654"/>
                </a:lnTo>
                <a:lnTo>
                  <a:pt x="13837" y="2654"/>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 name="Freeform 586">
            <a:extLst>
              <a:ext uri="{FF2B5EF4-FFF2-40B4-BE49-F238E27FC236}">
                <a16:creationId xmlns:a16="http://schemas.microsoft.com/office/drawing/2014/main" id="{E08166AF-EED5-53F1-EF9C-92A09076DB91}"/>
              </a:ext>
            </a:extLst>
          </p:cNvPr>
          <p:cNvSpPr>
            <a:spLocks/>
          </p:cNvSpPr>
          <p:nvPr/>
        </p:nvSpPr>
        <p:spPr bwMode="auto">
          <a:xfrm>
            <a:off x="1838280" y="1450075"/>
            <a:ext cx="3900364" cy="899447"/>
          </a:xfrm>
          <a:custGeom>
            <a:avLst/>
            <a:gdLst>
              <a:gd name="T0" fmla="*/ 0 w 11294"/>
              <a:gd name="T1" fmla="*/ 0 h 2604"/>
              <a:gd name="T2" fmla="*/ 86 w 11294"/>
              <a:gd name="T3" fmla="*/ 56 h 2604"/>
              <a:gd name="T4" fmla="*/ 244 w 11294"/>
              <a:gd name="T5" fmla="*/ 187 h 2604"/>
              <a:gd name="T6" fmla="*/ 385 w 11294"/>
              <a:gd name="T7" fmla="*/ 336 h 2604"/>
              <a:gd name="T8" fmla="*/ 509 w 11294"/>
              <a:gd name="T9" fmla="*/ 500 h 2604"/>
              <a:gd name="T10" fmla="*/ 585 w 11294"/>
              <a:gd name="T11" fmla="*/ 634 h 2604"/>
              <a:gd name="T12" fmla="*/ 630 w 11294"/>
              <a:gd name="T13" fmla="*/ 727 h 2604"/>
              <a:gd name="T14" fmla="*/ 671 w 11294"/>
              <a:gd name="T15" fmla="*/ 824 h 2604"/>
              <a:gd name="T16" fmla="*/ 703 w 11294"/>
              <a:gd name="T17" fmla="*/ 923 h 2604"/>
              <a:gd name="T18" fmla="*/ 730 w 11294"/>
              <a:gd name="T19" fmla="*/ 1025 h 2604"/>
              <a:gd name="T20" fmla="*/ 751 w 11294"/>
              <a:gd name="T21" fmla="*/ 1130 h 2604"/>
              <a:gd name="T22" fmla="*/ 765 w 11294"/>
              <a:gd name="T23" fmla="*/ 1236 h 2604"/>
              <a:gd name="T24" fmla="*/ 772 w 11294"/>
              <a:gd name="T25" fmla="*/ 1345 h 2604"/>
              <a:gd name="T26" fmla="*/ 773 w 11294"/>
              <a:gd name="T27" fmla="*/ 1401 h 2604"/>
              <a:gd name="T28" fmla="*/ 773 w 11294"/>
              <a:gd name="T29" fmla="*/ 1407 h 2604"/>
              <a:gd name="T30" fmla="*/ 773 w 11294"/>
              <a:gd name="T31" fmla="*/ 1414 h 2604"/>
              <a:gd name="T32" fmla="*/ 774 w 11294"/>
              <a:gd name="T33" fmla="*/ 1466 h 2604"/>
              <a:gd name="T34" fmla="*/ 786 w 11294"/>
              <a:gd name="T35" fmla="*/ 1564 h 2604"/>
              <a:gd name="T36" fmla="*/ 807 w 11294"/>
              <a:gd name="T37" fmla="*/ 1660 h 2604"/>
              <a:gd name="T38" fmla="*/ 836 w 11294"/>
              <a:gd name="T39" fmla="*/ 1754 h 2604"/>
              <a:gd name="T40" fmla="*/ 874 w 11294"/>
              <a:gd name="T41" fmla="*/ 1842 h 2604"/>
              <a:gd name="T42" fmla="*/ 921 w 11294"/>
              <a:gd name="T43" fmla="*/ 1925 h 2604"/>
              <a:gd name="T44" fmla="*/ 975 w 11294"/>
              <a:gd name="T45" fmla="*/ 2004 h 2604"/>
              <a:gd name="T46" fmla="*/ 1036 w 11294"/>
              <a:gd name="T47" fmla="*/ 2076 h 2604"/>
              <a:gd name="T48" fmla="*/ 1103 w 11294"/>
              <a:gd name="T49" fmla="*/ 2144 h 2604"/>
              <a:gd name="T50" fmla="*/ 1177 w 11294"/>
              <a:gd name="T51" fmla="*/ 2203 h 2604"/>
              <a:gd name="T52" fmla="*/ 1256 w 11294"/>
              <a:gd name="T53" fmla="*/ 2256 h 2604"/>
              <a:gd name="T54" fmla="*/ 1341 w 11294"/>
              <a:gd name="T55" fmla="*/ 2302 h 2604"/>
              <a:gd name="T56" fmla="*/ 1429 w 11294"/>
              <a:gd name="T57" fmla="*/ 2338 h 2604"/>
              <a:gd name="T58" fmla="*/ 1522 w 11294"/>
              <a:gd name="T59" fmla="*/ 2368 h 2604"/>
              <a:gd name="T60" fmla="*/ 1619 w 11294"/>
              <a:gd name="T61" fmla="*/ 2387 h 2604"/>
              <a:gd name="T62" fmla="*/ 1719 w 11294"/>
              <a:gd name="T63" fmla="*/ 2396 h 2604"/>
              <a:gd name="T64" fmla="*/ 1770 w 11294"/>
              <a:gd name="T65" fmla="*/ 2398 h 2604"/>
              <a:gd name="T66" fmla="*/ 1770 w 11294"/>
              <a:gd name="T67" fmla="*/ 2604 h 2604"/>
              <a:gd name="T68" fmla="*/ 11294 w 11294"/>
              <a:gd name="T69" fmla="*/ 2604 h 2604"/>
              <a:gd name="T70" fmla="*/ 11294 w 11294"/>
              <a:gd name="T71" fmla="*/ 543 h 2604"/>
              <a:gd name="T72" fmla="*/ 11292 w 11294"/>
              <a:gd name="T73" fmla="*/ 487 h 2604"/>
              <a:gd name="T74" fmla="*/ 11270 w 11294"/>
              <a:gd name="T75" fmla="*/ 381 h 2604"/>
              <a:gd name="T76" fmla="*/ 11229 w 11294"/>
              <a:gd name="T77" fmla="*/ 284 h 2604"/>
              <a:gd name="T78" fmla="*/ 11170 w 11294"/>
              <a:gd name="T79" fmla="*/ 197 h 2604"/>
              <a:gd name="T80" fmla="*/ 11097 w 11294"/>
              <a:gd name="T81" fmla="*/ 123 h 2604"/>
              <a:gd name="T82" fmla="*/ 11010 w 11294"/>
              <a:gd name="T83" fmla="*/ 65 h 2604"/>
              <a:gd name="T84" fmla="*/ 10913 w 11294"/>
              <a:gd name="T85" fmla="*/ 23 h 2604"/>
              <a:gd name="T86" fmla="*/ 10806 w 11294"/>
              <a:gd name="T87" fmla="*/ 1 h 2604"/>
              <a:gd name="T88" fmla="*/ 10751 w 11294"/>
              <a:gd name="T89" fmla="*/ 0 h 2604"/>
              <a:gd name="T90" fmla="*/ 0 w 11294"/>
              <a:gd name="T91" fmla="*/ 0 h 2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94" h="2604">
                <a:moveTo>
                  <a:pt x="0" y="0"/>
                </a:moveTo>
                <a:lnTo>
                  <a:pt x="86" y="56"/>
                </a:lnTo>
                <a:lnTo>
                  <a:pt x="244" y="187"/>
                </a:lnTo>
                <a:lnTo>
                  <a:pt x="385" y="336"/>
                </a:lnTo>
                <a:lnTo>
                  <a:pt x="509" y="500"/>
                </a:lnTo>
                <a:lnTo>
                  <a:pt x="585" y="634"/>
                </a:lnTo>
                <a:lnTo>
                  <a:pt x="630" y="727"/>
                </a:lnTo>
                <a:lnTo>
                  <a:pt x="671" y="824"/>
                </a:lnTo>
                <a:lnTo>
                  <a:pt x="703" y="923"/>
                </a:lnTo>
                <a:lnTo>
                  <a:pt x="730" y="1025"/>
                </a:lnTo>
                <a:lnTo>
                  <a:pt x="751" y="1130"/>
                </a:lnTo>
                <a:lnTo>
                  <a:pt x="765" y="1236"/>
                </a:lnTo>
                <a:lnTo>
                  <a:pt x="772" y="1345"/>
                </a:lnTo>
                <a:lnTo>
                  <a:pt x="773" y="1401"/>
                </a:lnTo>
                <a:lnTo>
                  <a:pt x="773" y="1407"/>
                </a:lnTo>
                <a:lnTo>
                  <a:pt x="773" y="1414"/>
                </a:lnTo>
                <a:lnTo>
                  <a:pt x="774" y="1466"/>
                </a:lnTo>
                <a:lnTo>
                  <a:pt x="786" y="1564"/>
                </a:lnTo>
                <a:lnTo>
                  <a:pt x="807" y="1660"/>
                </a:lnTo>
                <a:lnTo>
                  <a:pt x="836" y="1754"/>
                </a:lnTo>
                <a:lnTo>
                  <a:pt x="874" y="1842"/>
                </a:lnTo>
                <a:lnTo>
                  <a:pt x="921" y="1925"/>
                </a:lnTo>
                <a:lnTo>
                  <a:pt x="975" y="2004"/>
                </a:lnTo>
                <a:lnTo>
                  <a:pt x="1036" y="2076"/>
                </a:lnTo>
                <a:lnTo>
                  <a:pt x="1103" y="2144"/>
                </a:lnTo>
                <a:lnTo>
                  <a:pt x="1177" y="2203"/>
                </a:lnTo>
                <a:lnTo>
                  <a:pt x="1256" y="2256"/>
                </a:lnTo>
                <a:lnTo>
                  <a:pt x="1341" y="2302"/>
                </a:lnTo>
                <a:lnTo>
                  <a:pt x="1429" y="2338"/>
                </a:lnTo>
                <a:lnTo>
                  <a:pt x="1522" y="2368"/>
                </a:lnTo>
                <a:lnTo>
                  <a:pt x="1619" y="2387"/>
                </a:lnTo>
                <a:lnTo>
                  <a:pt x="1719" y="2396"/>
                </a:lnTo>
                <a:lnTo>
                  <a:pt x="1770" y="2398"/>
                </a:lnTo>
                <a:lnTo>
                  <a:pt x="1770" y="2604"/>
                </a:lnTo>
                <a:lnTo>
                  <a:pt x="11294" y="2604"/>
                </a:lnTo>
                <a:lnTo>
                  <a:pt x="11294" y="543"/>
                </a:lnTo>
                <a:lnTo>
                  <a:pt x="11292" y="487"/>
                </a:lnTo>
                <a:lnTo>
                  <a:pt x="11270" y="381"/>
                </a:lnTo>
                <a:lnTo>
                  <a:pt x="11229" y="284"/>
                </a:lnTo>
                <a:lnTo>
                  <a:pt x="11170" y="197"/>
                </a:lnTo>
                <a:lnTo>
                  <a:pt x="11097" y="123"/>
                </a:lnTo>
                <a:lnTo>
                  <a:pt x="11010" y="65"/>
                </a:lnTo>
                <a:lnTo>
                  <a:pt x="10913" y="23"/>
                </a:lnTo>
                <a:lnTo>
                  <a:pt x="10806" y="1"/>
                </a:lnTo>
                <a:lnTo>
                  <a:pt x="10751" y="0"/>
                </a:lnTo>
                <a:lnTo>
                  <a:pt x="0" y="0"/>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5" name="Freeform 584">
            <a:extLst>
              <a:ext uri="{FF2B5EF4-FFF2-40B4-BE49-F238E27FC236}">
                <a16:creationId xmlns:a16="http://schemas.microsoft.com/office/drawing/2014/main" id="{55E81A74-75D1-64AF-4B13-9648C94621FA}"/>
              </a:ext>
            </a:extLst>
          </p:cNvPr>
          <p:cNvSpPr>
            <a:spLocks/>
          </p:cNvSpPr>
          <p:nvPr/>
        </p:nvSpPr>
        <p:spPr bwMode="auto">
          <a:xfrm>
            <a:off x="978608" y="3113056"/>
            <a:ext cx="4859221" cy="1145378"/>
          </a:xfrm>
          <a:custGeom>
            <a:avLst/>
            <a:gdLst>
              <a:gd name="T0" fmla="*/ 13835 w 14066"/>
              <a:gd name="T1" fmla="*/ 744 h 3315"/>
              <a:gd name="T2" fmla="*/ 13713 w 14066"/>
              <a:gd name="T3" fmla="*/ 454 h 3315"/>
              <a:gd name="T4" fmla="*/ 13456 w 14066"/>
              <a:gd name="T5" fmla="*/ 280 h 3315"/>
              <a:gd name="T6" fmla="*/ 2543 w 14066"/>
              <a:gd name="T7" fmla="*/ 257 h 3315"/>
              <a:gd name="T8" fmla="*/ 2291 w 14066"/>
              <a:gd name="T9" fmla="*/ 124 h 3315"/>
              <a:gd name="T10" fmla="*/ 1956 w 14066"/>
              <a:gd name="T11" fmla="*/ 26 h 3315"/>
              <a:gd name="T12" fmla="*/ 1658 w 14066"/>
              <a:gd name="T13" fmla="*/ 0 h 3315"/>
              <a:gd name="T14" fmla="*/ 1243 w 14066"/>
              <a:gd name="T15" fmla="*/ 52 h 3315"/>
              <a:gd name="T16" fmla="*/ 798 w 14066"/>
              <a:gd name="T17" fmla="*/ 240 h 3315"/>
              <a:gd name="T18" fmla="*/ 431 w 14066"/>
              <a:gd name="T19" fmla="*/ 543 h 3315"/>
              <a:gd name="T20" fmla="*/ 162 w 14066"/>
              <a:gd name="T21" fmla="*/ 938 h 3315"/>
              <a:gd name="T22" fmla="*/ 19 w 14066"/>
              <a:gd name="T23" fmla="*/ 1405 h 3315"/>
              <a:gd name="T24" fmla="*/ 0 w 14066"/>
              <a:gd name="T25" fmla="*/ 1720 h 3315"/>
              <a:gd name="T26" fmla="*/ 54 w 14066"/>
              <a:gd name="T27" fmla="*/ 2076 h 3315"/>
              <a:gd name="T28" fmla="*/ 177 w 14066"/>
              <a:gd name="T29" fmla="*/ 2404 h 3315"/>
              <a:gd name="T30" fmla="*/ 365 w 14066"/>
              <a:gd name="T31" fmla="*/ 2696 h 3315"/>
              <a:gd name="T32" fmla="*/ 607 w 14066"/>
              <a:gd name="T33" fmla="*/ 2941 h 3315"/>
              <a:gd name="T34" fmla="*/ 896 w 14066"/>
              <a:gd name="T35" fmla="*/ 3130 h 3315"/>
              <a:gd name="T36" fmla="*/ 1199 w 14066"/>
              <a:gd name="T37" fmla="*/ 3252 h 3315"/>
              <a:gd name="T38" fmla="*/ 1658 w 14066"/>
              <a:gd name="T39" fmla="*/ 3315 h 3315"/>
              <a:gd name="T40" fmla="*/ 1700 w 14066"/>
              <a:gd name="T41" fmla="*/ 3315 h 3315"/>
              <a:gd name="T42" fmla="*/ 1766 w 14066"/>
              <a:gd name="T43" fmla="*/ 3312 h 3315"/>
              <a:gd name="T44" fmla="*/ 1834 w 14066"/>
              <a:gd name="T45" fmla="*/ 3306 h 3315"/>
              <a:gd name="T46" fmla="*/ 1899 w 14066"/>
              <a:gd name="T47" fmla="*/ 3297 h 3315"/>
              <a:gd name="T48" fmla="*/ 1954 w 14066"/>
              <a:gd name="T49" fmla="*/ 3288 h 3315"/>
              <a:gd name="T50" fmla="*/ 2011 w 14066"/>
              <a:gd name="T51" fmla="*/ 3278 h 3315"/>
              <a:gd name="T52" fmla="*/ 2070 w 14066"/>
              <a:gd name="T53" fmla="*/ 3264 h 3315"/>
              <a:gd name="T54" fmla="*/ 2125 w 14066"/>
              <a:gd name="T55" fmla="*/ 3248 h 3315"/>
              <a:gd name="T56" fmla="*/ 2178 w 14066"/>
              <a:gd name="T57" fmla="*/ 3231 h 3315"/>
              <a:gd name="T58" fmla="*/ 2241 w 14066"/>
              <a:gd name="T59" fmla="*/ 3209 h 3315"/>
              <a:gd name="T60" fmla="*/ 2328 w 14066"/>
              <a:gd name="T61" fmla="*/ 3174 h 3315"/>
              <a:gd name="T62" fmla="*/ 2790 w 14066"/>
              <a:gd name="T63" fmla="*/ 2870 h 3315"/>
              <a:gd name="T64" fmla="*/ 2855 w 14066"/>
              <a:gd name="T65" fmla="*/ 2805 h 3315"/>
              <a:gd name="T66" fmla="*/ 2869 w 14066"/>
              <a:gd name="T67" fmla="*/ 2789 h 3315"/>
              <a:gd name="T68" fmla="*/ 2896 w 14066"/>
              <a:gd name="T69" fmla="*/ 2759 h 3315"/>
              <a:gd name="T70" fmla="*/ 2901 w 14066"/>
              <a:gd name="T71" fmla="*/ 2754 h 3315"/>
              <a:gd name="T72" fmla="*/ 2931 w 14066"/>
              <a:gd name="T73" fmla="*/ 2719 h 3315"/>
              <a:gd name="T74" fmla="*/ 2934 w 14066"/>
              <a:gd name="T75" fmla="*/ 2717 h 3315"/>
              <a:gd name="T76" fmla="*/ 2943 w 14066"/>
              <a:gd name="T77" fmla="*/ 2706 h 3315"/>
              <a:gd name="T78" fmla="*/ 2966 w 14066"/>
              <a:gd name="T79" fmla="*/ 2676 h 3315"/>
              <a:gd name="T80" fmla="*/ 2985 w 14066"/>
              <a:gd name="T81" fmla="*/ 2651 h 3315"/>
              <a:gd name="T82" fmla="*/ 3317 w 14066"/>
              <a:gd name="T83" fmla="*/ 2985 h 3315"/>
              <a:gd name="T84" fmla="*/ 3825 w 14066"/>
              <a:gd name="T85" fmla="*/ 3244 h 3315"/>
              <a:gd name="T86" fmla="*/ 4313 w 14066"/>
              <a:gd name="T87" fmla="*/ 3315 h 3315"/>
              <a:gd name="T88" fmla="*/ 13693 w 14066"/>
              <a:gd name="T89" fmla="*/ 3292 h 3315"/>
              <a:gd name="T90" fmla="*/ 13745 w 14066"/>
              <a:gd name="T91" fmla="*/ 3273 h 3315"/>
              <a:gd name="T92" fmla="*/ 13804 w 14066"/>
              <a:gd name="T93" fmla="*/ 3243 h 3315"/>
              <a:gd name="T94" fmla="*/ 13909 w 14066"/>
              <a:gd name="T95" fmla="*/ 3161 h 3315"/>
              <a:gd name="T96" fmla="*/ 14003 w 14066"/>
              <a:gd name="T97" fmla="*/ 3038 h 3315"/>
              <a:gd name="T98" fmla="*/ 14066 w 14066"/>
              <a:gd name="T99" fmla="*/ 2784 h 3315"/>
              <a:gd name="T100" fmla="*/ 14066 w 14066"/>
              <a:gd name="T101" fmla="*/ 2654 h 3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6" h="3315">
                <a:moveTo>
                  <a:pt x="13837" y="2654"/>
                </a:moveTo>
                <a:lnTo>
                  <a:pt x="13837" y="800"/>
                </a:lnTo>
                <a:lnTo>
                  <a:pt x="13835" y="744"/>
                </a:lnTo>
                <a:lnTo>
                  <a:pt x="13813" y="638"/>
                </a:lnTo>
                <a:lnTo>
                  <a:pt x="13772" y="540"/>
                </a:lnTo>
                <a:lnTo>
                  <a:pt x="13713" y="454"/>
                </a:lnTo>
                <a:lnTo>
                  <a:pt x="13640" y="380"/>
                </a:lnTo>
                <a:lnTo>
                  <a:pt x="13553" y="321"/>
                </a:lnTo>
                <a:lnTo>
                  <a:pt x="13456" y="280"/>
                </a:lnTo>
                <a:lnTo>
                  <a:pt x="13349" y="258"/>
                </a:lnTo>
                <a:lnTo>
                  <a:pt x="13294" y="257"/>
                </a:lnTo>
                <a:lnTo>
                  <a:pt x="2543" y="257"/>
                </a:lnTo>
                <a:lnTo>
                  <a:pt x="2494" y="227"/>
                </a:lnTo>
                <a:lnTo>
                  <a:pt x="2394" y="172"/>
                </a:lnTo>
                <a:lnTo>
                  <a:pt x="2291" y="124"/>
                </a:lnTo>
                <a:lnTo>
                  <a:pt x="2182" y="84"/>
                </a:lnTo>
                <a:lnTo>
                  <a:pt x="2070" y="52"/>
                </a:lnTo>
                <a:lnTo>
                  <a:pt x="1956" y="26"/>
                </a:lnTo>
                <a:lnTo>
                  <a:pt x="1838" y="9"/>
                </a:lnTo>
                <a:lnTo>
                  <a:pt x="1719" y="0"/>
                </a:lnTo>
                <a:lnTo>
                  <a:pt x="1658" y="0"/>
                </a:lnTo>
                <a:lnTo>
                  <a:pt x="1573" y="1"/>
                </a:lnTo>
                <a:lnTo>
                  <a:pt x="1405" y="18"/>
                </a:lnTo>
                <a:lnTo>
                  <a:pt x="1243" y="52"/>
                </a:lnTo>
                <a:lnTo>
                  <a:pt x="1088" y="100"/>
                </a:lnTo>
                <a:lnTo>
                  <a:pt x="939" y="163"/>
                </a:lnTo>
                <a:lnTo>
                  <a:pt x="798" y="240"/>
                </a:lnTo>
                <a:lnTo>
                  <a:pt x="665" y="329"/>
                </a:lnTo>
                <a:lnTo>
                  <a:pt x="542" y="430"/>
                </a:lnTo>
                <a:lnTo>
                  <a:pt x="431" y="543"/>
                </a:lnTo>
                <a:lnTo>
                  <a:pt x="328" y="665"/>
                </a:lnTo>
                <a:lnTo>
                  <a:pt x="239" y="797"/>
                </a:lnTo>
                <a:lnTo>
                  <a:pt x="162" y="938"/>
                </a:lnTo>
                <a:lnTo>
                  <a:pt x="100" y="1087"/>
                </a:lnTo>
                <a:lnTo>
                  <a:pt x="51" y="1243"/>
                </a:lnTo>
                <a:lnTo>
                  <a:pt x="19" y="1405"/>
                </a:lnTo>
                <a:lnTo>
                  <a:pt x="2" y="1572"/>
                </a:lnTo>
                <a:lnTo>
                  <a:pt x="0" y="1658"/>
                </a:lnTo>
                <a:lnTo>
                  <a:pt x="0" y="1720"/>
                </a:lnTo>
                <a:lnTo>
                  <a:pt x="10" y="1842"/>
                </a:lnTo>
                <a:lnTo>
                  <a:pt x="28" y="1961"/>
                </a:lnTo>
                <a:lnTo>
                  <a:pt x="54" y="2076"/>
                </a:lnTo>
                <a:lnTo>
                  <a:pt x="87" y="2190"/>
                </a:lnTo>
                <a:lnTo>
                  <a:pt x="129" y="2299"/>
                </a:lnTo>
                <a:lnTo>
                  <a:pt x="177" y="2404"/>
                </a:lnTo>
                <a:lnTo>
                  <a:pt x="234" y="2507"/>
                </a:lnTo>
                <a:lnTo>
                  <a:pt x="296" y="2604"/>
                </a:lnTo>
                <a:lnTo>
                  <a:pt x="365" y="2696"/>
                </a:lnTo>
                <a:lnTo>
                  <a:pt x="440" y="2783"/>
                </a:lnTo>
                <a:lnTo>
                  <a:pt x="520" y="2864"/>
                </a:lnTo>
                <a:lnTo>
                  <a:pt x="607" y="2941"/>
                </a:lnTo>
                <a:lnTo>
                  <a:pt x="699" y="3010"/>
                </a:lnTo>
                <a:lnTo>
                  <a:pt x="795" y="3073"/>
                </a:lnTo>
                <a:lnTo>
                  <a:pt x="896" y="3130"/>
                </a:lnTo>
                <a:lnTo>
                  <a:pt x="948" y="3156"/>
                </a:lnTo>
                <a:lnTo>
                  <a:pt x="1030" y="3192"/>
                </a:lnTo>
                <a:lnTo>
                  <a:pt x="1199" y="3252"/>
                </a:lnTo>
                <a:lnTo>
                  <a:pt x="1378" y="3293"/>
                </a:lnTo>
                <a:lnTo>
                  <a:pt x="1564" y="3314"/>
                </a:lnTo>
                <a:lnTo>
                  <a:pt x="1658" y="3315"/>
                </a:lnTo>
                <a:lnTo>
                  <a:pt x="1658" y="3315"/>
                </a:lnTo>
                <a:lnTo>
                  <a:pt x="1659" y="3315"/>
                </a:lnTo>
                <a:lnTo>
                  <a:pt x="1700" y="3315"/>
                </a:lnTo>
                <a:lnTo>
                  <a:pt x="1740" y="3313"/>
                </a:lnTo>
                <a:lnTo>
                  <a:pt x="1753" y="3313"/>
                </a:lnTo>
                <a:lnTo>
                  <a:pt x="1766" y="3312"/>
                </a:lnTo>
                <a:lnTo>
                  <a:pt x="1793" y="3310"/>
                </a:lnTo>
                <a:lnTo>
                  <a:pt x="1820" y="3308"/>
                </a:lnTo>
                <a:lnTo>
                  <a:pt x="1834" y="3306"/>
                </a:lnTo>
                <a:lnTo>
                  <a:pt x="1850" y="3304"/>
                </a:lnTo>
                <a:lnTo>
                  <a:pt x="1875" y="3301"/>
                </a:lnTo>
                <a:lnTo>
                  <a:pt x="1899" y="3297"/>
                </a:lnTo>
                <a:lnTo>
                  <a:pt x="1915" y="3296"/>
                </a:lnTo>
                <a:lnTo>
                  <a:pt x="1932" y="3292"/>
                </a:lnTo>
                <a:lnTo>
                  <a:pt x="1954" y="3288"/>
                </a:lnTo>
                <a:lnTo>
                  <a:pt x="1977" y="3284"/>
                </a:lnTo>
                <a:lnTo>
                  <a:pt x="1994" y="3282"/>
                </a:lnTo>
                <a:lnTo>
                  <a:pt x="2011" y="3278"/>
                </a:lnTo>
                <a:lnTo>
                  <a:pt x="2031" y="3273"/>
                </a:lnTo>
                <a:lnTo>
                  <a:pt x="2052" y="3268"/>
                </a:lnTo>
                <a:lnTo>
                  <a:pt x="2070" y="3264"/>
                </a:lnTo>
                <a:lnTo>
                  <a:pt x="2089" y="3258"/>
                </a:lnTo>
                <a:lnTo>
                  <a:pt x="2107" y="3253"/>
                </a:lnTo>
                <a:lnTo>
                  <a:pt x="2125" y="3248"/>
                </a:lnTo>
                <a:lnTo>
                  <a:pt x="2146" y="3243"/>
                </a:lnTo>
                <a:lnTo>
                  <a:pt x="2165" y="3236"/>
                </a:lnTo>
                <a:lnTo>
                  <a:pt x="2178" y="3231"/>
                </a:lnTo>
                <a:lnTo>
                  <a:pt x="2191" y="3227"/>
                </a:lnTo>
                <a:lnTo>
                  <a:pt x="2217" y="3218"/>
                </a:lnTo>
                <a:lnTo>
                  <a:pt x="2241" y="3209"/>
                </a:lnTo>
                <a:lnTo>
                  <a:pt x="2241" y="3209"/>
                </a:lnTo>
                <a:lnTo>
                  <a:pt x="2241" y="3209"/>
                </a:lnTo>
                <a:lnTo>
                  <a:pt x="2328" y="3174"/>
                </a:lnTo>
                <a:lnTo>
                  <a:pt x="2494" y="3090"/>
                </a:lnTo>
                <a:lnTo>
                  <a:pt x="2648" y="2989"/>
                </a:lnTo>
                <a:lnTo>
                  <a:pt x="2790" y="2870"/>
                </a:lnTo>
                <a:lnTo>
                  <a:pt x="2855" y="2805"/>
                </a:lnTo>
                <a:lnTo>
                  <a:pt x="2855" y="2805"/>
                </a:lnTo>
                <a:lnTo>
                  <a:pt x="2855" y="2805"/>
                </a:lnTo>
                <a:lnTo>
                  <a:pt x="2858" y="2801"/>
                </a:lnTo>
                <a:lnTo>
                  <a:pt x="2862" y="2797"/>
                </a:lnTo>
                <a:lnTo>
                  <a:pt x="2869" y="2789"/>
                </a:lnTo>
                <a:lnTo>
                  <a:pt x="2875" y="2783"/>
                </a:lnTo>
                <a:lnTo>
                  <a:pt x="2886" y="2771"/>
                </a:lnTo>
                <a:lnTo>
                  <a:pt x="2896" y="2759"/>
                </a:lnTo>
                <a:lnTo>
                  <a:pt x="2896" y="2759"/>
                </a:lnTo>
                <a:lnTo>
                  <a:pt x="2896" y="2759"/>
                </a:lnTo>
                <a:lnTo>
                  <a:pt x="2901" y="2754"/>
                </a:lnTo>
                <a:lnTo>
                  <a:pt x="2906" y="2748"/>
                </a:lnTo>
                <a:lnTo>
                  <a:pt x="2919" y="2734"/>
                </a:lnTo>
                <a:lnTo>
                  <a:pt x="2931" y="2719"/>
                </a:lnTo>
                <a:lnTo>
                  <a:pt x="2931" y="2719"/>
                </a:lnTo>
                <a:lnTo>
                  <a:pt x="2932" y="2718"/>
                </a:lnTo>
                <a:lnTo>
                  <a:pt x="2934" y="2717"/>
                </a:lnTo>
                <a:lnTo>
                  <a:pt x="2935" y="2715"/>
                </a:lnTo>
                <a:lnTo>
                  <a:pt x="2939" y="2710"/>
                </a:lnTo>
                <a:lnTo>
                  <a:pt x="2943" y="2706"/>
                </a:lnTo>
                <a:lnTo>
                  <a:pt x="2947" y="2701"/>
                </a:lnTo>
                <a:lnTo>
                  <a:pt x="2950" y="2696"/>
                </a:lnTo>
                <a:lnTo>
                  <a:pt x="2966" y="2676"/>
                </a:lnTo>
                <a:lnTo>
                  <a:pt x="2980" y="2658"/>
                </a:lnTo>
                <a:lnTo>
                  <a:pt x="2983" y="2654"/>
                </a:lnTo>
                <a:lnTo>
                  <a:pt x="2985" y="2651"/>
                </a:lnTo>
                <a:lnTo>
                  <a:pt x="3044" y="2726"/>
                </a:lnTo>
                <a:lnTo>
                  <a:pt x="3173" y="2863"/>
                </a:lnTo>
                <a:lnTo>
                  <a:pt x="3317" y="2985"/>
                </a:lnTo>
                <a:lnTo>
                  <a:pt x="3475" y="3090"/>
                </a:lnTo>
                <a:lnTo>
                  <a:pt x="3645" y="3177"/>
                </a:lnTo>
                <a:lnTo>
                  <a:pt x="3825" y="3244"/>
                </a:lnTo>
                <a:lnTo>
                  <a:pt x="4015" y="3290"/>
                </a:lnTo>
                <a:lnTo>
                  <a:pt x="4212" y="3313"/>
                </a:lnTo>
                <a:lnTo>
                  <a:pt x="4313" y="3315"/>
                </a:lnTo>
                <a:lnTo>
                  <a:pt x="13535" y="3315"/>
                </a:lnTo>
                <a:lnTo>
                  <a:pt x="13589" y="3314"/>
                </a:lnTo>
                <a:lnTo>
                  <a:pt x="13693" y="3292"/>
                </a:lnTo>
                <a:lnTo>
                  <a:pt x="13741" y="3274"/>
                </a:lnTo>
                <a:lnTo>
                  <a:pt x="13743" y="3273"/>
                </a:lnTo>
                <a:lnTo>
                  <a:pt x="13745" y="3273"/>
                </a:lnTo>
                <a:lnTo>
                  <a:pt x="13755" y="3268"/>
                </a:lnTo>
                <a:lnTo>
                  <a:pt x="13765" y="3264"/>
                </a:lnTo>
                <a:lnTo>
                  <a:pt x="13804" y="3243"/>
                </a:lnTo>
                <a:lnTo>
                  <a:pt x="13877" y="3192"/>
                </a:lnTo>
                <a:lnTo>
                  <a:pt x="13908" y="3161"/>
                </a:lnTo>
                <a:lnTo>
                  <a:pt x="13909" y="3161"/>
                </a:lnTo>
                <a:lnTo>
                  <a:pt x="13910" y="3160"/>
                </a:lnTo>
                <a:lnTo>
                  <a:pt x="13945" y="3122"/>
                </a:lnTo>
                <a:lnTo>
                  <a:pt x="14003" y="3038"/>
                </a:lnTo>
                <a:lnTo>
                  <a:pt x="14043" y="2942"/>
                </a:lnTo>
                <a:lnTo>
                  <a:pt x="14063" y="2839"/>
                </a:lnTo>
                <a:lnTo>
                  <a:pt x="14066" y="2784"/>
                </a:lnTo>
                <a:lnTo>
                  <a:pt x="14066" y="2784"/>
                </a:lnTo>
                <a:lnTo>
                  <a:pt x="14066" y="2654"/>
                </a:lnTo>
                <a:lnTo>
                  <a:pt x="14066" y="2654"/>
                </a:lnTo>
                <a:lnTo>
                  <a:pt x="13837" y="2654"/>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6" name="Freeform 586">
            <a:extLst>
              <a:ext uri="{FF2B5EF4-FFF2-40B4-BE49-F238E27FC236}">
                <a16:creationId xmlns:a16="http://schemas.microsoft.com/office/drawing/2014/main" id="{427AF4C7-DBD7-627F-CA3F-A2482F7E5486}"/>
              </a:ext>
            </a:extLst>
          </p:cNvPr>
          <p:cNvSpPr>
            <a:spLocks/>
          </p:cNvSpPr>
          <p:nvPr/>
        </p:nvSpPr>
        <p:spPr bwMode="auto">
          <a:xfrm>
            <a:off x="1838280" y="3103384"/>
            <a:ext cx="3900364" cy="899447"/>
          </a:xfrm>
          <a:custGeom>
            <a:avLst/>
            <a:gdLst>
              <a:gd name="T0" fmla="*/ 0 w 11294"/>
              <a:gd name="T1" fmla="*/ 0 h 2604"/>
              <a:gd name="T2" fmla="*/ 86 w 11294"/>
              <a:gd name="T3" fmla="*/ 56 h 2604"/>
              <a:gd name="T4" fmla="*/ 244 w 11294"/>
              <a:gd name="T5" fmla="*/ 187 h 2604"/>
              <a:gd name="T6" fmla="*/ 385 w 11294"/>
              <a:gd name="T7" fmla="*/ 336 h 2604"/>
              <a:gd name="T8" fmla="*/ 509 w 11294"/>
              <a:gd name="T9" fmla="*/ 500 h 2604"/>
              <a:gd name="T10" fmla="*/ 585 w 11294"/>
              <a:gd name="T11" fmla="*/ 634 h 2604"/>
              <a:gd name="T12" fmla="*/ 630 w 11294"/>
              <a:gd name="T13" fmla="*/ 727 h 2604"/>
              <a:gd name="T14" fmla="*/ 671 w 11294"/>
              <a:gd name="T15" fmla="*/ 824 h 2604"/>
              <a:gd name="T16" fmla="*/ 703 w 11294"/>
              <a:gd name="T17" fmla="*/ 923 h 2604"/>
              <a:gd name="T18" fmla="*/ 730 w 11294"/>
              <a:gd name="T19" fmla="*/ 1025 h 2604"/>
              <a:gd name="T20" fmla="*/ 751 w 11294"/>
              <a:gd name="T21" fmla="*/ 1130 h 2604"/>
              <a:gd name="T22" fmla="*/ 765 w 11294"/>
              <a:gd name="T23" fmla="*/ 1236 h 2604"/>
              <a:gd name="T24" fmla="*/ 772 w 11294"/>
              <a:gd name="T25" fmla="*/ 1345 h 2604"/>
              <a:gd name="T26" fmla="*/ 773 w 11294"/>
              <a:gd name="T27" fmla="*/ 1401 h 2604"/>
              <a:gd name="T28" fmla="*/ 773 w 11294"/>
              <a:gd name="T29" fmla="*/ 1407 h 2604"/>
              <a:gd name="T30" fmla="*/ 773 w 11294"/>
              <a:gd name="T31" fmla="*/ 1414 h 2604"/>
              <a:gd name="T32" fmla="*/ 774 w 11294"/>
              <a:gd name="T33" fmla="*/ 1466 h 2604"/>
              <a:gd name="T34" fmla="*/ 786 w 11294"/>
              <a:gd name="T35" fmla="*/ 1564 h 2604"/>
              <a:gd name="T36" fmla="*/ 807 w 11294"/>
              <a:gd name="T37" fmla="*/ 1660 h 2604"/>
              <a:gd name="T38" fmla="*/ 836 w 11294"/>
              <a:gd name="T39" fmla="*/ 1754 h 2604"/>
              <a:gd name="T40" fmla="*/ 874 w 11294"/>
              <a:gd name="T41" fmla="*/ 1842 h 2604"/>
              <a:gd name="T42" fmla="*/ 921 w 11294"/>
              <a:gd name="T43" fmla="*/ 1925 h 2604"/>
              <a:gd name="T44" fmla="*/ 975 w 11294"/>
              <a:gd name="T45" fmla="*/ 2004 h 2604"/>
              <a:gd name="T46" fmla="*/ 1036 w 11294"/>
              <a:gd name="T47" fmla="*/ 2076 h 2604"/>
              <a:gd name="T48" fmla="*/ 1103 w 11294"/>
              <a:gd name="T49" fmla="*/ 2144 h 2604"/>
              <a:gd name="T50" fmla="*/ 1177 w 11294"/>
              <a:gd name="T51" fmla="*/ 2203 h 2604"/>
              <a:gd name="T52" fmla="*/ 1256 w 11294"/>
              <a:gd name="T53" fmla="*/ 2256 h 2604"/>
              <a:gd name="T54" fmla="*/ 1341 w 11294"/>
              <a:gd name="T55" fmla="*/ 2302 h 2604"/>
              <a:gd name="T56" fmla="*/ 1429 w 11294"/>
              <a:gd name="T57" fmla="*/ 2338 h 2604"/>
              <a:gd name="T58" fmla="*/ 1522 w 11294"/>
              <a:gd name="T59" fmla="*/ 2368 h 2604"/>
              <a:gd name="T60" fmla="*/ 1619 w 11294"/>
              <a:gd name="T61" fmla="*/ 2387 h 2604"/>
              <a:gd name="T62" fmla="*/ 1719 w 11294"/>
              <a:gd name="T63" fmla="*/ 2396 h 2604"/>
              <a:gd name="T64" fmla="*/ 1770 w 11294"/>
              <a:gd name="T65" fmla="*/ 2398 h 2604"/>
              <a:gd name="T66" fmla="*/ 1770 w 11294"/>
              <a:gd name="T67" fmla="*/ 2604 h 2604"/>
              <a:gd name="T68" fmla="*/ 11294 w 11294"/>
              <a:gd name="T69" fmla="*/ 2604 h 2604"/>
              <a:gd name="T70" fmla="*/ 11294 w 11294"/>
              <a:gd name="T71" fmla="*/ 543 h 2604"/>
              <a:gd name="T72" fmla="*/ 11292 w 11294"/>
              <a:gd name="T73" fmla="*/ 487 h 2604"/>
              <a:gd name="T74" fmla="*/ 11270 w 11294"/>
              <a:gd name="T75" fmla="*/ 381 h 2604"/>
              <a:gd name="T76" fmla="*/ 11229 w 11294"/>
              <a:gd name="T77" fmla="*/ 284 h 2604"/>
              <a:gd name="T78" fmla="*/ 11170 w 11294"/>
              <a:gd name="T79" fmla="*/ 197 h 2604"/>
              <a:gd name="T80" fmla="*/ 11097 w 11294"/>
              <a:gd name="T81" fmla="*/ 123 h 2604"/>
              <a:gd name="T82" fmla="*/ 11010 w 11294"/>
              <a:gd name="T83" fmla="*/ 65 h 2604"/>
              <a:gd name="T84" fmla="*/ 10913 w 11294"/>
              <a:gd name="T85" fmla="*/ 23 h 2604"/>
              <a:gd name="T86" fmla="*/ 10806 w 11294"/>
              <a:gd name="T87" fmla="*/ 1 h 2604"/>
              <a:gd name="T88" fmla="*/ 10751 w 11294"/>
              <a:gd name="T89" fmla="*/ 0 h 2604"/>
              <a:gd name="T90" fmla="*/ 0 w 11294"/>
              <a:gd name="T91" fmla="*/ 0 h 2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94" h="2604">
                <a:moveTo>
                  <a:pt x="0" y="0"/>
                </a:moveTo>
                <a:lnTo>
                  <a:pt x="86" y="56"/>
                </a:lnTo>
                <a:lnTo>
                  <a:pt x="244" y="187"/>
                </a:lnTo>
                <a:lnTo>
                  <a:pt x="385" y="336"/>
                </a:lnTo>
                <a:lnTo>
                  <a:pt x="509" y="500"/>
                </a:lnTo>
                <a:lnTo>
                  <a:pt x="585" y="634"/>
                </a:lnTo>
                <a:lnTo>
                  <a:pt x="630" y="727"/>
                </a:lnTo>
                <a:lnTo>
                  <a:pt x="671" y="824"/>
                </a:lnTo>
                <a:lnTo>
                  <a:pt x="703" y="923"/>
                </a:lnTo>
                <a:lnTo>
                  <a:pt x="730" y="1025"/>
                </a:lnTo>
                <a:lnTo>
                  <a:pt x="751" y="1130"/>
                </a:lnTo>
                <a:lnTo>
                  <a:pt x="765" y="1236"/>
                </a:lnTo>
                <a:lnTo>
                  <a:pt x="772" y="1345"/>
                </a:lnTo>
                <a:lnTo>
                  <a:pt x="773" y="1401"/>
                </a:lnTo>
                <a:lnTo>
                  <a:pt x="773" y="1407"/>
                </a:lnTo>
                <a:lnTo>
                  <a:pt x="773" y="1414"/>
                </a:lnTo>
                <a:lnTo>
                  <a:pt x="774" y="1466"/>
                </a:lnTo>
                <a:lnTo>
                  <a:pt x="786" y="1564"/>
                </a:lnTo>
                <a:lnTo>
                  <a:pt x="807" y="1660"/>
                </a:lnTo>
                <a:lnTo>
                  <a:pt x="836" y="1754"/>
                </a:lnTo>
                <a:lnTo>
                  <a:pt x="874" y="1842"/>
                </a:lnTo>
                <a:lnTo>
                  <a:pt x="921" y="1925"/>
                </a:lnTo>
                <a:lnTo>
                  <a:pt x="975" y="2004"/>
                </a:lnTo>
                <a:lnTo>
                  <a:pt x="1036" y="2076"/>
                </a:lnTo>
                <a:lnTo>
                  <a:pt x="1103" y="2144"/>
                </a:lnTo>
                <a:lnTo>
                  <a:pt x="1177" y="2203"/>
                </a:lnTo>
                <a:lnTo>
                  <a:pt x="1256" y="2256"/>
                </a:lnTo>
                <a:lnTo>
                  <a:pt x="1341" y="2302"/>
                </a:lnTo>
                <a:lnTo>
                  <a:pt x="1429" y="2338"/>
                </a:lnTo>
                <a:lnTo>
                  <a:pt x="1522" y="2368"/>
                </a:lnTo>
                <a:lnTo>
                  <a:pt x="1619" y="2387"/>
                </a:lnTo>
                <a:lnTo>
                  <a:pt x="1719" y="2396"/>
                </a:lnTo>
                <a:lnTo>
                  <a:pt x="1770" y="2398"/>
                </a:lnTo>
                <a:lnTo>
                  <a:pt x="1770" y="2604"/>
                </a:lnTo>
                <a:lnTo>
                  <a:pt x="11294" y="2604"/>
                </a:lnTo>
                <a:lnTo>
                  <a:pt x="11294" y="543"/>
                </a:lnTo>
                <a:lnTo>
                  <a:pt x="11292" y="487"/>
                </a:lnTo>
                <a:lnTo>
                  <a:pt x="11270" y="381"/>
                </a:lnTo>
                <a:lnTo>
                  <a:pt x="11229" y="284"/>
                </a:lnTo>
                <a:lnTo>
                  <a:pt x="11170" y="197"/>
                </a:lnTo>
                <a:lnTo>
                  <a:pt x="11097" y="123"/>
                </a:lnTo>
                <a:lnTo>
                  <a:pt x="11010" y="65"/>
                </a:lnTo>
                <a:lnTo>
                  <a:pt x="10913" y="23"/>
                </a:lnTo>
                <a:lnTo>
                  <a:pt x="10806" y="1"/>
                </a:lnTo>
                <a:lnTo>
                  <a:pt x="10751" y="0"/>
                </a:lnTo>
                <a:lnTo>
                  <a:pt x="0" y="0"/>
                </a:ln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7" name="Freeform 584">
            <a:extLst>
              <a:ext uri="{FF2B5EF4-FFF2-40B4-BE49-F238E27FC236}">
                <a16:creationId xmlns:a16="http://schemas.microsoft.com/office/drawing/2014/main" id="{CD74F625-097F-9936-6052-0FAAA5DE4F7C}"/>
              </a:ext>
            </a:extLst>
          </p:cNvPr>
          <p:cNvSpPr>
            <a:spLocks/>
          </p:cNvSpPr>
          <p:nvPr/>
        </p:nvSpPr>
        <p:spPr bwMode="auto">
          <a:xfrm>
            <a:off x="978608" y="4766365"/>
            <a:ext cx="4859221" cy="1145378"/>
          </a:xfrm>
          <a:custGeom>
            <a:avLst/>
            <a:gdLst>
              <a:gd name="T0" fmla="*/ 13835 w 14066"/>
              <a:gd name="T1" fmla="*/ 744 h 3315"/>
              <a:gd name="T2" fmla="*/ 13713 w 14066"/>
              <a:gd name="T3" fmla="*/ 454 h 3315"/>
              <a:gd name="T4" fmla="*/ 13456 w 14066"/>
              <a:gd name="T5" fmla="*/ 280 h 3315"/>
              <a:gd name="T6" fmla="*/ 2543 w 14066"/>
              <a:gd name="T7" fmla="*/ 257 h 3315"/>
              <a:gd name="T8" fmla="*/ 2291 w 14066"/>
              <a:gd name="T9" fmla="*/ 124 h 3315"/>
              <a:gd name="T10" fmla="*/ 1956 w 14066"/>
              <a:gd name="T11" fmla="*/ 26 h 3315"/>
              <a:gd name="T12" fmla="*/ 1658 w 14066"/>
              <a:gd name="T13" fmla="*/ 0 h 3315"/>
              <a:gd name="T14" fmla="*/ 1243 w 14066"/>
              <a:gd name="T15" fmla="*/ 52 h 3315"/>
              <a:gd name="T16" fmla="*/ 798 w 14066"/>
              <a:gd name="T17" fmla="*/ 240 h 3315"/>
              <a:gd name="T18" fmla="*/ 431 w 14066"/>
              <a:gd name="T19" fmla="*/ 543 h 3315"/>
              <a:gd name="T20" fmla="*/ 162 w 14066"/>
              <a:gd name="T21" fmla="*/ 938 h 3315"/>
              <a:gd name="T22" fmla="*/ 19 w 14066"/>
              <a:gd name="T23" fmla="*/ 1405 h 3315"/>
              <a:gd name="T24" fmla="*/ 0 w 14066"/>
              <a:gd name="T25" fmla="*/ 1720 h 3315"/>
              <a:gd name="T26" fmla="*/ 54 w 14066"/>
              <a:gd name="T27" fmla="*/ 2076 h 3315"/>
              <a:gd name="T28" fmla="*/ 177 w 14066"/>
              <a:gd name="T29" fmla="*/ 2404 h 3315"/>
              <a:gd name="T30" fmla="*/ 365 w 14066"/>
              <a:gd name="T31" fmla="*/ 2696 h 3315"/>
              <a:gd name="T32" fmla="*/ 607 w 14066"/>
              <a:gd name="T33" fmla="*/ 2941 h 3315"/>
              <a:gd name="T34" fmla="*/ 896 w 14066"/>
              <a:gd name="T35" fmla="*/ 3130 h 3315"/>
              <a:gd name="T36" fmla="*/ 1199 w 14066"/>
              <a:gd name="T37" fmla="*/ 3252 h 3315"/>
              <a:gd name="T38" fmla="*/ 1658 w 14066"/>
              <a:gd name="T39" fmla="*/ 3315 h 3315"/>
              <a:gd name="T40" fmla="*/ 1700 w 14066"/>
              <a:gd name="T41" fmla="*/ 3315 h 3315"/>
              <a:gd name="T42" fmla="*/ 1766 w 14066"/>
              <a:gd name="T43" fmla="*/ 3312 h 3315"/>
              <a:gd name="T44" fmla="*/ 1834 w 14066"/>
              <a:gd name="T45" fmla="*/ 3306 h 3315"/>
              <a:gd name="T46" fmla="*/ 1899 w 14066"/>
              <a:gd name="T47" fmla="*/ 3297 h 3315"/>
              <a:gd name="T48" fmla="*/ 1954 w 14066"/>
              <a:gd name="T49" fmla="*/ 3288 h 3315"/>
              <a:gd name="T50" fmla="*/ 2011 w 14066"/>
              <a:gd name="T51" fmla="*/ 3278 h 3315"/>
              <a:gd name="T52" fmla="*/ 2070 w 14066"/>
              <a:gd name="T53" fmla="*/ 3264 h 3315"/>
              <a:gd name="T54" fmla="*/ 2125 w 14066"/>
              <a:gd name="T55" fmla="*/ 3248 h 3315"/>
              <a:gd name="T56" fmla="*/ 2178 w 14066"/>
              <a:gd name="T57" fmla="*/ 3231 h 3315"/>
              <a:gd name="T58" fmla="*/ 2241 w 14066"/>
              <a:gd name="T59" fmla="*/ 3209 h 3315"/>
              <a:gd name="T60" fmla="*/ 2328 w 14066"/>
              <a:gd name="T61" fmla="*/ 3174 h 3315"/>
              <a:gd name="T62" fmla="*/ 2790 w 14066"/>
              <a:gd name="T63" fmla="*/ 2870 h 3315"/>
              <a:gd name="T64" fmla="*/ 2855 w 14066"/>
              <a:gd name="T65" fmla="*/ 2805 h 3315"/>
              <a:gd name="T66" fmla="*/ 2869 w 14066"/>
              <a:gd name="T67" fmla="*/ 2789 h 3315"/>
              <a:gd name="T68" fmla="*/ 2896 w 14066"/>
              <a:gd name="T69" fmla="*/ 2759 h 3315"/>
              <a:gd name="T70" fmla="*/ 2901 w 14066"/>
              <a:gd name="T71" fmla="*/ 2754 h 3315"/>
              <a:gd name="T72" fmla="*/ 2931 w 14066"/>
              <a:gd name="T73" fmla="*/ 2719 h 3315"/>
              <a:gd name="T74" fmla="*/ 2934 w 14066"/>
              <a:gd name="T75" fmla="*/ 2717 h 3315"/>
              <a:gd name="T76" fmla="*/ 2943 w 14066"/>
              <a:gd name="T77" fmla="*/ 2706 h 3315"/>
              <a:gd name="T78" fmla="*/ 2966 w 14066"/>
              <a:gd name="T79" fmla="*/ 2676 h 3315"/>
              <a:gd name="T80" fmla="*/ 2985 w 14066"/>
              <a:gd name="T81" fmla="*/ 2651 h 3315"/>
              <a:gd name="T82" fmla="*/ 3317 w 14066"/>
              <a:gd name="T83" fmla="*/ 2985 h 3315"/>
              <a:gd name="T84" fmla="*/ 3825 w 14066"/>
              <a:gd name="T85" fmla="*/ 3244 h 3315"/>
              <a:gd name="T86" fmla="*/ 4313 w 14066"/>
              <a:gd name="T87" fmla="*/ 3315 h 3315"/>
              <a:gd name="T88" fmla="*/ 13693 w 14066"/>
              <a:gd name="T89" fmla="*/ 3292 h 3315"/>
              <a:gd name="T90" fmla="*/ 13745 w 14066"/>
              <a:gd name="T91" fmla="*/ 3273 h 3315"/>
              <a:gd name="T92" fmla="*/ 13804 w 14066"/>
              <a:gd name="T93" fmla="*/ 3243 h 3315"/>
              <a:gd name="T94" fmla="*/ 13909 w 14066"/>
              <a:gd name="T95" fmla="*/ 3161 h 3315"/>
              <a:gd name="T96" fmla="*/ 14003 w 14066"/>
              <a:gd name="T97" fmla="*/ 3038 h 3315"/>
              <a:gd name="T98" fmla="*/ 14066 w 14066"/>
              <a:gd name="T99" fmla="*/ 2784 h 3315"/>
              <a:gd name="T100" fmla="*/ 14066 w 14066"/>
              <a:gd name="T101" fmla="*/ 2654 h 3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6" h="3315">
                <a:moveTo>
                  <a:pt x="13837" y="2654"/>
                </a:moveTo>
                <a:lnTo>
                  <a:pt x="13837" y="800"/>
                </a:lnTo>
                <a:lnTo>
                  <a:pt x="13835" y="744"/>
                </a:lnTo>
                <a:lnTo>
                  <a:pt x="13813" y="638"/>
                </a:lnTo>
                <a:lnTo>
                  <a:pt x="13772" y="540"/>
                </a:lnTo>
                <a:lnTo>
                  <a:pt x="13713" y="454"/>
                </a:lnTo>
                <a:lnTo>
                  <a:pt x="13640" y="380"/>
                </a:lnTo>
                <a:lnTo>
                  <a:pt x="13553" y="321"/>
                </a:lnTo>
                <a:lnTo>
                  <a:pt x="13456" y="280"/>
                </a:lnTo>
                <a:lnTo>
                  <a:pt x="13349" y="258"/>
                </a:lnTo>
                <a:lnTo>
                  <a:pt x="13294" y="257"/>
                </a:lnTo>
                <a:lnTo>
                  <a:pt x="2543" y="257"/>
                </a:lnTo>
                <a:lnTo>
                  <a:pt x="2494" y="227"/>
                </a:lnTo>
                <a:lnTo>
                  <a:pt x="2394" y="172"/>
                </a:lnTo>
                <a:lnTo>
                  <a:pt x="2291" y="124"/>
                </a:lnTo>
                <a:lnTo>
                  <a:pt x="2182" y="84"/>
                </a:lnTo>
                <a:lnTo>
                  <a:pt x="2070" y="52"/>
                </a:lnTo>
                <a:lnTo>
                  <a:pt x="1956" y="26"/>
                </a:lnTo>
                <a:lnTo>
                  <a:pt x="1838" y="9"/>
                </a:lnTo>
                <a:lnTo>
                  <a:pt x="1719" y="0"/>
                </a:lnTo>
                <a:lnTo>
                  <a:pt x="1658" y="0"/>
                </a:lnTo>
                <a:lnTo>
                  <a:pt x="1573" y="1"/>
                </a:lnTo>
                <a:lnTo>
                  <a:pt x="1405" y="18"/>
                </a:lnTo>
                <a:lnTo>
                  <a:pt x="1243" y="52"/>
                </a:lnTo>
                <a:lnTo>
                  <a:pt x="1088" y="100"/>
                </a:lnTo>
                <a:lnTo>
                  <a:pt x="939" y="163"/>
                </a:lnTo>
                <a:lnTo>
                  <a:pt x="798" y="240"/>
                </a:lnTo>
                <a:lnTo>
                  <a:pt x="665" y="329"/>
                </a:lnTo>
                <a:lnTo>
                  <a:pt x="542" y="430"/>
                </a:lnTo>
                <a:lnTo>
                  <a:pt x="431" y="543"/>
                </a:lnTo>
                <a:lnTo>
                  <a:pt x="328" y="665"/>
                </a:lnTo>
                <a:lnTo>
                  <a:pt x="239" y="797"/>
                </a:lnTo>
                <a:lnTo>
                  <a:pt x="162" y="938"/>
                </a:lnTo>
                <a:lnTo>
                  <a:pt x="100" y="1087"/>
                </a:lnTo>
                <a:lnTo>
                  <a:pt x="51" y="1243"/>
                </a:lnTo>
                <a:lnTo>
                  <a:pt x="19" y="1405"/>
                </a:lnTo>
                <a:lnTo>
                  <a:pt x="2" y="1572"/>
                </a:lnTo>
                <a:lnTo>
                  <a:pt x="0" y="1658"/>
                </a:lnTo>
                <a:lnTo>
                  <a:pt x="0" y="1720"/>
                </a:lnTo>
                <a:lnTo>
                  <a:pt x="10" y="1842"/>
                </a:lnTo>
                <a:lnTo>
                  <a:pt x="28" y="1961"/>
                </a:lnTo>
                <a:lnTo>
                  <a:pt x="54" y="2076"/>
                </a:lnTo>
                <a:lnTo>
                  <a:pt x="87" y="2190"/>
                </a:lnTo>
                <a:lnTo>
                  <a:pt x="129" y="2299"/>
                </a:lnTo>
                <a:lnTo>
                  <a:pt x="177" y="2404"/>
                </a:lnTo>
                <a:lnTo>
                  <a:pt x="234" y="2507"/>
                </a:lnTo>
                <a:lnTo>
                  <a:pt x="296" y="2604"/>
                </a:lnTo>
                <a:lnTo>
                  <a:pt x="365" y="2696"/>
                </a:lnTo>
                <a:lnTo>
                  <a:pt x="440" y="2783"/>
                </a:lnTo>
                <a:lnTo>
                  <a:pt x="520" y="2864"/>
                </a:lnTo>
                <a:lnTo>
                  <a:pt x="607" y="2941"/>
                </a:lnTo>
                <a:lnTo>
                  <a:pt x="699" y="3010"/>
                </a:lnTo>
                <a:lnTo>
                  <a:pt x="795" y="3073"/>
                </a:lnTo>
                <a:lnTo>
                  <a:pt x="896" y="3130"/>
                </a:lnTo>
                <a:lnTo>
                  <a:pt x="948" y="3156"/>
                </a:lnTo>
                <a:lnTo>
                  <a:pt x="1030" y="3192"/>
                </a:lnTo>
                <a:lnTo>
                  <a:pt x="1199" y="3252"/>
                </a:lnTo>
                <a:lnTo>
                  <a:pt x="1378" y="3293"/>
                </a:lnTo>
                <a:lnTo>
                  <a:pt x="1564" y="3314"/>
                </a:lnTo>
                <a:lnTo>
                  <a:pt x="1658" y="3315"/>
                </a:lnTo>
                <a:lnTo>
                  <a:pt x="1658" y="3315"/>
                </a:lnTo>
                <a:lnTo>
                  <a:pt x="1659" y="3315"/>
                </a:lnTo>
                <a:lnTo>
                  <a:pt x="1700" y="3315"/>
                </a:lnTo>
                <a:lnTo>
                  <a:pt x="1740" y="3313"/>
                </a:lnTo>
                <a:lnTo>
                  <a:pt x="1753" y="3313"/>
                </a:lnTo>
                <a:lnTo>
                  <a:pt x="1766" y="3312"/>
                </a:lnTo>
                <a:lnTo>
                  <a:pt x="1793" y="3310"/>
                </a:lnTo>
                <a:lnTo>
                  <a:pt x="1820" y="3308"/>
                </a:lnTo>
                <a:lnTo>
                  <a:pt x="1834" y="3306"/>
                </a:lnTo>
                <a:lnTo>
                  <a:pt x="1850" y="3304"/>
                </a:lnTo>
                <a:lnTo>
                  <a:pt x="1875" y="3301"/>
                </a:lnTo>
                <a:lnTo>
                  <a:pt x="1899" y="3297"/>
                </a:lnTo>
                <a:lnTo>
                  <a:pt x="1915" y="3296"/>
                </a:lnTo>
                <a:lnTo>
                  <a:pt x="1932" y="3292"/>
                </a:lnTo>
                <a:lnTo>
                  <a:pt x="1954" y="3288"/>
                </a:lnTo>
                <a:lnTo>
                  <a:pt x="1977" y="3284"/>
                </a:lnTo>
                <a:lnTo>
                  <a:pt x="1994" y="3282"/>
                </a:lnTo>
                <a:lnTo>
                  <a:pt x="2011" y="3278"/>
                </a:lnTo>
                <a:lnTo>
                  <a:pt x="2031" y="3273"/>
                </a:lnTo>
                <a:lnTo>
                  <a:pt x="2052" y="3268"/>
                </a:lnTo>
                <a:lnTo>
                  <a:pt x="2070" y="3264"/>
                </a:lnTo>
                <a:lnTo>
                  <a:pt x="2089" y="3258"/>
                </a:lnTo>
                <a:lnTo>
                  <a:pt x="2107" y="3253"/>
                </a:lnTo>
                <a:lnTo>
                  <a:pt x="2125" y="3248"/>
                </a:lnTo>
                <a:lnTo>
                  <a:pt x="2146" y="3243"/>
                </a:lnTo>
                <a:lnTo>
                  <a:pt x="2165" y="3236"/>
                </a:lnTo>
                <a:lnTo>
                  <a:pt x="2178" y="3231"/>
                </a:lnTo>
                <a:lnTo>
                  <a:pt x="2191" y="3227"/>
                </a:lnTo>
                <a:lnTo>
                  <a:pt x="2217" y="3218"/>
                </a:lnTo>
                <a:lnTo>
                  <a:pt x="2241" y="3209"/>
                </a:lnTo>
                <a:lnTo>
                  <a:pt x="2241" y="3209"/>
                </a:lnTo>
                <a:lnTo>
                  <a:pt x="2241" y="3209"/>
                </a:lnTo>
                <a:lnTo>
                  <a:pt x="2328" y="3174"/>
                </a:lnTo>
                <a:lnTo>
                  <a:pt x="2494" y="3090"/>
                </a:lnTo>
                <a:lnTo>
                  <a:pt x="2648" y="2989"/>
                </a:lnTo>
                <a:lnTo>
                  <a:pt x="2790" y="2870"/>
                </a:lnTo>
                <a:lnTo>
                  <a:pt x="2855" y="2805"/>
                </a:lnTo>
                <a:lnTo>
                  <a:pt x="2855" y="2805"/>
                </a:lnTo>
                <a:lnTo>
                  <a:pt x="2855" y="2805"/>
                </a:lnTo>
                <a:lnTo>
                  <a:pt x="2858" y="2801"/>
                </a:lnTo>
                <a:lnTo>
                  <a:pt x="2862" y="2797"/>
                </a:lnTo>
                <a:lnTo>
                  <a:pt x="2869" y="2789"/>
                </a:lnTo>
                <a:lnTo>
                  <a:pt x="2875" y="2783"/>
                </a:lnTo>
                <a:lnTo>
                  <a:pt x="2886" y="2771"/>
                </a:lnTo>
                <a:lnTo>
                  <a:pt x="2896" y="2759"/>
                </a:lnTo>
                <a:lnTo>
                  <a:pt x="2896" y="2759"/>
                </a:lnTo>
                <a:lnTo>
                  <a:pt x="2896" y="2759"/>
                </a:lnTo>
                <a:lnTo>
                  <a:pt x="2901" y="2754"/>
                </a:lnTo>
                <a:lnTo>
                  <a:pt x="2906" y="2748"/>
                </a:lnTo>
                <a:lnTo>
                  <a:pt x="2919" y="2734"/>
                </a:lnTo>
                <a:lnTo>
                  <a:pt x="2931" y="2719"/>
                </a:lnTo>
                <a:lnTo>
                  <a:pt x="2931" y="2719"/>
                </a:lnTo>
                <a:lnTo>
                  <a:pt x="2932" y="2718"/>
                </a:lnTo>
                <a:lnTo>
                  <a:pt x="2934" y="2717"/>
                </a:lnTo>
                <a:lnTo>
                  <a:pt x="2935" y="2715"/>
                </a:lnTo>
                <a:lnTo>
                  <a:pt x="2939" y="2710"/>
                </a:lnTo>
                <a:lnTo>
                  <a:pt x="2943" y="2706"/>
                </a:lnTo>
                <a:lnTo>
                  <a:pt x="2947" y="2701"/>
                </a:lnTo>
                <a:lnTo>
                  <a:pt x="2950" y="2696"/>
                </a:lnTo>
                <a:lnTo>
                  <a:pt x="2966" y="2676"/>
                </a:lnTo>
                <a:lnTo>
                  <a:pt x="2980" y="2658"/>
                </a:lnTo>
                <a:lnTo>
                  <a:pt x="2983" y="2654"/>
                </a:lnTo>
                <a:lnTo>
                  <a:pt x="2985" y="2651"/>
                </a:lnTo>
                <a:lnTo>
                  <a:pt x="3044" y="2726"/>
                </a:lnTo>
                <a:lnTo>
                  <a:pt x="3173" y="2863"/>
                </a:lnTo>
                <a:lnTo>
                  <a:pt x="3317" y="2985"/>
                </a:lnTo>
                <a:lnTo>
                  <a:pt x="3475" y="3090"/>
                </a:lnTo>
                <a:lnTo>
                  <a:pt x="3645" y="3177"/>
                </a:lnTo>
                <a:lnTo>
                  <a:pt x="3825" y="3244"/>
                </a:lnTo>
                <a:lnTo>
                  <a:pt x="4015" y="3290"/>
                </a:lnTo>
                <a:lnTo>
                  <a:pt x="4212" y="3313"/>
                </a:lnTo>
                <a:lnTo>
                  <a:pt x="4313" y="3315"/>
                </a:lnTo>
                <a:lnTo>
                  <a:pt x="13535" y="3315"/>
                </a:lnTo>
                <a:lnTo>
                  <a:pt x="13589" y="3314"/>
                </a:lnTo>
                <a:lnTo>
                  <a:pt x="13693" y="3292"/>
                </a:lnTo>
                <a:lnTo>
                  <a:pt x="13741" y="3274"/>
                </a:lnTo>
                <a:lnTo>
                  <a:pt x="13743" y="3273"/>
                </a:lnTo>
                <a:lnTo>
                  <a:pt x="13745" y="3273"/>
                </a:lnTo>
                <a:lnTo>
                  <a:pt x="13755" y="3268"/>
                </a:lnTo>
                <a:lnTo>
                  <a:pt x="13765" y="3264"/>
                </a:lnTo>
                <a:lnTo>
                  <a:pt x="13804" y="3243"/>
                </a:lnTo>
                <a:lnTo>
                  <a:pt x="13877" y="3192"/>
                </a:lnTo>
                <a:lnTo>
                  <a:pt x="13908" y="3161"/>
                </a:lnTo>
                <a:lnTo>
                  <a:pt x="13909" y="3161"/>
                </a:lnTo>
                <a:lnTo>
                  <a:pt x="13910" y="3160"/>
                </a:lnTo>
                <a:lnTo>
                  <a:pt x="13945" y="3122"/>
                </a:lnTo>
                <a:lnTo>
                  <a:pt x="14003" y="3038"/>
                </a:lnTo>
                <a:lnTo>
                  <a:pt x="14043" y="2942"/>
                </a:lnTo>
                <a:lnTo>
                  <a:pt x="14063" y="2839"/>
                </a:lnTo>
                <a:lnTo>
                  <a:pt x="14066" y="2784"/>
                </a:lnTo>
                <a:lnTo>
                  <a:pt x="14066" y="2784"/>
                </a:lnTo>
                <a:lnTo>
                  <a:pt x="14066" y="2654"/>
                </a:lnTo>
                <a:lnTo>
                  <a:pt x="14066" y="2654"/>
                </a:lnTo>
                <a:lnTo>
                  <a:pt x="13837" y="2654"/>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8" name="Freeform 586">
            <a:extLst>
              <a:ext uri="{FF2B5EF4-FFF2-40B4-BE49-F238E27FC236}">
                <a16:creationId xmlns:a16="http://schemas.microsoft.com/office/drawing/2014/main" id="{5B0C9EEC-E7D7-14BB-0D2D-059F7AA41662}"/>
              </a:ext>
            </a:extLst>
          </p:cNvPr>
          <p:cNvSpPr>
            <a:spLocks/>
          </p:cNvSpPr>
          <p:nvPr/>
        </p:nvSpPr>
        <p:spPr bwMode="auto">
          <a:xfrm>
            <a:off x="1838280" y="4756693"/>
            <a:ext cx="3900364" cy="899447"/>
          </a:xfrm>
          <a:custGeom>
            <a:avLst/>
            <a:gdLst>
              <a:gd name="T0" fmla="*/ 0 w 11294"/>
              <a:gd name="T1" fmla="*/ 0 h 2604"/>
              <a:gd name="T2" fmla="*/ 86 w 11294"/>
              <a:gd name="T3" fmla="*/ 56 h 2604"/>
              <a:gd name="T4" fmla="*/ 244 w 11294"/>
              <a:gd name="T5" fmla="*/ 187 h 2604"/>
              <a:gd name="T6" fmla="*/ 385 w 11294"/>
              <a:gd name="T7" fmla="*/ 336 h 2604"/>
              <a:gd name="T8" fmla="*/ 509 w 11294"/>
              <a:gd name="T9" fmla="*/ 500 h 2604"/>
              <a:gd name="T10" fmla="*/ 585 w 11294"/>
              <a:gd name="T11" fmla="*/ 634 h 2604"/>
              <a:gd name="T12" fmla="*/ 630 w 11294"/>
              <a:gd name="T13" fmla="*/ 727 h 2604"/>
              <a:gd name="T14" fmla="*/ 671 w 11294"/>
              <a:gd name="T15" fmla="*/ 824 h 2604"/>
              <a:gd name="T16" fmla="*/ 703 w 11294"/>
              <a:gd name="T17" fmla="*/ 923 h 2604"/>
              <a:gd name="T18" fmla="*/ 730 w 11294"/>
              <a:gd name="T19" fmla="*/ 1025 h 2604"/>
              <a:gd name="T20" fmla="*/ 751 w 11294"/>
              <a:gd name="T21" fmla="*/ 1130 h 2604"/>
              <a:gd name="T22" fmla="*/ 765 w 11294"/>
              <a:gd name="T23" fmla="*/ 1236 h 2604"/>
              <a:gd name="T24" fmla="*/ 772 w 11294"/>
              <a:gd name="T25" fmla="*/ 1345 h 2604"/>
              <a:gd name="T26" fmla="*/ 773 w 11294"/>
              <a:gd name="T27" fmla="*/ 1401 h 2604"/>
              <a:gd name="T28" fmla="*/ 773 w 11294"/>
              <a:gd name="T29" fmla="*/ 1407 h 2604"/>
              <a:gd name="T30" fmla="*/ 773 w 11294"/>
              <a:gd name="T31" fmla="*/ 1414 h 2604"/>
              <a:gd name="T32" fmla="*/ 774 w 11294"/>
              <a:gd name="T33" fmla="*/ 1466 h 2604"/>
              <a:gd name="T34" fmla="*/ 786 w 11294"/>
              <a:gd name="T35" fmla="*/ 1564 h 2604"/>
              <a:gd name="T36" fmla="*/ 807 w 11294"/>
              <a:gd name="T37" fmla="*/ 1660 h 2604"/>
              <a:gd name="T38" fmla="*/ 836 w 11294"/>
              <a:gd name="T39" fmla="*/ 1754 h 2604"/>
              <a:gd name="T40" fmla="*/ 874 w 11294"/>
              <a:gd name="T41" fmla="*/ 1842 h 2604"/>
              <a:gd name="T42" fmla="*/ 921 w 11294"/>
              <a:gd name="T43" fmla="*/ 1925 h 2604"/>
              <a:gd name="T44" fmla="*/ 975 w 11294"/>
              <a:gd name="T45" fmla="*/ 2004 h 2604"/>
              <a:gd name="T46" fmla="*/ 1036 w 11294"/>
              <a:gd name="T47" fmla="*/ 2076 h 2604"/>
              <a:gd name="T48" fmla="*/ 1103 w 11294"/>
              <a:gd name="T49" fmla="*/ 2144 h 2604"/>
              <a:gd name="T50" fmla="*/ 1177 w 11294"/>
              <a:gd name="T51" fmla="*/ 2203 h 2604"/>
              <a:gd name="T52" fmla="*/ 1256 w 11294"/>
              <a:gd name="T53" fmla="*/ 2256 h 2604"/>
              <a:gd name="T54" fmla="*/ 1341 w 11294"/>
              <a:gd name="T55" fmla="*/ 2302 h 2604"/>
              <a:gd name="T56" fmla="*/ 1429 w 11294"/>
              <a:gd name="T57" fmla="*/ 2338 h 2604"/>
              <a:gd name="T58" fmla="*/ 1522 w 11294"/>
              <a:gd name="T59" fmla="*/ 2368 h 2604"/>
              <a:gd name="T60" fmla="*/ 1619 w 11294"/>
              <a:gd name="T61" fmla="*/ 2387 h 2604"/>
              <a:gd name="T62" fmla="*/ 1719 w 11294"/>
              <a:gd name="T63" fmla="*/ 2396 h 2604"/>
              <a:gd name="T64" fmla="*/ 1770 w 11294"/>
              <a:gd name="T65" fmla="*/ 2398 h 2604"/>
              <a:gd name="T66" fmla="*/ 1770 w 11294"/>
              <a:gd name="T67" fmla="*/ 2604 h 2604"/>
              <a:gd name="T68" fmla="*/ 11294 w 11294"/>
              <a:gd name="T69" fmla="*/ 2604 h 2604"/>
              <a:gd name="T70" fmla="*/ 11294 w 11294"/>
              <a:gd name="T71" fmla="*/ 543 h 2604"/>
              <a:gd name="T72" fmla="*/ 11292 w 11294"/>
              <a:gd name="T73" fmla="*/ 487 h 2604"/>
              <a:gd name="T74" fmla="*/ 11270 w 11294"/>
              <a:gd name="T75" fmla="*/ 381 h 2604"/>
              <a:gd name="T76" fmla="*/ 11229 w 11294"/>
              <a:gd name="T77" fmla="*/ 284 h 2604"/>
              <a:gd name="T78" fmla="*/ 11170 w 11294"/>
              <a:gd name="T79" fmla="*/ 197 h 2604"/>
              <a:gd name="T80" fmla="*/ 11097 w 11294"/>
              <a:gd name="T81" fmla="*/ 123 h 2604"/>
              <a:gd name="T82" fmla="*/ 11010 w 11294"/>
              <a:gd name="T83" fmla="*/ 65 h 2604"/>
              <a:gd name="T84" fmla="*/ 10913 w 11294"/>
              <a:gd name="T85" fmla="*/ 23 h 2604"/>
              <a:gd name="T86" fmla="*/ 10806 w 11294"/>
              <a:gd name="T87" fmla="*/ 1 h 2604"/>
              <a:gd name="T88" fmla="*/ 10751 w 11294"/>
              <a:gd name="T89" fmla="*/ 0 h 2604"/>
              <a:gd name="T90" fmla="*/ 0 w 11294"/>
              <a:gd name="T91" fmla="*/ 0 h 2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94" h="2604">
                <a:moveTo>
                  <a:pt x="0" y="0"/>
                </a:moveTo>
                <a:lnTo>
                  <a:pt x="86" y="56"/>
                </a:lnTo>
                <a:lnTo>
                  <a:pt x="244" y="187"/>
                </a:lnTo>
                <a:lnTo>
                  <a:pt x="385" y="336"/>
                </a:lnTo>
                <a:lnTo>
                  <a:pt x="509" y="500"/>
                </a:lnTo>
                <a:lnTo>
                  <a:pt x="585" y="634"/>
                </a:lnTo>
                <a:lnTo>
                  <a:pt x="630" y="727"/>
                </a:lnTo>
                <a:lnTo>
                  <a:pt x="671" y="824"/>
                </a:lnTo>
                <a:lnTo>
                  <a:pt x="703" y="923"/>
                </a:lnTo>
                <a:lnTo>
                  <a:pt x="730" y="1025"/>
                </a:lnTo>
                <a:lnTo>
                  <a:pt x="751" y="1130"/>
                </a:lnTo>
                <a:lnTo>
                  <a:pt x="765" y="1236"/>
                </a:lnTo>
                <a:lnTo>
                  <a:pt x="772" y="1345"/>
                </a:lnTo>
                <a:lnTo>
                  <a:pt x="773" y="1401"/>
                </a:lnTo>
                <a:lnTo>
                  <a:pt x="773" y="1407"/>
                </a:lnTo>
                <a:lnTo>
                  <a:pt x="773" y="1414"/>
                </a:lnTo>
                <a:lnTo>
                  <a:pt x="774" y="1466"/>
                </a:lnTo>
                <a:lnTo>
                  <a:pt x="786" y="1564"/>
                </a:lnTo>
                <a:lnTo>
                  <a:pt x="807" y="1660"/>
                </a:lnTo>
                <a:lnTo>
                  <a:pt x="836" y="1754"/>
                </a:lnTo>
                <a:lnTo>
                  <a:pt x="874" y="1842"/>
                </a:lnTo>
                <a:lnTo>
                  <a:pt x="921" y="1925"/>
                </a:lnTo>
                <a:lnTo>
                  <a:pt x="975" y="2004"/>
                </a:lnTo>
                <a:lnTo>
                  <a:pt x="1036" y="2076"/>
                </a:lnTo>
                <a:lnTo>
                  <a:pt x="1103" y="2144"/>
                </a:lnTo>
                <a:lnTo>
                  <a:pt x="1177" y="2203"/>
                </a:lnTo>
                <a:lnTo>
                  <a:pt x="1256" y="2256"/>
                </a:lnTo>
                <a:lnTo>
                  <a:pt x="1341" y="2302"/>
                </a:lnTo>
                <a:lnTo>
                  <a:pt x="1429" y="2338"/>
                </a:lnTo>
                <a:lnTo>
                  <a:pt x="1522" y="2368"/>
                </a:lnTo>
                <a:lnTo>
                  <a:pt x="1619" y="2387"/>
                </a:lnTo>
                <a:lnTo>
                  <a:pt x="1719" y="2396"/>
                </a:lnTo>
                <a:lnTo>
                  <a:pt x="1770" y="2398"/>
                </a:lnTo>
                <a:lnTo>
                  <a:pt x="1770" y="2604"/>
                </a:lnTo>
                <a:lnTo>
                  <a:pt x="11294" y="2604"/>
                </a:lnTo>
                <a:lnTo>
                  <a:pt x="11294" y="543"/>
                </a:lnTo>
                <a:lnTo>
                  <a:pt x="11292" y="487"/>
                </a:lnTo>
                <a:lnTo>
                  <a:pt x="11270" y="381"/>
                </a:lnTo>
                <a:lnTo>
                  <a:pt x="11229" y="284"/>
                </a:lnTo>
                <a:lnTo>
                  <a:pt x="11170" y="197"/>
                </a:lnTo>
                <a:lnTo>
                  <a:pt x="11097" y="123"/>
                </a:lnTo>
                <a:lnTo>
                  <a:pt x="11010" y="65"/>
                </a:lnTo>
                <a:lnTo>
                  <a:pt x="10913" y="23"/>
                </a:lnTo>
                <a:lnTo>
                  <a:pt x="10806" y="1"/>
                </a:lnTo>
                <a:lnTo>
                  <a:pt x="10751" y="0"/>
                </a:lnTo>
                <a:lnTo>
                  <a:pt x="0" y="0"/>
                </a:lnTo>
                <a:close/>
              </a:path>
            </a:pathLst>
          </a:custGeom>
          <a:solidFill>
            <a:schemeClr val="accent5">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9" name="Freeform 584">
            <a:extLst>
              <a:ext uri="{FF2B5EF4-FFF2-40B4-BE49-F238E27FC236}">
                <a16:creationId xmlns:a16="http://schemas.microsoft.com/office/drawing/2014/main" id="{9AF7BFFD-4350-7CEA-1774-22E3257B57CA}"/>
              </a:ext>
            </a:extLst>
          </p:cNvPr>
          <p:cNvSpPr>
            <a:spLocks/>
          </p:cNvSpPr>
          <p:nvPr/>
        </p:nvSpPr>
        <p:spPr bwMode="auto">
          <a:xfrm>
            <a:off x="6354171" y="1459747"/>
            <a:ext cx="4859221" cy="1145378"/>
          </a:xfrm>
          <a:custGeom>
            <a:avLst/>
            <a:gdLst>
              <a:gd name="T0" fmla="*/ 13835 w 14066"/>
              <a:gd name="T1" fmla="*/ 744 h 3315"/>
              <a:gd name="T2" fmla="*/ 13713 w 14066"/>
              <a:gd name="T3" fmla="*/ 454 h 3315"/>
              <a:gd name="T4" fmla="*/ 13456 w 14066"/>
              <a:gd name="T5" fmla="*/ 280 h 3315"/>
              <a:gd name="T6" fmla="*/ 2543 w 14066"/>
              <a:gd name="T7" fmla="*/ 257 h 3315"/>
              <a:gd name="T8" fmla="*/ 2291 w 14066"/>
              <a:gd name="T9" fmla="*/ 124 h 3315"/>
              <a:gd name="T10" fmla="*/ 1956 w 14066"/>
              <a:gd name="T11" fmla="*/ 26 h 3315"/>
              <a:gd name="T12" fmla="*/ 1658 w 14066"/>
              <a:gd name="T13" fmla="*/ 0 h 3315"/>
              <a:gd name="T14" fmla="*/ 1243 w 14066"/>
              <a:gd name="T15" fmla="*/ 52 h 3315"/>
              <a:gd name="T16" fmla="*/ 798 w 14066"/>
              <a:gd name="T17" fmla="*/ 240 h 3315"/>
              <a:gd name="T18" fmla="*/ 431 w 14066"/>
              <a:gd name="T19" fmla="*/ 543 h 3315"/>
              <a:gd name="T20" fmla="*/ 162 w 14066"/>
              <a:gd name="T21" fmla="*/ 938 h 3315"/>
              <a:gd name="T22" fmla="*/ 19 w 14066"/>
              <a:gd name="T23" fmla="*/ 1405 h 3315"/>
              <a:gd name="T24" fmla="*/ 0 w 14066"/>
              <a:gd name="T25" fmla="*/ 1720 h 3315"/>
              <a:gd name="T26" fmla="*/ 54 w 14066"/>
              <a:gd name="T27" fmla="*/ 2076 h 3315"/>
              <a:gd name="T28" fmla="*/ 177 w 14066"/>
              <a:gd name="T29" fmla="*/ 2404 h 3315"/>
              <a:gd name="T30" fmla="*/ 365 w 14066"/>
              <a:gd name="T31" fmla="*/ 2696 h 3315"/>
              <a:gd name="T32" fmla="*/ 607 w 14066"/>
              <a:gd name="T33" fmla="*/ 2941 h 3315"/>
              <a:gd name="T34" fmla="*/ 896 w 14066"/>
              <a:gd name="T35" fmla="*/ 3130 h 3315"/>
              <a:gd name="T36" fmla="*/ 1199 w 14066"/>
              <a:gd name="T37" fmla="*/ 3252 h 3315"/>
              <a:gd name="T38" fmla="*/ 1658 w 14066"/>
              <a:gd name="T39" fmla="*/ 3315 h 3315"/>
              <a:gd name="T40" fmla="*/ 1700 w 14066"/>
              <a:gd name="T41" fmla="*/ 3315 h 3315"/>
              <a:gd name="T42" fmla="*/ 1766 w 14066"/>
              <a:gd name="T43" fmla="*/ 3312 h 3315"/>
              <a:gd name="T44" fmla="*/ 1834 w 14066"/>
              <a:gd name="T45" fmla="*/ 3306 h 3315"/>
              <a:gd name="T46" fmla="*/ 1899 w 14066"/>
              <a:gd name="T47" fmla="*/ 3297 h 3315"/>
              <a:gd name="T48" fmla="*/ 1954 w 14066"/>
              <a:gd name="T49" fmla="*/ 3288 h 3315"/>
              <a:gd name="T50" fmla="*/ 2011 w 14066"/>
              <a:gd name="T51" fmla="*/ 3278 h 3315"/>
              <a:gd name="T52" fmla="*/ 2070 w 14066"/>
              <a:gd name="T53" fmla="*/ 3264 h 3315"/>
              <a:gd name="T54" fmla="*/ 2125 w 14066"/>
              <a:gd name="T55" fmla="*/ 3248 h 3315"/>
              <a:gd name="T56" fmla="*/ 2178 w 14066"/>
              <a:gd name="T57" fmla="*/ 3231 h 3315"/>
              <a:gd name="T58" fmla="*/ 2241 w 14066"/>
              <a:gd name="T59" fmla="*/ 3209 h 3315"/>
              <a:gd name="T60" fmla="*/ 2328 w 14066"/>
              <a:gd name="T61" fmla="*/ 3174 h 3315"/>
              <a:gd name="T62" fmla="*/ 2790 w 14066"/>
              <a:gd name="T63" fmla="*/ 2870 h 3315"/>
              <a:gd name="T64" fmla="*/ 2855 w 14066"/>
              <a:gd name="T65" fmla="*/ 2805 h 3315"/>
              <a:gd name="T66" fmla="*/ 2869 w 14066"/>
              <a:gd name="T67" fmla="*/ 2789 h 3315"/>
              <a:gd name="T68" fmla="*/ 2896 w 14066"/>
              <a:gd name="T69" fmla="*/ 2759 h 3315"/>
              <a:gd name="T70" fmla="*/ 2901 w 14066"/>
              <a:gd name="T71" fmla="*/ 2754 h 3315"/>
              <a:gd name="T72" fmla="*/ 2931 w 14066"/>
              <a:gd name="T73" fmla="*/ 2719 h 3315"/>
              <a:gd name="T74" fmla="*/ 2934 w 14066"/>
              <a:gd name="T75" fmla="*/ 2717 h 3315"/>
              <a:gd name="T76" fmla="*/ 2943 w 14066"/>
              <a:gd name="T77" fmla="*/ 2706 h 3315"/>
              <a:gd name="T78" fmla="*/ 2966 w 14066"/>
              <a:gd name="T79" fmla="*/ 2676 h 3315"/>
              <a:gd name="T80" fmla="*/ 2985 w 14066"/>
              <a:gd name="T81" fmla="*/ 2651 h 3315"/>
              <a:gd name="T82" fmla="*/ 3317 w 14066"/>
              <a:gd name="T83" fmla="*/ 2985 h 3315"/>
              <a:gd name="T84" fmla="*/ 3825 w 14066"/>
              <a:gd name="T85" fmla="*/ 3244 h 3315"/>
              <a:gd name="T86" fmla="*/ 4313 w 14066"/>
              <a:gd name="T87" fmla="*/ 3315 h 3315"/>
              <a:gd name="T88" fmla="*/ 13693 w 14066"/>
              <a:gd name="T89" fmla="*/ 3292 h 3315"/>
              <a:gd name="T90" fmla="*/ 13745 w 14066"/>
              <a:gd name="T91" fmla="*/ 3273 h 3315"/>
              <a:gd name="T92" fmla="*/ 13804 w 14066"/>
              <a:gd name="T93" fmla="*/ 3243 h 3315"/>
              <a:gd name="T94" fmla="*/ 13909 w 14066"/>
              <a:gd name="T95" fmla="*/ 3161 h 3315"/>
              <a:gd name="T96" fmla="*/ 14003 w 14066"/>
              <a:gd name="T97" fmla="*/ 3038 h 3315"/>
              <a:gd name="T98" fmla="*/ 14066 w 14066"/>
              <a:gd name="T99" fmla="*/ 2784 h 3315"/>
              <a:gd name="T100" fmla="*/ 14066 w 14066"/>
              <a:gd name="T101" fmla="*/ 2654 h 3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6" h="3315">
                <a:moveTo>
                  <a:pt x="13837" y="2654"/>
                </a:moveTo>
                <a:lnTo>
                  <a:pt x="13837" y="800"/>
                </a:lnTo>
                <a:lnTo>
                  <a:pt x="13835" y="744"/>
                </a:lnTo>
                <a:lnTo>
                  <a:pt x="13813" y="638"/>
                </a:lnTo>
                <a:lnTo>
                  <a:pt x="13772" y="540"/>
                </a:lnTo>
                <a:lnTo>
                  <a:pt x="13713" y="454"/>
                </a:lnTo>
                <a:lnTo>
                  <a:pt x="13640" y="380"/>
                </a:lnTo>
                <a:lnTo>
                  <a:pt x="13553" y="321"/>
                </a:lnTo>
                <a:lnTo>
                  <a:pt x="13456" y="280"/>
                </a:lnTo>
                <a:lnTo>
                  <a:pt x="13349" y="258"/>
                </a:lnTo>
                <a:lnTo>
                  <a:pt x="13294" y="257"/>
                </a:lnTo>
                <a:lnTo>
                  <a:pt x="2543" y="257"/>
                </a:lnTo>
                <a:lnTo>
                  <a:pt x="2494" y="227"/>
                </a:lnTo>
                <a:lnTo>
                  <a:pt x="2394" y="172"/>
                </a:lnTo>
                <a:lnTo>
                  <a:pt x="2291" y="124"/>
                </a:lnTo>
                <a:lnTo>
                  <a:pt x="2182" y="84"/>
                </a:lnTo>
                <a:lnTo>
                  <a:pt x="2070" y="52"/>
                </a:lnTo>
                <a:lnTo>
                  <a:pt x="1956" y="26"/>
                </a:lnTo>
                <a:lnTo>
                  <a:pt x="1838" y="9"/>
                </a:lnTo>
                <a:lnTo>
                  <a:pt x="1719" y="0"/>
                </a:lnTo>
                <a:lnTo>
                  <a:pt x="1658" y="0"/>
                </a:lnTo>
                <a:lnTo>
                  <a:pt x="1573" y="1"/>
                </a:lnTo>
                <a:lnTo>
                  <a:pt x="1405" y="18"/>
                </a:lnTo>
                <a:lnTo>
                  <a:pt x="1243" y="52"/>
                </a:lnTo>
                <a:lnTo>
                  <a:pt x="1088" y="100"/>
                </a:lnTo>
                <a:lnTo>
                  <a:pt x="939" y="163"/>
                </a:lnTo>
                <a:lnTo>
                  <a:pt x="798" y="240"/>
                </a:lnTo>
                <a:lnTo>
                  <a:pt x="665" y="329"/>
                </a:lnTo>
                <a:lnTo>
                  <a:pt x="542" y="430"/>
                </a:lnTo>
                <a:lnTo>
                  <a:pt x="431" y="543"/>
                </a:lnTo>
                <a:lnTo>
                  <a:pt x="328" y="665"/>
                </a:lnTo>
                <a:lnTo>
                  <a:pt x="239" y="797"/>
                </a:lnTo>
                <a:lnTo>
                  <a:pt x="162" y="938"/>
                </a:lnTo>
                <a:lnTo>
                  <a:pt x="100" y="1087"/>
                </a:lnTo>
                <a:lnTo>
                  <a:pt x="51" y="1243"/>
                </a:lnTo>
                <a:lnTo>
                  <a:pt x="19" y="1405"/>
                </a:lnTo>
                <a:lnTo>
                  <a:pt x="2" y="1572"/>
                </a:lnTo>
                <a:lnTo>
                  <a:pt x="0" y="1658"/>
                </a:lnTo>
                <a:lnTo>
                  <a:pt x="0" y="1720"/>
                </a:lnTo>
                <a:lnTo>
                  <a:pt x="10" y="1842"/>
                </a:lnTo>
                <a:lnTo>
                  <a:pt x="28" y="1961"/>
                </a:lnTo>
                <a:lnTo>
                  <a:pt x="54" y="2076"/>
                </a:lnTo>
                <a:lnTo>
                  <a:pt x="87" y="2190"/>
                </a:lnTo>
                <a:lnTo>
                  <a:pt x="129" y="2299"/>
                </a:lnTo>
                <a:lnTo>
                  <a:pt x="177" y="2404"/>
                </a:lnTo>
                <a:lnTo>
                  <a:pt x="234" y="2507"/>
                </a:lnTo>
                <a:lnTo>
                  <a:pt x="296" y="2604"/>
                </a:lnTo>
                <a:lnTo>
                  <a:pt x="365" y="2696"/>
                </a:lnTo>
                <a:lnTo>
                  <a:pt x="440" y="2783"/>
                </a:lnTo>
                <a:lnTo>
                  <a:pt x="520" y="2864"/>
                </a:lnTo>
                <a:lnTo>
                  <a:pt x="607" y="2941"/>
                </a:lnTo>
                <a:lnTo>
                  <a:pt x="699" y="3010"/>
                </a:lnTo>
                <a:lnTo>
                  <a:pt x="795" y="3073"/>
                </a:lnTo>
                <a:lnTo>
                  <a:pt x="896" y="3130"/>
                </a:lnTo>
                <a:lnTo>
                  <a:pt x="948" y="3156"/>
                </a:lnTo>
                <a:lnTo>
                  <a:pt x="1030" y="3192"/>
                </a:lnTo>
                <a:lnTo>
                  <a:pt x="1199" y="3252"/>
                </a:lnTo>
                <a:lnTo>
                  <a:pt x="1378" y="3293"/>
                </a:lnTo>
                <a:lnTo>
                  <a:pt x="1564" y="3314"/>
                </a:lnTo>
                <a:lnTo>
                  <a:pt x="1658" y="3315"/>
                </a:lnTo>
                <a:lnTo>
                  <a:pt x="1658" y="3315"/>
                </a:lnTo>
                <a:lnTo>
                  <a:pt x="1659" y="3315"/>
                </a:lnTo>
                <a:lnTo>
                  <a:pt x="1700" y="3315"/>
                </a:lnTo>
                <a:lnTo>
                  <a:pt x="1740" y="3313"/>
                </a:lnTo>
                <a:lnTo>
                  <a:pt x="1753" y="3313"/>
                </a:lnTo>
                <a:lnTo>
                  <a:pt x="1766" y="3312"/>
                </a:lnTo>
                <a:lnTo>
                  <a:pt x="1793" y="3310"/>
                </a:lnTo>
                <a:lnTo>
                  <a:pt x="1820" y="3308"/>
                </a:lnTo>
                <a:lnTo>
                  <a:pt x="1834" y="3306"/>
                </a:lnTo>
                <a:lnTo>
                  <a:pt x="1850" y="3304"/>
                </a:lnTo>
                <a:lnTo>
                  <a:pt x="1875" y="3301"/>
                </a:lnTo>
                <a:lnTo>
                  <a:pt x="1899" y="3297"/>
                </a:lnTo>
                <a:lnTo>
                  <a:pt x="1915" y="3296"/>
                </a:lnTo>
                <a:lnTo>
                  <a:pt x="1932" y="3292"/>
                </a:lnTo>
                <a:lnTo>
                  <a:pt x="1954" y="3288"/>
                </a:lnTo>
                <a:lnTo>
                  <a:pt x="1977" y="3284"/>
                </a:lnTo>
                <a:lnTo>
                  <a:pt x="1994" y="3282"/>
                </a:lnTo>
                <a:lnTo>
                  <a:pt x="2011" y="3278"/>
                </a:lnTo>
                <a:lnTo>
                  <a:pt x="2031" y="3273"/>
                </a:lnTo>
                <a:lnTo>
                  <a:pt x="2052" y="3268"/>
                </a:lnTo>
                <a:lnTo>
                  <a:pt x="2070" y="3264"/>
                </a:lnTo>
                <a:lnTo>
                  <a:pt x="2089" y="3258"/>
                </a:lnTo>
                <a:lnTo>
                  <a:pt x="2107" y="3253"/>
                </a:lnTo>
                <a:lnTo>
                  <a:pt x="2125" y="3248"/>
                </a:lnTo>
                <a:lnTo>
                  <a:pt x="2146" y="3243"/>
                </a:lnTo>
                <a:lnTo>
                  <a:pt x="2165" y="3236"/>
                </a:lnTo>
                <a:lnTo>
                  <a:pt x="2178" y="3231"/>
                </a:lnTo>
                <a:lnTo>
                  <a:pt x="2191" y="3227"/>
                </a:lnTo>
                <a:lnTo>
                  <a:pt x="2217" y="3218"/>
                </a:lnTo>
                <a:lnTo>
                  <a:pt x="2241" y="3209"/>
                </a:lnTo>
                <a:lnTo>
                  <a:pt x="2241" y="3209"/>
                </a:lnTo>
                <a:lnTo>
                  <a:pt x="2241" y="3209"/>
                </a:lnTo>
                <a:lnTo>
                  <a:pt x="2328" y="3174"/>
                </a:lnTo>
                <a:lnTo>
                  <a:pt x="2494" y="3090"/>
                </a:lnTo>
                <a:lnTo>
                  <a:pt x="2648" y="2989"/>
                </a:lnTo>
                <a:lnTo>
                  <a:pt x="2790" y="2870"/>
                </a:lnTo>
                <a:lnTo>
                  <a:pt x="2855" y="2805"/>
                </a:lnTo>
                <a:lnTo>
                  <a:pt x="2855" y="2805"/>
                </a:lnTo>
                <a:lnTo>
                  <a:pt x="2855" y="2805"/>
                </a:lnTo>
                <a:lnTo>
                  <a:pt x="2858" y="2801"/>
                </a:lnTo>
                <a:lnTo>
                  <a:pt x="2862" y="2797"/>
                </a:lnTo>
                <a:lnTo>
                  <a:pt x="2869" y="2789"/>
                </a:lnTo>
                <a:lnTo>
                  <a:pt x="2875" y="2783"/>
                </a:lnTo>
                <a:lnTo>
                  <a:pt x="2886" y="2771"/>
                </a:lnTo>
                <a:lnTo>
                  <a:pt x="2896" y="2759"/>
                </a:lnTo>
                <a:lnTo>
                  <a:pt x="2896" y="2759"/>
                </a:lnTo>
                <a:lnTo>
                  <a:pt x="2896" y="2759"/>
                </a:lnTo>
                <a:lnTo>
                  <a:pt x="2901" y="2754"/>
                </a:lnTo>
                <a:lnTo>
                  <a:pt x="2906" y="2748"/>
                </a:lnTo>
                <a:lnTo>
                  <a:pt x="2919" y="2734"/>
                </a:lnTo>
                <a:lnTo>
                  <a:pt x="2931" y="2719"/>
                </a:lnTo>
                <a:lnTo>
                  <a:pt x="2931" y="2719"/>
                </a:lnTo>
                <a:lnTo>
                  <a:pt x="2932" y="2718"/>
                </a:lnTo>
                <a:lnTo>
                  <a:pt x="2934" y="2717"/>
                </a:lnTo>
                <a:lnTo>
                  <a:pt x="2935" y="2715"/>
                </a:lnTo>
                <a:lnTo>
                  <a:pt x="2939" y="2710"/>
                </a:lnTo>
                <a:lnTo>
                  <a:pt x="2943" y="2706"/>
                </a:lnTo>
                <a:lnTo>
                  <a:pt x="2947" y="2701"/>
                </a:lnTo>
                <a:lnTo>
                  <a:pt x="2950" y="2696"/>
                </a:lnTo>
                <a:lnTo>
                  <a:pt x="2966" y="2676"/>
                </a:lnTo>
                <a:lnTo>
                  <a:pt x="2980" y="2658"/>
                </a:lnTo>
                <a:lnTo>
                  <a:pt x="2983" y="2654"/>
                </a:lnTo>
                <a:lnTo>
                  <a:pt x="2985" y="2651"/>
                </a:lnTo>
                <a:lnTo>
                  <a:pt x="3044" y="2726"/>
                </a:lnTo>
                <a:lnTo>
                  <a:pt x="3173" y="2863"/>
                </a:lnTo>
                <a:lnTo>
                  <a:pt x="3317" y="2985"/>
                </a:lnTo>
                <a:lnTo>
                  <a:pt x="3475" y="3090"/>
                </a:lnTo>
                <a:lnTo>
                  <a:pt x="3645" y="3177"/>
                </a:lnTo>
                <a:lnTo>
                  <a:pt x="3825" y="3244"/>
                </a:lnTo>
                <a:lnTo>
                  <a:pt x="4015" y="3290"/>
                </a:lnTo>
                <a:lnTo>
                  <a:pt x="4212" y="3313"/>
                </a:lnTo>
                <a:lnTo>
                  <a:pt x="4313" y="3315"/>
                </a:lnTo>
                <a:lnTo>
                  <a:pt x="13535" y="3315"/>
                </a:lnTo>
                <a:lnTo>
                  <a:pt x="13589" y="3314"/>
                </a:lnTo>
                <a:lnTo>
                  <a:pt x="13693" y="3292"/>
                </a:lnTo>
                <a:lnTo>
                  <a:pt x="13741" y="3274"/>
                </a:lnTo>
                <a:lnTo>
                  <a:pt x="13743" y="3273"/>
                </a:lnTo>
                <a:lnTo>
                  <a:pt x="13745" y="3273"/>
                </a:lnTo>
                <a:lnTo>
                  <a:pt x="13755" y="3268"/>
                </a:lnTo>
                <a:lnTo>
                  <a:pt x="13765" y="3264"/>
                </a:lnTo>
                <a:lnTo>
                  <a:pt x="13804" y="3243"/>
                </a:lnTo>
                <a:lnTo>
                  <a:pt x="13877" y="3192"/>
                </a:lnTo>
                <a:lnTo>
                  <a:pt x="13908" y="3161"/>
                </a:lnTo>
                <a:lnTo>
                  <a:pt x="13909" y="3161"/>
                </a:lnTo>
                <a:lnTo>
                  <a:pt x="13910" y="3160"/>
                </a:lnTo>
                <a:lnTo>
                  <a:pt x="13945" y="3122"/>
                </a:lnTo>
                <a:lnTo>
                  <a:pt x="14003" y="3038"/>
                </a:lnTo>
                <a:lnTo>
                  <a:pt x="14043" y="2942"/>
                </a:lnTo>
                <a:lnTo>
                  <a:pt x="14063" y="2839"/>
                </a:lnTo>
                <a:lnTo>
                  <a:pt x="14066" y="2784"/>
                </a:lnTo>
                <a:lnTo>
                  <a:pt x="14066" y="2784"/>
                </a:lnTo>
                <a:lnTo>
                  <a:pt x="14066" y="2654"/>
                </a:lnTo>
                <a:lnTo>
                  <a:pt x="14066" y="2654"/>
                </a:lnTo>
                <a:lnTo>
                  <a:pt x="13837" y="2654"/>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10" name="Freeform 586">
            <a:extLst>
              <a:ext uri="{FF2B5EF4-FFF2-40B4-BE49-F238E27FC236}">
                <a16:creationId xmlns:a16="http://schemas.microsoft.com/office/drawing/2014/main" id="{B655CE93-68E9-ECCD-8E67-5A4D4D97A4C1}"/>
              </a:ext>
            </a:extLst>
          </p:cNvPr>
          <p:cNvSpPr>
            <a:spLocks/>
          </p:cNvSpPr>
          <p:nvPr/>
        </p:nvSpPr>
        <p:spPr bwMode="auto">
          <a:xfrm>
            <a:off x="7213843" y="1450075"/>
            <a:ext cx="3900364" cy="899447"/>
          </a:xfrm>
          <a:custGeom>
            <a:avLst/>
            <a:gdLst>
              <a:gd name="T0" fmla="*/ 0 w 11294"/>
              <a:gd name="T1" fmla="*/ 0 h 2604"/>
              <a:gd name="T2" fmla="*/ 86 w 11294"/>
              <a:gd name="T3" fmla="*/ 56 h 2604"/>
              <a:gd name="T4" fmla="*/ 244 w 11294"/>
              <a:gd name="T5" fmla="*/ 187 h 2604"/>
              <a:gd name="T6" fmla="*/ 385 w 11294"/>
              <a:gd name="T7" fmla="*/ 336 h 2604"/>
              <a:gd name="T8" fmla="*/ 509 w 11294"/>
              <a:gd name="T9" fmla="*/ 500 h 2604"/>
              <a:gd name="T10" fmla="*/ 585 w 11294"/>
              <a:gd name="T11" fmla="*/ 634 h 2604"/>
              <a:gd name="T12" fmla="*/ 630 w 11294"/>
              <a:gd name="T13" fmla="*/ 727 h 2604"/>
              <a:gd name="T14" fmla="*/ 671 w 11294"/>
              <a:gd name="T15" fmla="*/ 824 h 2604"/>
              <a:gd name="T16" fmla="*/ 703 w 11294"/>
              <a:gd name="T17" fmla="*/ 923 h 2604"/>
              <a:gd name="T18" fmla="*/ 730 w 11294"/>
              <a:gd name="T19" fmla="*/ 1025 h 2604"/>
              <a:gd name="T20" fmla="*/ 751 w 11294"/>
              <a:gd name="T21" fmla="*/ 1130 h 2604"/>
              <a:gd name="T22" fmla="*/ 765 w 11294"/>
              <a:gd name="T23" fmla="*/ 1236 h 2604"/>
              <a:gd name="T24" fmla="*/ 772 w 11294"/>
              <a:gd name="T25" fmla="*/ 1345 h 2604"/>
              <a:gd name="T26" fmla="*/ 773 w 11294"/>
              <a:gd name="T27" fmla="*/ 1401 h 2604"/>
              <a:gd name="T28" fmla="*/ 773 w 11294"/>
              <a:gd name="T29" fmla="*/ 1407 h 2604"/>
              <a:gd name="T30" fmla="*/ 773 w 11294"/>
              <a:gd name="T31" fmla="*/ 1414 h 2604"/>
              <a:gd name="T32" fmla="*/ 774 w 11294"/>
              <a:gd name="T33" fmla="*/ 1466 h 2604"/>
              <a:gd name="T34" fmla="*/ 786 w 11294"/>
              <a:gd name="T35" fmla="*/ 1564 h 2604"/>
              <a:gd name="T36" fmla="*/ 807 w 11294"/>
              <a:gd name="T37" fmla="*/ 1660 h 2604"/>
              <a:gd name="T38" fmla="*/ 836 w 11294"/>
              <a:gd name="T39" fmla="*/ 1754 h 2604"/>
              <a:gd name="T40" fmla="*/ 874 w 11294"/>
              <a:gd name="T41" fmla="*/ 1842 h 2604"/>
              <a:gd name="T42" fmla="*/ 921 w 11294"/>
              <a:gd name="T43" fmla="*/ 1925 h 2604"/>
              <a:gd name="T44" fmla="*/ 975 w 11294"/>
              <a:gd name="T45" fmla="*/ 2004 h 2604"/>
              <a:gd name="T46" fmla="*/ 1036 w 11294"/>
              <a:gd name="T47" fmla="*/ 2076 h 2604"/>
              <a:gd name="T48" fmla="*/ 1103 w 11294"/>
              <a:gd name="T49" fmla="*/ 2144 h 2604"/>
              <a:gd name="T50" fmla="*/ 1177 w 11294"/>
              <a:gd name="T51" fmla="*/ 2203 h 2604"/>
              <a:gd name="T52" fmla="*/ 1256 w 11294"/>
              <a:gd name="T53" fmla="*/ 2256 h 2604"/>
              <a:gd name="T54" fmla="*/ 1341 w 11294"/>
              <a:gd name="T55" fmla="*/ 2302 h 2604"/>
              <a:gd name="T56" fmla="*/ 1429 w 11294"/>
              <a:gd name="T57" fmla="*/ 2338 h 2604"/>
              <a:gd name="T58" fmla="*/ 1522 w 11294"/>
              <a:gd name="T59" fmla="*/ 2368 h 2604"/>
              <a:gd name="T60" fmla="*/ 1619 w 11294"/>
              <a:gd name="T61" fmla="*/ 2387 h 2604"/>
              <a:gd name="T62" fmla="*/ 1719 w 11294"/>
              <a:gd name="T63" fmla="*/ 2396 h 2604"/>
              <a:gd name="T64" fmla="*/ 1770 w 11294"/>
              <a:gd name="T65" fmla="*/ 2398 h 2604"/>
              <a:gd name="T66" fmla="*/ 1770 w 11294"/>
              <a:gd name="T67" fmla="*/ 2604 h 2604"/>
              <a:gd name="T68" fmla="*/ 11294 w 11294"/>
              <a:gd name="T69" fmla="*/ 2604 h 2604"/>
              <a:gd name="T70" fmla="*/ 11294 w 11294"/>
              <a:gd name="T71" fmla="*/ 543 h 2604"/>
              <a:gd name="T72" fmla="*/ 11292 w 11294"/>
              <a:gd name="T73" fmla="*/ 487 h 2604"/>
              <a:gd name="T74" fmla="*/ 11270 w 11294"/>
              <a:gd name="T75" fmla="*/ 381 h 2604"/>
              <a:gd name="T76" fmla="*/ 11229 w 11294"/>
              <a:gd name="T77" fmla="*/ 284 h 2604"/>
              <a:gd name="T78" fmla="*/ 11170 w 11294"/>
              <a:gd name="T79" fmla="*/ 197 h 2604"/>
              <a:gd name="T80" fmla="*/ 11097 w 11294"/>
              <a:gd name="T81" fmla="*/ 123 h 2604"/>
              <a:gd name="T82" fmla="*/ 11010 w 11294"/>
              <a:gd name="T83" fmla="*/ 65 h 2604"/>
              <a:gd name="T84" fmla="*/ 10913 w 11294"/>
              <a:gd name="T85" fmla="*/ 23 h 2604"/>
              <a:gd name="T86" fmla="*/ 10806 w 11294"/>
              <a:gd name="T87" fmla="*/ 1 h 2604"/>
              <a:gd name="T88" fmla="*/ 10751 w 11294"/>
              <a:gd name="T89" fmla="*/ 0 h 2604"/>
              <a:gd name="T90" fmla="*/ 0 w 11294"/>
              <a:gd name="T91" fmla="*/ 0 h 2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94" h="2604">
                <a:moveTo>
                  <a:pt x="0" y="0"/>
                </a:moveTo>
                <a:lnTo>
                  <a:pt x="86" y="56"/>
                </a:lnTo>
                <a:lnTo>
                  <a:pt x="244" y="187"/>
                </a:lnTo>
                <a:lnTo>
                  <a:pt x="385" y="336"/>
                </a:lnTo>
                <a:lnTo>
                  <a:pt x="509" y="500"/>
                </a:lnTo>
                <a:lnTo>
                  <a:pt x="585" y="634"/>
                </a:lnTo>
                <a:lnTo>
                  <a:pt x="630" y="727"/>
                </a:lnTo>
                <a:lnTo>
                  <a:pt x="671" y="824"/>
                </a:lnTo>
                <a:lnTo>
                  <a:pt x="703" y="923"/>
                </a:lnTo>
                <a:lnTo>
                  <a:pt x="730" y="1025"/>
                </a:lnTo>
                <a:lnTo>
                  <a:pt x="751" y="1130"/>
                </a:lnTo>
                <a:lnTo>
                  <a:pt x="765" y="1236"/>
                </a:lnTo>
                <a:lnTo>
                  <a:pt x="772" y="1345"/>
                </a:lnTo>
                <a:lnTo>
                  <a:pt x="773" y="1401"/>
                </a:lnTo>
                <a:lnTo>
                  <a:pt x="773" y="1407"/>
                </a:lnTo>
                <a:lnTo>
                  <a:pt x="773" y="1414"/>
                </a:lnTo>
                <a:lnTo>
                  <a:pt x="774" y="1466"/>
                </a:lnTo>
                <a:lnTo>
                  <a:pt x="786" y="1564"/>
                </a:lnTo>
                <a:lnTo>
                  <a:pt x="807" y="1660"/>
                </a:lnTo>
                <a:lnTo>
                  <a:pt x="836" y="1754"/>
                </a:lnTo>
                <a:lnTo>
                  <a:pt x="874" y="1842"/>
                </a:lnTo>
                <a:lnTo>
                  <a:pt x="921" y="1925"/>
                </a:lnTo>
                <a:lnTo>
                  <a:pt x="975" y="2004"/>
                </a:lnTo>
                <a:lnTo>
                  <a:pt x="1036" y="2076"/>
                </a:lnTo>
                <a:lnTo>
                  <a:pt x="1103" y="2144"/>
                </a:lnTo>
                <a:lnTo>
                  <a:pt x="1177" y="2203"/>
                </a:lnTo>
                <a:lnTo>
                  <a:pt x="1256" y="2256"/>
                </a:lnTo>
                <a:lnTo>
                  <a:pt x="1341" y="2302"/>
                </a:lnTo>
                <a:lnTo>
                  <a:pt x="1429" y="2338"/>
                </a:lnTo>
                <a:lnTo>
                  <a:pt x="1522" y="2368"/>
                </a:lnTo>
                <a:lnTo>
                  <a:pt x="1619" y="2387"/>
                </a:lnTo>
                <a:lnTo>
                  <a:pt x="1719" y="2396"/>
                </a:lnTo>
                <a:lnTo>
                  <a:pt x="1770" y="2398"/>
                </a:lnTo>
                <a:lnTo>
                  <a:pt x="1770" y="2604"/>
                </a:lnTo>
                <a:lnTo>
                  <a:pt x="11294" y="2604"/>
                </a:lnTo>
                <a:lnTo>
                  <a:pt x="11294" y="543"/>
                </a:lnTo>
                <a:lnTo>
                  <a:pt x="11292" y="487"/>
                </a:lnTo>
                <a:lnTo>
                  <a:pt x="11270" y="381"/>
                </a:lnTo>
                <a:lnTo>
                  <a:pt x="11229" y="284"/>
                </a:lnTo>
                <a:lnTo>
                  <a:pt x="11170" y="197"/>
                </a:lnTo>
                <a:lnTo>
                  <a:pt x="11097" y="123"/>
                </a:lnTo>
                <a:lnTo>
                  <a:pt x="11010" y="65"/>
                </a:lnTo>
                <a:lnTo>
                  <a:pt x="10913" y="23"/>
                </a:lnTo>
                <a:lnTo>
                  <a:pt x="10806" y="1"/>
                </a:lnTo>
                <a:lnTo>
                  <a:pt x="10751" y="0"/>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11" name="Freeform 584">
            <a:extLst>
              <a:ext uri="{FF2B5EF4-FFF2-40B4-BE49-F238E27FC236}">
                <a16:creationId xmlns:a16="http://schemas.microsoft.com/office/drawing/2014/main" id="{5AE390E2-2E93-130C-C021-B6544B7A67B8}"/>
              </a:ext>
            </a:extLst>
          </p:cNvPr>
          <p:cNvSpPr>
            <a:spLocks/>
          </p:cNvSpPr>
          <p:nvPr/>
        </p:nvSpPr>
        <p:spPr bwMode="auto">
          <a:xfrm>
            <a:off x="6354171" y="3113056"/>
            <a:ext cx="4859221" cy="1145378"/>
          </a:xfrm>
          <a:custGeom>
            <a:avLst/>
            <a:gdLst>
              <a:gd name="T0" fmla="*/ 13835 w 14066"/>
              <a:gd name="T1" fmla="*/ 744 h 3315"/>
              <a:gd name="T2" fmla="*/ 13713 w 14066"/>
              <a:gd name="T3" fmla="*/ 454 h 3315"/>
              <a:gd name="T4" fmla="*/ 13456 w 14066"/>
              <a:gd name="T5" fmla="*/ 280 h 3315"/>
              <a:gd name="T6" fmla="*/ 2543 w 14066"/>
              <a:gd name="T7" fmla="*/ 257 h 3315"/>
              <a:gd name="T8" fmla="*/ 2291 w 14066"/>
              <a:gd name="T9" fmla="*/ 124 h 3315"/>
              <a:gd name="T10" fmla="*/ 1956 w 14066"/>
              <a:gd name="T11" fmla="*/ 26 h 3315"/>
              <a:gd name="T12" fmla="*/ 1658 w 14066"/>
              <a:gd name="T13" fmla="*/ 0 h 3315"/>
              <a:gd name="T14" fmla="*/ 1243 w 14066"/>
              <a:gd name="T15" fmla="*/ 52 h 3315"/>
              <a:gd name="T16" fmla="*/ 798 w 14066"/>
              <a:gd name="T17" fmla="*/ 240 h 3315"/>
              <a:gd name="T18" fmla="*/ 431 w 14066"/>
              <a:gd name="T19" fmla="*/ 543 h 3315"/>
              <a:gd name="T20" fmla="*/ 162 w 14066"/>
              <a:gd name="T21" fmla="*/ 938 h 3315"/>
              <a:gd name="T22" fmla="*/ 19 w 14066"/>
              <a:gd name="T23" fmla="*/ 1405 h 3315"/>
              <a:gd name="T24" fmla="*/ 0 w 14066"/>
              <a:gd name="T25" fmla="*/ 1720 h 3315"/>
              <a:gd name="T26" fmla="*/ 54 w 14066"/>
              <a:gd name="T27" fmla="*/ 2076 h 3315"/>
              <a:gd name="T28" fmla="*/ 177 w 14066"/>
              <a:gd name="T29" fmla="*/ 2404 h 3315"/>
              <a:gd name="T30" fmla="*/ 365 w 14066"/>
              <a:gd name="T31" fmla="*/ 2696 h 3315"/>
              <a:gd name="T32" fmla="*/ 607 w 14066"/>
              <a:gd name="T33" fmla="*/ 2941 h 3315"/>
              <a:gd name="T34" fmla="*/ 896 w 14066"/>
              <a:gd name="T35" fmla="*/ 3130 h 3315"/>
              <a:gd name="T36" fmla="*/ 1199 w 14066"/>
              <a:gd name="T37" fmla="*/ 3252 h 3315"/>
              <a:gd name="T38" fmla="*/ 1658 w 14066"/>
              <a:gd name="T39" fmla="*/ 3315 h 3315"/>
              <a:gd name="T40" fmla="*/ 1700 w 14066"/>
              <a:gd name="T41" fmla="*/ 3315 h 3315"/>
              <a:gd name="T42" fmla="*/ 1766 w 14066"/>
              <a:gd name="T43" fmla="*/ 3312 h 3315"/>
              <a:gd name="T44" fmla="*/ 1834 w 14066"/>
              <a:gd name="T45" fmla="*/ 3306 h 3315"/>
              <a:gd name="T46" fmla="*/ 1899 w 14066"/>
              <a:gd name="T47" fmla="*/ 3297 h 3315"/>
              <a:gd name="T48" fmla="*/ 1954 w 14066"/>
              <a:gd name="T49" fmla="*/ 3288 h 3315"/>
              <a:gd name="T50" fmla="*/ 2011 w 14066"/>
              <a:gd name="T51" fmla="*/ 3278 h 3315"/>
              <a:gd name="T52" fmla="*/ 2070 w 14066"/>
              <a:gd name="T53" fmla="*/ 3264 h 3315"/>
              <a:gd name="T54" fmla="*/ 2125 w 14066"/>
              <a:gd name="T55" fmla="*/ 3248 h 3315"/>
              <a:gd name="T56" fmla="*/ 2178 w 14066"/>
              <a:gd name="T57" fmla="*/ 3231 h 3315"/>
              <a:gd name="T58" fmla="*/ 2241 w 14066"/>
              <a:gd name="T59" fmla="*/ 3209 h 3315"/>
              <a:gd name="T60" fmla="*/ 2328 w 14066"/>
              <a:gd name="T61" fmla="*/ 3174 h 3315"/>
              <a:gd name="T62" fmla="*/ 2790 w 14066"/>
              <a:gd name="T63" fmla="*/ 2870 h 3315"/>
              <a:gd name="T64" fmla="*/ 2855 w 14066"/>
              <a:gd name="T65" fmla="*/ 2805 h 3315"/>
              <a:gd name="T66" fmla="*/ 2869 w 14066"/>
              <a:gd name="T67" fmla="*/ 2789 h 3315"/>
              <a:gd name="T68" fmla="*/ 2896 w 14066"/>
              <a:gd name="T69" fmla="*/ 2759 h 3315"/>
              <a:gd name="T70" fmla="*/ 2901 w 14066"/>
              <a:gd name="T71" fmla="*/ 2754 h 3315"/>
              <a:gd name="T72" fmla="*/ 2931 w 14066"/>
              <a:gd name="T73" fmla="*/ 2719 h 3315"/>
              <a:gd name="T74" fmla="*/ 2934 w 14066"/>
              <a:gd name="T75" fmla="*/ 2717 h 3315"/>
              <a:gd name="T76" fmla="*/ 2943 w 14066"/>
              <a:gd name="T77" fmla="*/ 2706 h 3315"/>
              <a:gd name="T78" fmla="*/ 2966 w 14066"/>
              <a:gd name="T79" fmla="*/ 2676 h 3315"/>
              <a:gd name="T80" fmla="*/ 2985 w 14066"/>
              <a:gd name="T81" fmla="*/ 2651 h 3315"/>
              <a:gd name="T82" fmla="*/ 3317 w 14066"/>
              <a:gd name="T83" fmla="*/ 2985 h 3315"/>
              <a:gd name="T84" fmla="*/ 3825 w 14066"/>
              <a:gd name="T85" fmla="*/ 3244 h 3315"/>
              <a:gd name="T86" fmla="*/ 4313 w 14066"/>
              <a:gd name="T87" fmla="*/ 3315 h 3315"/>
              <a:gd name="T88" fmla="*/ 13693 w 14066"/>
              <a:gd name="T89" fmla="*/ 3292 h 3315"/>
              <a:gd name="T90" fmla="*/ 13745 w 14066"/>
              <a:gd name="T91" fmla="*/ 3273 h 3315"/>
              <a:gd name="T92" fmla="*/ 13804 w 14066"/>
              <a:gd name="T93" fmla="*/ 3243 h 3315"/>
              <a:gd name="T94" fmla="*/ 13909 w 14066"/>
              <a:gd name="T95" fmla="*/ 3161 h 3315"/>
              <a:gd name="T96" fmla="*/ 14003 w 14066"/>
              <a:gd name="T97" fmla="*/ 3038 h 3315"/>
              <a:gd name="T98" fmla="*/ 14066 w 14066"/>
              <a:gd name="T99" fmla="*/ 2784 h 3315"/>
              <a:gd name="T100" fmla="*/ 14066 w 14066"/>
              <a:gd name="T101" fmla="*/ 2654 h 3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6" h="3315">
                <a:moveTo>
                  <a:pt x="13837" y="2654"/>
                </a:moveTo>
                <a:lnTo>
                  <a:pt x="13837" y="800"/>
                </a:lnTo>
                <a:lnTo>
                  <a:pt x="13835" y="744"/>
                </a:lnTo>
                <a:lnTo>
                  <a:pt x="13813" y="638"/>
                </a:lnTo>
                <a:lnTo>
                  <a:pt x="13772" y="540"/>
                </a:lnTo>
                <a:lnTo>
                  <a:pt x="13713" y="454"/>
                </a:lnTo>
                <a:lnTo>
                  <a:pt x="13640" y="380"/>
                </a:lnTo>
                <a:lnTo>
                  <a:pt x="13553" y="321"/>
                </a:lnTo>
                <a:lnTo>
                  <a:pt x="13456" y="280"/>
                </a:lnTo>
                <a:lnTo>
                  <a:pt x="13349" y="258"/>
                </a:lnTo>
                <a:lnTo>
                  <a:pt x="13294" y="257"/>
                </a:lnTo>
                <a:lnTo>
                  <a:pt x="2543" y="257"/>
                </a:lnTo>
                <a:lnTo>
                  <a:pt x="2494" y="227"/>
                </a:lnTo>
                <a:lnTo>
                  <a:pt x="2394" y="172"/>
                </a:lnTo>
                <a:lnTo>
                  <a:pt x="2291" y="124"/>
                </a:lnTo>
                <a:lnTo>
                  <a:pt x="2182" y="84"/>
                </a:lnTo>
                <a:lnTo>
                  <a:pt x="2070" y="52"/>
                </a:lnTo>
                <a:lnTo>
                  <a:pt x="1956" y="26"/>
                </a:lnTo>
                <a:lnTo>
                  <a:pt x="1838" y="9"/>
                </a:lnTo>
                <a:lnTo>
                  <a:pt x="1719" y="0"/>
                </a:lnTo>
                <a:lnTo>
                  <a:pt x="1658" y="0"/>
                </a:lnTo>
                <a:lnTo>
                  <a:pt x="1573" y="1"/>
                </a:lnTo>
                <a:lnTo>
                  <a:pt x="1405" y="18"/>
                </a:lnTo>
                <a:lnTo>
                  <a:pt x="1243" y="52"/>
                </a:lnTo>
                <a:lnTo>
                  <a:pt x="1088" y="100"/>
                </a:lnTo>
                <a:lnTo>
                  <a:pt x="939" y="163"/>
                </a:lnTo>
                <a:lnTo>
                  <a:pt x="798" y="240"/>
                </a:lnTo>
                <a:lnTo>
                  <a:pt x="665" y="329"/>
                </a:lnTo>
                <a:lnTo>
                  <a:pt x="542" y="430"/>
                </a:lnTo>
                <a:lnTo>
                  <a:pt x="431" y="543"/>
                </a:lnTo>
                <a:lnTo>
                  <a:pt x="328" y="665"/>
                </a:lnTo>
                <a:lnTo>
                  <a:pt x="239" y="797"/>
                </a:lnTo>
                <a:lnTo>
                  <a:pt x="162" y="938"/>
                </a:lnTo>
                <a:lnTo>
                  <a:pt x="100" y="1087"/>
                </a:lnTo>
                <a:lnTo>
                  <a:pt x="51" y="1243"/>
                </a:lnTo>
                <a:lnTo>
                  <a:pt x="19" y="1405"/>
                </a:lnTo>
                <a:lnTo>
                  <a:pt x="2" y="1572"/>
                </a:lnTo>
                <a:lnTo>
                  <a:pt x="0" y="1658"/>
                </a:lnTo>
                <a:lnTo>
                  <a:pt x="0" y="1720"/>
                </a:lnTo>
                <a:lnTo>
                  <a:pt x="10" y="1842"/>
                </a:lnTo>
                <a:lnTo>
                  <a:pt x="28" y="1961"/>
                </a:lnTo>
                <a:lnTo>
                  <a:pt x="54" y="2076"/>
                </a:lnTo>
                <a:lnTo>
                  <a:pt x="87" y="2190"/>
                </a:lnTo>
                <a:lnTo>
                  <a:pt x="129" y="2299"/>
                </a:lnTo>
                <a:lnTo>
                  <a:pt x="177" y="2404"/>
                </a:lnTo>
                <a:lnTo>
                  <a:pt x="234" y="2507"/>
                </a:lnTo>
                <a:lnTo>
                  <a:pt x="296" y="2604"/>
                </a:lnTo>
                <a:lnTo>
                  <a:pt x="365" y="2696"/>
                </a:lnTo>
                <a:lnTo>
                  <a:pt x="440" y="2783"/>
                </a:lnTo>
                <a:lnTo>
                  <a:pt x="520" y="2864"/>
                </a:lnTo>
                <a:lnTo>
                  <a:pt x="607" y="2941"/>
                </a:lnTo>
                <a:lnTo>
                  <a:pt x="699" y="3010"/>
                </a:lnTo>
                <a:lnTo>
                  <a:pt x="795" y="3073"/>
                </a:lnTo>
                <a:lnTo>
                  <a:pt x="896" y="3130"/>
                </a:lnTo>
                <a:lnTo>
                  <a:pt x="948" y="3156"/>
                </a:lnTo>
                <a:lnTo>
                  <a:pt x="1030" y="3192"/>
                </a:lnTo>
                <a:lnTo>
                  <a:pt x="1199" y="3252"/>
                </a:lnTo>
                <a:lnTo>
                  <a:pt x="1378" y="3293"/>
                </a:lnTo>
                <a:lnTo>
                  <a:pt x="1564" y="3314"/>
                </a:lnTo>
                <a:lnTo>
                  <a:pt x="1658" y="3315"/>
                </a:lnTo>
                <a:lnTo>
                  <a:pt x="1658" y="3315"/>
                </a:lnTo>
                <a:lnTo>
                  <a:pt x="1659" y="3315"/>
                </a:lnTo>
                <a:lnTo>
                  <a:pt x="1700" y="3315"/>
                </a:lnTo>
                <a:lnTo>
                  <a:pt x="1740" y="3313"/>
                </a:lnTo>
                <a:lnTo>
                  <a:pt x="1753" y="3313"/>
                </a:lnTo>
                <a:lnTo>
                  <a:pt x="1766" y="3312"/>
                </a:lnTo>
                <a:lnTo>
                  <a:pt x="1793" y="3310"/>
                </a:lnTo>
                <a:lnTo>
                  <a:pt x="1820" y="3308"/>
                </a:lnTo>
                <a:lnTo>
                  <a:pt x="1834" y="3306"/>
                </a:lnTo>
                <a:lnTo>
                  <a:pt x="1850" y="3304"/>
                </a:lnTo>
                <a:lnTo>
                  <a:pt x="1875" y="3301"/>
                </a:lnTo>
                <a:lnTo>
                  <a:pt x="1899" y="3297"/>
                </a:lnTo>
                <a:lnTo>
                  <a:pt x="1915" y="3296"/>
                </a:lnTo>
                <a:lnTo>
                  <a:pt x="1932" y="3292"/>
                </a:lnTo>
                <a:lnTo>
                  <a:pt x="1954" y="3288"/>
                </a:lnTo>
                <a:lnTo>
                  <a:pt x="1977" y="3284"/>
                </a:lnTo>
                <a:lnTo>
                  <a:pt x="1994" y="3282"/>
                </a:lnTo>
                <a:lnTo>
                  <a:pt x="2011" y="3278"/>
                </a:lnTo>
                <a:lnTo>
                  <a:pt x="2031" y="3273"/>
                </a:lnTo>
                <a:lnTo>
                  <a:pt x="2052" y="3268"/>
                </a:lnTo>
                <a:lnTo>
                  <a:pt x="2070" y="3264"/>
                </a:lnTo>
                <a:lnTo>
                  <a:pt x="2089" y="3258"/>
                </a:lnTo>
                <a:lnTo>
                  <a:pt x="2107" y="3253"/>
                </a:lnTo>
                <a:lnTo>
                  <a:pt x="2125" y="3248"/>
                </a:lnTo>
                <a:lnTo>
                  <a:pt x="2146" y="3243"/>
                </a:lnTo>
                <a:lnTo>
                  <a:pt x="2165" y="3236"/>
                </a:lnTo>
                <a:lnTo>
                  <a:pt x="2178" y="3231"/>
                </a:lnTo>
                <a:lnTo>
                  <a:pt x="2191" y="3227"/>
                </a:lnTo>
                <a:lnTo>
                  <a:pt x="2217" y="3218"/>
                </a:lnTo>
                <a:lnTo>
                  <a:pt x="2241" y="3209"/>
                </a:lnTo>
                <a:lnTo>
                  <a:pt x="2241" y="3209"/>
                </a:lnTo>
                <a:lnTo>
                  <a:pt x="2241" y="3209"/>
                </a:lnTo>
                <a:lnTo>
                  <a:pt x="2328" y="3174"/>
                </a:lnTo>
                <a:lnTo>
                  <a:pt x="2494" y="3090"/>
                </a:lnTo>
                <a:lnTo>
                  <a:pt x="2648" y="2989"/>
                </a:lnTo>
                <a:lnTo>
                  <a:pt x="2790" y="2870"/>
                </a:lnTo>
                <a:lnTo>
                  <a:pt x="2855" y="2805"/>
                </a:lnTo>
                <a:lnTo>
                  <a:pt x="2855" y="2805"/>
                </a:lnTo>
                <a:lnTo>
                  <a:pt x="2855" y="2805"/>
                </a:lnTo>
                <a:lnTo>
                  <a:pt x="2858" y="2801"/>
                </a:lnTo>
                <a:lnTo>
                  <a:pt x="2862" y="2797"/>
                </a:lnTo>
                <a:lnTo>
                  <a:pt x="2869" y="2789"/>
                </a:lnTo>
                <a:lnTo>
                  <a:pt x="2875" y="2783"/>
                </a:lnTo>
                <a:lnTo>
                  <a:pt x="2886" y="2771"/>
                </a:lnTo>
                <a:lnTo>
                  <a:pt x="2896" y="2759"/>
                </a:lnTo>
                <a:lnTo>
                  <a:pt x="2896" y="2759"/>
                </a:lnTo>
                <a:lnTo>
                  <a:pt x="2896" y="2759"/>
                </a:lnTo>
                <a:lnTo>
                  <a:pt x="2901" y="2754"/>
                </a:lnTo>
                <a:lnTo>
                  <a:pt x="2906" y="2748"/>
                </a:lnTo>
                <a:lnTo>
                  <a:pt x="2919" y="2734"/>
                </a:lnTo>
                <a:lnTo>
                  <a:pt x="2931" y="2719"/>
                </a:lnTo>
                <a:lnTo>
                  <a:pt x="2931" y="2719"/>
                </a:lnTo>
                <a:lnTo>
                  <a:pt x="2932" y="2718"/>
                </a:lnTo>
                <a:lnTo>
                  <a:pt x="2934" y="2717"/>
                </a:lnTo>
                <a:lnTo>
                  <a:pt x="2935" y="2715"/>
                </a:lnTo>
                <a:lnTo>
                  <a:pt x="2939" y="2710"/>
                </a:lnTo>
                <a:lnTo>
                  <a:pt x="2943" y="2706"/>
                </a:lnTo>
                <a:lnTo>
                  <a:pt x="2947" y="2701"/>
                </a:lnTo>
                <a:lnTo>
                  <a:pt x="2950" y="2696"/>
                </a:lnTo>
                <a:lnTo>
                  <a:pt x="2966" y="2676"/>
                </a:lnTo>
                <a:lnTo>
                  <a:pt x="2980" y="2658"/>
                </a:lnTo>
                <a:lnTo>
                  <a:pt x="2983" y="2654"/>
                </a:lnTo>
                <a:lnTo>
                  <a:pt x="2985" y="2651"/>
                </a:lnTo>
                <a:lnTo>
                  <a:pt x="3044" y="2726"/>
                </a:lnTo>
                <a:lnTo>
                  <a:pt x="3173" y="2863"/>
                </a:lnTo>
                <a:lnTo>
                  <a:pt x="3317" y="2985"/>
                </a:lnTo>
                <a:lnTo>
                  <a:pt x="3475" y="3090"/>
                </a:lnTo>
                <a:lnTo>
                  <a:pt x="3645" y="3177"/>
                </a:lnTo>
                <a:lnTo>
                  <a:pt x="3825" y="3244"/>
                </a:lnTo>
                <a:lnTo>
                  <a:pt x="4015" y="3290"/>
                </a:lnTo>
                <a:lnTo>
                  <a:pt x="4212" y="3313"/>
                </a:lnTo>
                <a:lnTo>
                  <a:pt x="4313" y="3315"/>
                </a:lnTo>
                <a:lnTo>
                  <a:pt x="13535" y="3315"/>
                </a:lnTo>
                <a:lnTo>
                  <a:pt x="13589" y="3314"/>
                </a:lnTo>
                <a:lnTo>
                  <a:pt x="13693" y="3292"/>
                </a:lnTo>
                <a:lnTo>
                  <a:pt x="13741" y="3274"/>
                </a:lnTo>
                <a:lnTo>
                  <a:pt x="13743" y="3273"/>
                </a:lnTo>
                <a:lnTo>
                  <a:pt x="13745" y="3273"/>
                </a:lnTo>
                <a:lnTo>
                  <a:pt x="13755" y="3268"/>
                </a:lnTo>
                <a:lnTo>
                  <a:pt x="13765" y="3264"/>
                </a:lnTo>
                <a:lnTo>
                  <a:pt x="13804" y="3243"/>
                </a:lnTo>
                <a:lnTo>
                  <a:pt x="13877" y="3192"/>
                </a:lnTo>
                <a:lnTo>
                  <a:pt x="13908" y="3161"/>
                </a:lnTo>
                <a:lnTo>
                  <a:pt x="13909" y="3161"/>
                </a:lnTo>
                <a:lnTo>
                  <a:pt x="13910" y="3160"/>
                </a:lnTo>
                <a:lnTo>
                  <a:pt x="13945" y="3122"/>
                </a:lnTo>
                <a:lnTo>
                  <a:pt x="14003" y="3038"/>
                </a:lnTo>
                <a:lnTo>
                  <a:pt x="14043" y="2942"/>
                </a:lnTo>
                <a:lnTo>
                  <a:pt x="14063" y="2839"/>
                </a:lnTo>
                <a:lnTo>
                  <a:pt x="14066" y="2784"/>
                </a:lnTo>
                <a:lnTo>
                  <a:pt x="14066" y="2784"/>
                </a:lnTo>
                <a:lnTo>
                  <a:pt x="14066" y="2654"/>
                </a:lnTo>
                <a:lnTo>
                  <a:pt x="14066" y="2654"/>
                </a:lnTo>
                <a:lnTo>
                  <a:pt x="13837" y="2654"/>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12" name="Freeform 586">
            <a:extLst>
              <a:ext uri="{FF2B5EF4-FFF2-40B4-BE49-F238E27FC236}">
                <a16:creationId xmlns:a16="http://schemas.microsoft.com/office/drawing/2014/main" id="{AA7F05D7-3EE2-3D81-4EAA-34FD9251CD3C}"/>
              </a:ext>
            </a:extLst>
          </p:cNvPr>
          <p:cNvSpPr>
            <a:spLocks/>
          </p:cNvSpPr>
          <p:nvPr/>
        </p:nvSpPr>
        <p:spPr bwMode="auto">
          <a:xfrm>
            <a:off x="7213843" y="3103384"/>
            <a:ext cx="3900364" cy="899447"/>
          </a:xfrm>
          <a:custGeom>
            <a:avLst/>
            <a:gdLst>
              <a:gd name="T0" fmla="*/ 0 w 11294"/>
              <a:gd name="T1" fmla="*/ 0 h 2604"/>
              <a:gd name="T2" fmla="*/ 86 w 11294"/>
              <a:gd name="T3" fmla="*/ 56 h 2604"/>
              <a:gd name="T4" fmla="*/ 244 w 11294"/>
              <a:gd name="T5" fmla="*/ 187 h 2604"/>
              <a:gd name="T6" fmla="*/ 385 w 11294"/>
              <a:gd name="T7" fmla="*/ 336 h 2604"/>
              <a:gd name="T8" fmla="*/ 509 w 11294"/>
              <a:gd name="T9" fmla="*/ 500 h 2604"/>
              <a:gd name="T10" fmla="*/ 585 w 11294"/>
              <a:gd name="T11" fmla="*/ 634 h 2604"/>
              <a:gd name="T12" fmla="*/ 630 w 11294"/>
              <a:gd name="T13" fmla="*/ 727 h 2604"/>
              <a:gd name="T14" fmla="*/ 671 w 11294"/>
              <a:gd name="T15" fmla="*/ 824 h 2604"/>
              <a:gd name="T16" fmla="*/ 703 w 11294"/>
              <a:gd name="T17" fmla="*/ 923 h 2604"/>
              <a:gd name="T18" fmla="*/ 730 w 11294"/>
              <a:gd name="T19" fmla="*/ 1025 h 2604"/>
              <a:gd name="T20" fmla="*/ 751 w 11294"/>
              <a:gd name="T21" fmla="*/ 1130 h 2604"/>
              <a:gd name="T22" fmla="*/ 765 w 11294"/>
              <a:gd name="T23" fmla="*/ 1236 h 2604"/>
              <a:gd name="T24" fmla="*/ 772 w 11294"/>
              <a:gd name="T25" fmla="*/ 1345 h 2604"/>
              <a:gd name="T26" fmla="*/ 773 w 11294"/>
              <a:gd name="T27" fmla="*/ 1401 h 2604"/>
              <a:gd name="T28" fmla="*/ 773 w 11294"/>
              <a:gd name="T29" fmla="*/ 1407 h 2604"/>
              <a:gd name="T30" fmla="*/ 773 w 11294"/>
              <a:gd name="T31" fmla="*/ 1414 h 2604"/>
              <a:gd name="T32" fmla="*/ 774 w 11294"/>
              <a:gd name="T33" fmla="*/ 1466 h 2604"/>
              <a:gd name="T34" fmla="*/ 786 w 11294"/>
              <a:gd name="T35" fmla="*/ 1564 h 2604"/>
              <a:gd name="T36" fmla="*/ 807 w 11294"/>
              <a:gd name="T37" fmla="*/ 1660 h 2604"/>
              <a:gd name="T38" fmla="*/ 836 w 11294"/>
              <a:gd name="T39" fmla="*/ 1754 h 2604"/>
              <a:gd name="T40" fmla="*/ 874 w 11294"/>
              <a:gd name="T41" fmla="*/ 1842 h 2604"/>
              <a:gd name="T42" fmla="*/ 921 w 11294"/>
              <a:gd name="T43" fmla="*/ 1925 h 2604"/>
              <a:gd name="T44" fmla="*/ 975 w 11294"/>
              <a:gd name="T45" fmla="*/ 2004 h 2604"/>
              <a:gd name="T46" fmla="*/ 1036 w 11294"/>
              <a:gd name="T47" fmla="*/ 2076 h 2604"/>
              <a:gd name="T48" fmla="*/ 1103 w 11294"/>
              <a:gd name="T49" fmla="*/ 2144 h 2604"/>
              <a:gd name="T50" fmla="*/ 1177 w 11294"/>
              <a:gd name="T51" fmla="*/ 2203 h 2604"/>
              <a:gd name="T52" fmla="*/ 1256 w 11294"/>
              <a:gd name="T53" fmla="*/ 2256 h 2604"/>
              <a:gd name="T54" fmla="*/ 1341 w 11294"/>
              <a:gd name="T55" fmla="*/ 2302 h 2604"/>
              <a:gd name="T56" fmla="*/ 1429 w 11294"/>
              <a:gd name="T57" fmla="*/ 2338 h 2604"/>
              <a:gd name="T58" fmla="*/ 1522 w 11294"/>
              <a:gd name="T59" fmla="*/ 2368 h 2604"/>
              <a:gd name="T60" fmla="*/ 1619 w 11294"/>
              <a:gd name="T61" fmla="*/ 2387 h 2604"/>
              <a:gd name="T62" fmla="*/ 1719 w 11294"/>
              <a:gd name="T63" fmla="*/ 2396 h 2604"/>
              <a:gd name="T64" fmla="*/ 1770 w 11294"/>
              <a:gd name="T65" fmla="*/ 2398 h 2604"/>
              <a:gd name="T66" fmla="*/ 1770 w 11294"/>
              <a:gd name="T67" fmla="*/ 2604 h 2604"/>
              <a:gd name="T68" fmla="*/ 11294 w 11294"/>
              <a:gd name="T69" fmla="*/ 2604 h 2604"/>
              <a:gd name="T70" fmla="*/ 11294 w 11294"/>
              <a:gd name="T71" fmla="*/ 543 h 2604"/>
              <a:gd name="T72" fmla="*/ 11292 w 11294"/>
              <a:gd name="T73" fmla="*/ 487 h 2604"/>
              <a:gd name="T74" fmla="*/ 11270 w 11294"/>
              <a:gd name="T75" fmla="*/ 381 h 2604"/>
              <a:gd name="T76" fmla="*/ 11229 w 11294"/>
              <a:gd name="T77" fmla="*/ 284 h 2604"/>
              <a:gd name="T78" fmla="*/ 11170 w 11294"/>
              <a:gd name="T79" fmla="*/ 197 h 2604"/>
              <a:gd name="T80" fmla="*/ 11097 w 11294"/>
              <a:gd name="T81" fmla="*/ 123 h 2604"/>
              <a:gd name="T82" fmla="*/ 11010 w 11294"/>
              <a:gd name="T83" fmla="*/ 65 h 2604"/>
              <a:gd name="T84" fmla="*/ 10913 w 11294"/>
              <a:gd name="T85" fmla="*/ 23 h 2604"/>
              <a:gd name="T86" fmla="*/ 10806 w 11294"/>
              <a:gd name="T87" fmla="*/ 1 h 2604"/>
              <a:gd name="T88" fmla="*/ 10751 w 11294"/>
              <a:gd name="T89" fmla="*/ 0 h 2604"/>
              <a:gd name="T90" fmla="*/ 0 w 11294"/>
              <a:gd name="T91" fmla="*/ 0 h 2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94" h="2604">
                <a:moveTo>
                  <a:pt x="0" y="0"/>
                </a:moveTo>
                <a:lnTo>
                  <a:pt x="86" y="56"/>
                </a:lnTo>
                <a:lnTo>
                  <a:pt x="244" y="187"/>
                </a:lnTo>
                <a:lnTo>
                  <a:pt x="385" y="336"/>
                </a:lnTo>
                <a:lnTo>
                  <a:pt x="509" y="500"/>
                </a:lnTo>
                <a:lnTo>
                  <a:pt x="585" y="634"/>
                </a:lnTo>
                <a:lnTo>
                  <a:pt x="630" y="727"/>
                </a:lnTo>
                <a:lnTo>
                  <a:pt x="671" y="824"/>
                </a:lnTo>
                <a:lnTo>
                  <a:pt x="703" y="923"/>
                </a:lnTo>
                <a:lnTo>
                  <a:pt x="730" y="1025"/>
                </a:lnTo>
                <a:lnTo>
                  <a:pt x="751" y="1130"/>
                </a:lnTo>
                <a:lnTo>
                  <a:pt x="765" y="1236"/>
                </a:lnTo>
                <a:lnTo>
                  <a:pt x="772" y="1345"/>
                </a:lnTo>
                <a:lnTo>
                  <a:pt x="773" y="1401"/>
                </a:lnTo>
                <a:lnTo>
                  <a:pt x="773" y="1407"/>
                </a:lnTo>
                <a:lnTo>
                  <a:pt x="773" y="1414"/>
                </a:lnTo>
                <a:lnTo>
                  <a:pt x="774" y="1466"/>
                </a:lnTo>
                <a:lnTo>
                  <a:pt x="786" y="1564"/>
                </a:lnTo>
                <a:lnTo>
                  <a:pt x="807" y="1660"/>
                </a:lnTo>
                <a:lnTo>
                  <a:pt x="836" y="1754"/>
                </a:lnTo>
                <a:lnTo>
                  <a:pt x="874" y="1842"/>
                </a:lnTo>
                <a:lnTo>
                  <a:pt x="921" y="1925"/>
                </a:lnTo>
                <a:lnTo>
                  <a:pt x="975" y="2004"/>
                </a:lnTo>
                <a:lnTo>
                  <a:pt x="1036" y="2076"/>
                </a:lnTo>
                <a:lnTo>
                  <a:pt x="1103" y="2144"/>
                </a:lnTo>
                <a:lnTo>
                  <a:pt x="1177" y="2203"/>
                </a:lnTo>
                <a:lnTo>
                  <a:pt x="1256" y="2256"/>
                </a:lnTo>
                <a:lnTo>
                  <a:pt x="1341" y="2302"/>
                </a:lnTo>
                <a:lnTo>
                  <a:pt x="1429" y="2338"/>
                </a:lnTo>
                <a:lnTo>
                  <a:pt x="1522" y="2368"/>
                </a:lnTo>
                <a:lnTo>
                  <a:pt x="1619" y="2387"/>
                </a:lnTo>
                <a:lnTo>
                  <a:pt x="1719" y="2396"/>
                </a:lnTo>
                <a:lnTo>
                  <a:pt x="1770" y="2398"/>
                </a:lnTo>
                <a:lnTo>
                  <a:pt x="1770" y="2604"/>
                </a:lnTo>
                <a:lnTo>
                  <a:pt x="11294" y="2604"/>
                </a:lnTo>
                <a:lnTo>
                  <a:pt x="11294" y="543"/>
                </a:lnTo>
                <a:lnTo>
                  <a:pt x="11292" y="487"/>
                </a:lnTo>
                <a:lnTo>
                  <a:pt x="11270" y="381"/>
                </a:lnTo>
                <a:lnTo>
                  <a:pt x="11229" y="284"/>
                </a:lnTo>
                <a:lnTo>
                  <a:pt x="11170" y="197"/>
                </a:lnTo>
                <a:lnTo>
                  <a:pt x="11097" y="123"/>
                </a:lnTo>
                <a:lnTo>
                  <a:pt x="11010" y="65"/>
                </a:lnTo>
                <a:lnTo>
                  <a:pt x="10913" y="23"/>
                </a:lnTo>
                <a:lnTo>
                  <a:pt x="10806" y="1"/>
                </a:lnTo>
                <a:lnTo>
                  <a:pt x="10751" y="0"/>
                </a:lnTo>
                <a:lnTo>
                  <a:pt x="0" y="0"/>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13" name="Freeform 584">
            <a:extLst>
              <a:ext uri="{FF2B5EF4-FFF2-40B4-BE49-F238E27FC236}">
                <a16:creationId xmlns:a16="http://schemas.microsoft.com/office/drawing/2014/main" id="{7888F609-0F0B-D68C-206C-409FE4088D57}"/>
              </a:ext>
            </a:extLst>
          </p:cNvPr>
          <p:cNvSpPr>
            <a:spLocks/>
          </p:cNvSpPr>
          <p:nvPr/>
        </p:nvSpPr>
        <p:spPr bwMode="auto">
          <a:xfrm>
            <a:off x="6354171" y="4766365"/>
            <a:ext cx="4859221" cy="1145378"/>
          </a:xfrm>
          <a:custGeom>
            <a:avLst/>
            <a:gdLst>
              <a:gd name="T0" fmla="*/ 13835 w 14066"/>
              <a:gd name="T1" fmla="*/ 744 h 3315"/>
              <a:gd name="T2" fmla="*/ 13713 w 14066"/>
              <a:gd name="T3" fmla="*/ 454 h 3315"/>
              <a:gd name="T4" fmla="*/ 13456 w 14066"/>
              <a:gd name="T5" fmla="*/ 280 h 3315"/>
              <a:gd name="T6" fmla="*/ 2543 w 14066"/>
              <a:gd name="T7" fmla="*/ 257 h 3315"/>
              <a:gd name="T8" fmla="*/ 2291 w 14066"/>
              <a:gd name="T9" fmla="*/ 124 h 3315"/>
              <a:gd name="T10" fmla="*/ 1956 w 14066"/>
              <a:gd name="T11" fmla="*/ 26 h 3315"/>
              <a:gd name="T12" fmla="*/ 1658 w 14066"/>
              <a:gd name="T13" fmla="*/ 0 h 3315"/>
              <a:gd name="T14" fmla="*/ 1243 w 14066"/>
              <a:gd name="T15" fmla="*/ 52 h 3315"/>
              <a:gd name="T16" fmla="*/ 798 w 14066"/>
              <a:gd name="T17" fmla="*/ 240 h 3315"/>
              <a:gd name="T18" fmla="*/ 431 w 14066"/>
              <a:gd name="T19" fmla="*/ 543 h 3315"/>
              <a:gd name="T20" fmla="*/ 162 w 14066"/>
              <a:gd name="T21" fmla="*/ 938 h 3315"/>
              <a:gd name="T22" fmla="*/ 19 w 14066"/>
              <a:gd name="T23" fmla="*/ 1405 h 3315"/>
              <a:gd name="T24" fmla="*/ 0 w 14066"/>
              <a:gd name="T25" fmla="*/ 1720 h 3315"/>
              <a:gd name="T26" fmla="*/ 54 w 14066"/>
              <a:gd name="T27" fmla="*/ 2076 h 3315"/>
              <a:gd name="T28" fmla="*/ 177 w 14066"/>
              <a:gd name="T29" fmla="*/ 2404 h 3315"/>
              <a:gd name="T30" fmla="*/ 365 w 14066"/>
              <a:gd name="T31" fmla="*/ 2696 h 3315"/>
              <a:gd name="T32" fmla="*/ 607 w 14066"/>
              <a:gd name="T33" fmla="*/ 2941 h 3315"/>
              <a:gd name="T34" fmla="*/ 896 w 14066"/>
              <a:gd name="T35" fmla="*/ 3130 h 3315"/>
              <a:gd name="T36" fmla="*/ 1199 w 14066"/>
              <a:gd name="T37" fmla="*/ 3252 h 3315"/>
              <a:gd name="T38" fmla="*/ 1658 w 14066"/>
              <a:gd name="T39" fmla="*/ 3315 h 3315"/>
              <a:gd name="T40" fmla="*/ 1700 w 14066"/>
              <a:gd name="T41" fmla="*/ 3315 h 3315"/>
              <a:gd name="T42" fmla="*/ 1766 w 14066"/>
              <a:gd name="T43" fmla="*/ 3312 h 3315"/>
              <a:gd name="T44" fmla="*/ 1834 w 14066"/>
              <a:gd name="T45" fmla="*/ 3306 h 3315"/>
              <a:gd name="T46" fmla="*/ 1899 w 14066"/>
              <a:gd name="T47" fmla="*/ 3297 h 3315"/>
              <a:gd name="T48" fmla="*/ 1954 w 14066"/>
              <a:gd name="T49" fmla="*/ 3288 h 3315"/>
              <a:gd name="T50" fmla="*/ 2011 w 14066"/>
              <a:gd name="T51" fmla="*/ 3278 h 3315"/>
              <a:gd name="T52" fmla="*/ 2070 w 14066"/>
              <a:gd name="T53" fmla="*/ 3264 h 3315"/>
              <a:gd name="T54" fmla="*/ 2125 w 14066"/>
              <a:gd name="T55" fmla="*/ 3248 h 3315"/>
              <a:gd name="T56" fmla="*/ 2178 w 14066"/>
              <a:gd name="T57" fmla="*/ 3231 h 3315"/>
              <a:gd name="T58" fmla="*/ 2241 w 14066"/>
              <a:gd name="T59" fmla="*/ 3209 h 3315"/>
              <a:gd name="T60" fmla="*/ 2328 w 14066"/>
              <a:gd name="T61" fmla="*/ 3174 h 3315"/>
              <a:gd name="T62" fmla="*/ 2790 w 14066"/>
              <a:gd name="T63" fmla="*/ 2870 h 3315"/>
              <a:gd name="T64" fmla="*/ 2855 w 14066"/>
              <a:gd name="T65" fmla="*/ 2805 h 3315"/>
              <a:gd name="T66" fmla="*/ 2869 w 14066"/>
              <a:gd name="T67" fmla="*/ 2789 h 3315"/>
              <a:gd name="T68" fmla="*/ 2896 w 14066"/>
              <a:gd name="T69" fmla="*/ 2759 h 3315"/>
              <a:gd name="T70" fmla="*/ 2901 w 14066"/>
              <a:gd name="T71" fmla="*/ 2754 h 3315"/>
              <a:gd name="T72" fmla="*/ 2931 w 14066"/>
              <a:gd name="T73" fmla="*/ 2719 h 3315"/>
              <a:gd name="T74" fmla="*/ 2934 w 14066"/>
              <a:gd name="T75" fmla="*/ 2717 h 3315"/>
              <a:gd name="T76" fmla="*/ 2943 w 14066"/>
              <a:gd name="T77" fmla="*/ 2706 h 3315"/>
              <a:gd name="T78" fmla="*/ 2966 w 14066"/>
              <a:gd name="T79" fmla="*/ 2676 h 3315"/>
              <a:gd name="T80" fmla="*/ 2985 w 14066"/>
              <a:gd name="T81" fmla="*/ 2651 h 3315"/>
              <a:gd name="T82" fmla="*/ 3317 w 14066"/>
              <a:gd name="T83" fmla="*/ 2985 h 3315"/>
              <a:gd name="T84" fmla="*/ 3825 w 14066"/>
              <a:gd name="T85" fmla="*/ 3244 h 3315"/>
              <a:gd name="T86" fmla="*/ 4313 w 14066"/>
              <a:gd name="T87" fmla="*/ 3315 h 3315"/>
              <a:gd name="T88" fmla="*/ 13693 w 14066"/>
              <a:gd name="T89" fmla="*/ 3292 h 3315"/>
              <a:gd name="T90" fmla="*/ 13745 w 14066"/>
              <a:gd name="T91" fmla="*/ 3273 h 3315"/>
              <a:gd name="T92" fmla="*/ 13804 w 14066"/>
              <a:gd name="T93" fmla="*/ 3243 h 3315"/>
              <a:gd name="T94" fmla="*/ 13909 w 14066"/>
              <a:gd name="T95" fmla="*/ 3161 h 3315"/>
              <a:gd name="T96" fmla="*/ 14003 w 14066"/>
              <a:gd name="T97" fmla="*/ 3038 h 3315"/>
              <a:gd name="T98" fmla="*/ 14066 w 14066"/>
              <a:gd name="T99" fmla="*/ 2784 h 3315"/>
              <a:gd name="T100" fmla="*/ 14066 w 14066"/>
              <a:gd name="T101" fmla="*/ 2654 h 3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6" h="3315">
                <a:moveTo>
                  <a:pt x="13837" y="2654"/>
                </a:moveTo>
                <a:lnTo>
                  <a:pt x="13837" y="800"/>
                </a:lnTo>
                <a:lnTo>
                  <a:pt x="13835" y="744"/>
                </a:lnTo>
                <a:lnTo>
                  <a:pt x="13813" y="638"/>
                </a:lnTo>
                <a:lnTo>
                  <a:pt x="13772" y="540"/>
                </a:lnTo>
                <a:lnTo>
                  <a:pt x="13713" y="454"/>
                </a:lnTo>
                <a:lnTo>
                  <a:pt x="13640" y="380"/>
                </a:lnTo>
                <a:lnTo>
                  <a:pt x="13553" y="321"/>
                </a:lnTo>
                <a:lnTo>
                  <a:pt x="13456" y="280"/>
                </a:lnTo>
                <a:lnTo>
                  <a:pt x="13349" y="258"/>
                </a:lnTo>
                <a:lnTo>
                  <a:pt x="13294" y="257"/>
                </a:lnTo>
                <a:lnTo>
                  <a:pt x="2543" y="257"/>
                </a:lnTo>
                <a:lnTo>
                  <a:pt x="2494" y="227"/>
                </a:lnTo>
                <a:lnTo>
                  <a:pt x="2394" y="172"/>
                </a:lnTo>
                <a:lnTo>
                  <a:pt x="2291" y="124"/>
                </a:lnTo>
                <a:lnTo>
                  <a:pt x="2182" y="84"/>
                </a:lnTo>
                <a:lnTo>
                  <a:pt x="2070" y="52"/>
                </a:lnTo>
                <a:lnTo>
                  <a:pt x="1956" y="26"/>
                </a:lnTo>
                <a:lnTo>
                  <a:pt x="1838" y="9"/>
                </a:lnTo>
                <a:lnTo>
                  <a:pt x="1719" y="0"/>
                </a:lnTo>
                <a:lnTo>
                  <a:pt x="1658" y="0"/>
                </a:lnTo>
                <a:lnTo>
                  <a:pt x="1573" y="1"/>
                </a:lnTo>
                <a:lnTo>
                  <a:pt x="1405" y="18"/>
                </a:lnTo>
                <a:lnTo>
                  <a:pt x="1243" y="52"/>
                </a:lnTo>
                <a:lnTo>
                  <a:pt x="1088" y="100"/>
                </a:lnTo>
                <a:lnTo>
                  <a:pt x="939" y="163"/>
                </a:lnTo>
                <a:lnTo>
                  <a:pt x="798" y="240"/>
                </a:lnTo>
                <a:lnTo>
                  <a:pt x="665" y="329"/>
                </a:lnTo>
                <a:lnTo>
                  <a:pt x="542" y="430"/>
                </a:lnTo>
                <a:lnTo>
                  <a:pt x="431" y="543"/>
                </a:lnTo>
                <a:lnTo>
                  <a:pt x="328" y="665"/>
                </a:lnTo>
                <a:lnTo>
                  <a:pt x="239" y="797"/>
                </a:lnTo>
                <a:lnTo>
                  <a:pt x="162" y="938"/>
                </a:lnTo>
                <a:lnTo>
                  <a:pt x="100" y="1087"/>
                </a:lnTo>
                <a:lnTo>
                  <a:pt x="51" y="1243"/>
                </a:lnTo>
                <a:lnTo>
                  <a:pt x="19" y="1405"/>
                </a:lnTo>
                <a:lnTo>
                  <a:pt x="2" y="1572"/>
                </a:lnTo>
                <a:lnTo>
                  <a:pt x="0" y="1658"/>
                </a:lnTo>
                <a:lnTo>
                  <a:pt x="0" y="1720"/>
                </a:lnTo>
                <a:lnTo>
                  <a:pt x="10" y="1842"/>
                </a:lnTo>
                <a:lnTo>
                  <a:pt x="28" y="1961"/>
                </a:lnTo>
                <a:lnTo>
                  <a:pt x="54" y="2076"/>
                </a:lnTo>
                <a:lnTo>
                  <a:pt x="87" y="2190"/>
                </a:lnTo>
                <a:lnTo>
                  <a:pt x="129" y="2299"/>
                </a:lnTo>
                <a:lnTo>
                  <a:pt x="177" y="2404"/>
                </a:lnTo>
                <a:lnTo>
                  <a:pt x="234" y="2507"/>
                </a:lnTo>
                <a:lnTo>
                  <a:pt x="296" y="2604"/>
                </a:lnTo>
                <a:lnTo>
                  <a:pt x="365" y="2696"/>
                </a:lnTo>
                <a:lnTo>
                  <a:pt x="440" y="2783"/>
                </a:lnTo>
                <a:lnTo>
                  <a:pt x="520" y="2864"/>
                </a:lnTo>
                <a:lnTo>
                  <a:pt x="607" y="2941"/>
                </a:lnTo>
                <a:lnTo>
                  <a:pt x="699" y="3010"/>
                </a:lnTo>
                <a:lnTo>
                  <a:pt x="795" y="3073"/>
                </a:lnTo>
                <a:lnTo>
                  <a:pt x="896" y="3130"/>
                </a:lnTo>
                <a:lnTo>
                  <a:pt x="948" y="3156"/>
                </a:lnTo>
                <a:lnTo>
                  <a:pt x="1030" y="3192"/>
                </a:lnTo>
                <a:lnTo>
                  <a:pt x="1199" y="3252"/>
                </a:lnTo>
                <a:lnTo>
                  <a:pt x="1378" y="3293"/>
                </a:lnTo>
                <a:lnTo>
                  <a:pt x="1564" y="3314"/>
                </a:lnTo>
                <a:lnTo>
                  <a:pt x="1658" y="3315"/>
                </a:lnTo>
                <a:lnTo>
                  <a:pt x="1658" y="3315"/>
                </a:lnTo>
                <a:lnTo>
                  <a:pt x="1659" y="3315"/>
                </a:lnTo>
                <a:lnTo>
                  <a:pt x="1700" y="3315"/>
                </a:lnTo>
                <a:lnTo>
                  <a:pt x="1740" y="3313"/>
                </a:lnTo>
                <a:lnTo>
                  <a:pt x="1753" y="3313"/>
                </a:lnTo>
                <a:lnTo>
                  <a:pt x="1766" y="3312"/>
                </a:lnTo>
                <a:lnTo>
                  <a:pt x="1793" y="3310"/>
                </a:lnTo>
                <a:lnTo>
                  <a:pt x="1820" y="3308"/>
                </a:lnTo>
                <a:lnTo>
                  <a:pt x="1834" y="3306"/>
                </a:lnTo>
                <a:lnTo>
                  <a:pt x="1850" y="3304"/>
                </a:lnTo>
                <a:lnTo>
                  <a:pt x="1875" y="3301"/>
                </a:lnTo>
                <a:lnTo>
                  <a:pt x="1899" y="3297"/>
                </a:lnTo>
                <a:lnTo>
                  <a:pt x="1915" y="3296"/>
                </a:lnTo>
                <a:lnTo>
                  <a:pt x="1932" y="3292"/>
                </a:lnTo>
                <a:lnTo>
                  <a:pt x="1954" y="3288"/>
                </a:lnTo>
                <a:lnTo>
                  <a:pt x="1977" y="3284"/>
                </a:lnTo>
                <a:lnTo>
                  <a:pt x="1994" y="3282"/>
                </a:lnTo>
                <a:lnTo>
                  <a:pt x="2011" y="3278"/>
                </a:lnTo>
                <a:lnTo>
                  <a:pt x="2031" y="3273"/>
                </a:lnTo>
                <a:lnTo>
                  <a:pt x="2052" y="3268"/>
                </a:lnTo>
                <a:lnTo>
                  <a:pt x="2070" y="3264"/>
                </a:lnTo>
                <a:lnTo>
                  <a:pt x="2089" y="3258"/>
                </a:lnTo>
                <a:lnTo>
                  <a:pt x="2107" y="3253"/>
                </a:lnTo>
                <a:lnTo>
                  <a:pt x="2125" y="3248"/>
                </a:lnTo>
                <a:lnTo>
                  <a:pt x="2146" y="3243"/>
                </a:lnTo>
                <a:lnTo>
                  <a:pt x="2165" y="3236"/>
                </a:lnTo>
                <a:lnTo>
                  <a:pt x="2178" y="3231"/>
                </a:lnTo>
                <a:lnTo>
                  <a:pt x="2191" y="3227"/>
                </a:lnTo>
                <a:lnTo>
                  <a:pt x="2217" y="3218"/>
                </a:lnTo>
                <a:lnTo>
                  <a:pt x="2241" y="3209"/>
                </a:lnTo>
                <a:lnTo>
                  <a:pt x="2241" y="3209"/>
                </a:lnTo>
                <a:lnTo>
                  <a:pt x="2241" y="3209"/>
                </a:lnTo>
                <a:lnTo>
                  <a:pt x="2328" y="3174"/>
                </a:lnTo>
                <a:lnTo>
                  <a:pt x="2494" y="3090"/>
                </a:lnTo>
                <a:lnTo>
                  <a:pt x="2648" y="2989"/>
                </a:lnTo>
                <a:lnTo>
                  <a:pt x="2790" y="2870"/>
                </a:lnTo>
                <a:lnTo>
                  <a:pt x="2855" y="2805"/>
                </a:lnTo>
                <a:lnTo>
                  <a:pt x="2855" y="2805"/>
                </a:lnTo>
                <a:lnTo>
                  <a:pt x="2855" y="2805"/>
                </a:lnTo>
                <a:lnTo>
                  <a:pt x="2858" y="2801"/>
                </a:lnTo>
                <a:lnTo>
                  <a:pt x="2862" y="2797"/>
                </a:lnTo>
                <a:lnTo>
                  <a:pt x="2869" y="2789"/>
                </a:lnTo>
                <a:lnTo>
                  <a:pt x="2875" y="2783"/>
                </a:lnTo>
                <a:lnTo>
                  <a:pt x="2886" y="2771"/>
                </a:lnTo>
                <a:lnTo>
                  <a:pt x="2896" y="2759"/>
                </a:lnTo>
                <a:lnTo>
                  <a:pt x="2896" y="2759"/>
                </a:lnTo>
                <a:lnTo>
                  <a:pt x="2896" y="2759"/>
                </a:lnTo>
                <a:lnTo>
                  <a:pt x="2901" y="2754"/>
                </a:lnTo>
                <a:lnTo>
                  <a:pt x="2906" y="2748"/>
                </a:lnTo>
                <a:lnTo>
                  <a:pt x="2919" y="2734"/>
                </a:lnTo>
                <a:lnTo>
                  <a:pt x="2931" y="2719"/>
                </a:lnTo>
                <a:lnTo>
                  <a:pt x="2931" y="2719"/>
                </a:lnTo>
                <a:lnTo>
                  <a:pt x="2932" y="2718"/>
                </a:lnTo>
                <a:lnTo>
                  <a:pt x="2934" y="2717"/>
                </a:lnTo>
                <a:lnTo>
                  <a:pt x="2935" y="2715"/>
                </a:lnTo>
                <a:lnTo>
                  <a:pt x="2939" y="2710"/>
                </a:lnTo>
                <a:lnTo>
                  <a:pt x="2943" y="2706"/>
                </a:lnTo>
                <a:lnTo>
                  <a:pt x="2947" y="2701"/>
                </a:lnTo>
                <a:lnTo>
                  <a:pt x="2950" y="2696"/>
                </a:lnTo>
                <a:lnTo>
                  <a:pt x="2966" y="2676"/>
                </a:lnTo>
                <a:lnTo>
                  <a:pt x="2980" y="2658"/>
                </a:lnTo>
                <a:lnTo>
                  <a:pt x="2983" y="2654"/>
                </a:lnTo>
                <a:lnTo>
                  <a:pt x="2985" y="2651"/>
                </a:lnTo>
                <a:lnTo>
                  <a:pt x="3044" y="2726"/>
                </a:lnTo>
                <a:lnTo>
                  <a:pt x="3173" y="2863"/>
                </a:lnTo>
                <a:lnTo>
                  <a:pt x="3317" y="2985"/>
                </a:lnTo>
                <a:lnTo>
                  <a:pt x="3475" y="3090"/>
                </a:lnTo>
                <a:lnTo>
                  <a:pt x="3645" y="3177"/>
                </a:lnTo>
                <a:lnTo>
                  <a:pt x="3825" y="3244"/>
                </a:lnTo>
                <a:lnTo>
                  <a:pt x="4015" y="3290"/>
                </a:lnTo>
                <a:lnTo>
                  <a:pt x="4212" y="3313"/>
                </a:lnTo>
                <a:lnTo>
                  <a:pt x="4313" y="3315"/>
                </a:lnTo>
                <a:lnTo>
                  <a:pt x="13535" y="3315"/>
                </a:lnTo>
                <a:lnTo>
                  <a:pt x="13589" y="3314"/>
                </a:lnTo>
                <a:lnTo>
                  <a:pt x="13693" y="3292"/>
                </a:lnTo>
                <a:lnTo>
                  <a:pt x="13741" y="3274"/>
                </a:lnTo>
                <a:lnTo>
                  <a:pt x="13743" y="3273"/>
                </a:lnTo>
                <a:lnTo>
                  <a:pt x="13745" y="3273"/>
                </a:lnTo>
                <a:lnTo>
                  <a:pt x="13755" y="3268"/>
                </a:lnTo>
                <a:lnTo>
                  <a:pt x="13765" y="3264"/>
                </a:lnTo>
                <a:lnTo>
                  <a:pt x="13804" y="3243"/>
                </a:lnTo>
                <a:lnTo>
                  <a:pt x="13877" y="3192"/>
                </a:lnTo>
                <a:lnTo>
                  <a:pt x="13908" y="3161"/>
                </a:lnTo>
                <a:lnTo>
                  <a:pt x="13909" y="3161"/>
                </a:lnTo>
                <a:lnTo>
                  <a:pt x="13910" y="3160"/>
                </a:lnTo>
                <a:lnTo>
                  <a:pt x="13945" y="3122"/>
                </a:lnTo>
                <a:lnTo>
                  <a:pt x="14003" y="3038"/>
                </a:lnTo>
                <a:lnTo>
                  <a:pt x="14043" y="2942"/>
                </a:lnTo>
                <a:lnTo>
                  <a:pt x="14063" y="2839"/>
                </a:lnTo>
                <a:lnTo>
                  <a:pt x="14066" y="2784"/>
                </a:lnTo>
                <a:lnTo>
                  <a:pt x="14066" y="2784"/>
                </a:lnTo>
                <a:lnTo>
                  <a:pt x="14066" y="2654"/>
                </a:lnTo>
                <a:lnTo>
                  <a:pt x="14066" y="2654"/>
                </a:lnTo>
                <a:lnTo>
                  <a:pt x="13837" y="2654"/>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14" name="Freeform 586">
            <a:extLst>
              <a:ext uri="{FF2B5EF4-FFF2-40B4-BE49-F238E27FC236}">
                <a16:creationId xmlns:a16="http://schemas.microsoft.com/office/drawing/2014/main" id="{21CDD62F-01F8-DCC0-29B9-A58864593B32}"/>
              </a:ext>
            </a:extLst>
          </p:cNvPr>
          <p:cNvSpPr>
            <a:spLocks/>
          </p:cNvSpPr>
          <p:nvPr/>
        </p:nvSpPr>
        <p:spPr bwMode="auto">
          <a:xfrm>
            <a:off x="7213843" y="4756693"/>
            <a:ext cx="3900364" cy="899447"/>
          </a:xfrm>
          <a:custGeom>
            <a:avLst/>
            <a:gdLst>
              <a:gd name="T0" fmla="*/ 0 w 11294"/>
              <a:gd name="T1" fmla="*/ 0 h 2604"/>
              <a:gd name="T2" fmla="*/ 86 w 11294"/>
              <a:gd name="T3" fmla="*/ 56 h 2604"/>
              <a:gd name="T4" fmla="*/ 244 w 11294"/>
              <a:gd name="T5" fmla="*/ 187 h 2604"/>
              <a:gd name="T6" fmla="*/ 385 w 11294"/>
              <a:gd name="T7" fmla="*/ 336 h 2604"/>
              <a:gd name="T8" fmla="*/ 509 w 11294"/>
              <a:gd name="T9" fmla="*/ 500 h 2604"/>
              <a:gd name="T10" fmla="*/ 585 w 11294"/>
              <a:gd name="T11" fmla="*/ 634 h 2604"/>
              <a:gd name="T12" fmla="*/ 630 w 11294"/>
              <a:gd name="T13" fmla="*/ 727 h 2604"/>
              <a:gd name="T14" fmla="*/ 671 w 11294"/>
              <a:gd name="T15" fmla="*/ 824 h 2604"/>
              <a:gd name="T16" fmla="*/ 703 w 11294"/>
              <a:gd name="T17" fmla="*/ 923 h 2604"/>
              <a:gd name="T18" fmla="*/ 730 w 11294"/>
              <a:gd name="T19" fmla="*/ 1025 h 2604"/>
              <a:gd name="T20" fmla="*/ 751 w 11294"/>
              <a:gd name="T21" fmla="*/ 1130 h 2604"/>
              <a:gd name="T22" fmla="*/ 765 w 11294"/>
              <a:gd name="T23" fmla="*/ 1236 h 2604"/>
              <a:gd name="T24" fmla="*/ 772 w 11294"/>
              <a:gd name="T25" fmla="*/ 1345 h 2604"/>
              <a:gd name="T26" fmla="*/ 773 w 11294"/>
              <a:gd name="T27" fmla="*/ 1401 h 2604"/>
              <a:gd name="T28" fmla="*/ 773 w 11294"/>
              <a:gd name="T29" fmla="*/ 1407 h 2604"/>
              <a:gd name="T30" fmla="*/ 773 w 11294"/>
              <a:gd name="T31" fmla="*/ 1414 h 2604"/>
              <a:gd name="T32" fmla="*/ 774 w 11294"/>
              <a:gd name="T33" fmla="*/ 1466 h 2604"/>
              <a:gd name="T34" fmla="*/ 786 w 11294"/>
              <a:gd name="T35" fmla="*/ 1564 h 2604"/>
              <a:gd name="T36" fmla="*/ 807 w 11294"/>
              <a:gd name="T37" fmla="*/ 1660 h 2604"/>
              <a:gd name="T38" fmla="*/ 836 w 11294"/>
              <a:gd name="T39" fmla="*/ 1754 h 2604"/>
              <a:gd name="T40" fmla="*/ 874 w 11294"/>
              <a:gd name="T41" fmla="*/ 1842 h 2604"/>
              <a:gd name="T42" fmla="*/ 921 w 11294"/>
              <a:gd name="T43" fmla="*/ 1925 h 2604"/>
              <a:gd name="T44" fmla="*/ 975 w 11294"/>
              <a:gd name="T45" fmla="*/ 2004 h 2604"/>
              <a:gd name="T46" fmla="*/ 1036 w 11294"/>
              <a:gd name="T47" fmla="*/ 2076 h 2604"/>
              <a:gd name="T48" fmla="*/ 1103 w 11294"/>
              <a:gd name="T49" fmla="*/ 2144 h 2604"/>
              <a:gd name="T50" fmla="*/ 1177 w 11294"/>
              <a:gd name="T51" fmla="*/ 2203 h 2604"/>
              <a:gd name="T52" fmla="*/ 1256 w 11294"/>
              <a:gd name="T53" fmla="*/ 2256 h 2604"/>
              <a:gd name="T54" fmla="*/ 1341 w 11294"/>
              <a:gd name="T55" fmla="*/ 2302 h 2604"/>
              <a:gd name="T56" fmla="*/ 1429 w 11294"/>
              <a:gd name="T57" fmla="*/ 2338 h 2604"/>
              <a:gd name="T58" fmla="*/ 1522 w 11294"/>
              <a:gd name="T59" fmla="*/ 2368 h 2604"/>
              <a:gd name="T60" fmla="*/ 1619 w 11294"/>
              <a:gd name="T61" fmla="*/ 2387 h 2604"/>
              <a:gd name="T62" fmla="*/ 1719 w 11294"/>
              <a:gd name="T63" fmla="*/ 2396 h 2604"/>
              <a:gd name="T64" fmla="*/ 1770 w 11294"/>
              <a:gd name="T65" fmla="*/ 2398 h 2604"/>
              <a:gd name="T66" fmla="*/ 1770 w 11294"/>
              <a:gd name="T67" fmla="*/ 2604 h 2604"/>
              <a:gd name="T68" fmla="*/ 11294 w 11294"/>
              <a:gd name="T69" fmla="*/ 2604 h 2604"/>
              <a:gd name="T70" fmla="*/ 11294 w 11294"/>
              <a:gd name="T71" fmla="*/ 543 h 2604"/>
              <a:gd name="T72" fmla="*/ 11292 w 11294"/>
              <a:gd name="T73" fmla="*/ 487 h 2604"/>
              <a:gd name="T74" fmla="*/ 11270 w 11294"/>
              <a:gd name="T75" fmla="*/ 381 h 2604"/>
              <a:gd name="T76" fmla="*/ 11229 w 11294"/>
              <a:gd name="T77" fmla="*/ 284 h 2604"/>
              <a:gd name="T78" fmla="*/ 11170 w 11294"/>
              <a:gd name="T79" fmla="*/ 197 h 2604"/>
              <a:gd name="T80" fmla="*/ 11097 w 11294"/>
              <a:gd name="T81" fmla="*/ 123 h 2604"/>
              <a:gd name="T82" fmla="*/ 11010 w 11294"/>
              <a:gd name="T83" fmla="*/ 65 h 2604"/>
              <a:gd name="T84" fmla="*/ 10913 w 11294"/>
              <a:gd name="T85" fmla="*/ 23 h 2604"/>
              <a:gd name="T86" fmla="*/ 10806 w 11294"/>
              <a:gd name="T87" fmla="*/ 1 h 2604"/>
              <a:gd name="T88" fmla="*/ 10751 w 11294"/>
              <a:gd name="T89" fmla="*/ 0 h 2604"/>
              <a:gd name="T90" fmla="*/ 0 w 11294"/>
              <a:gd name="T91" fmla="*/ 0 h 2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94" h="2604">
                <a:moveTo>
                  <a:pt x="0" y="0"/>
                </a:moveTo>
                <a:lnTo>
                  <a:pt x="86" y="56"/>
                </a:lnTo>
                <a:lnTo>
                  <a:pt x="244" y="187"/>
                </a:lnTo>
                <a:lnTo>
                  <a:pt x="385" y="336"/>
                </a:lnTo>
                <a:lnTo>
                  <a:pt x="509" y="500"/>
                </a:lnTo>
                <a:lnTo>
                  <a:pt x="585" y="634"/>
                </a:lnTo>
                <a:lnTo>
                  <a:pt x="630" y="727"/>
                </a:lnTo>
                <a:lnTo>
                  <a:pt x="671" y="824"/>
                </a:lnTo>
                <a:lnTo>
                  <a:pt x="703" y="923"/>
                </a:lnTo>
                <a:lnTo>
                  <a:pt x="730" y="1025"/>
                </a:lnTo>
                <a:lnTo>
                  <a:pt x="751" y="1130"/>
                </a:lnTo>
                <a:lnTo>
                  <a:pt x="765" y="1236"/>
                </a:lnTo>
                <a:lnTo>
                  <a:pt x="772" y="1345"/>
                </a:lnTo>
                <a:lnTo>
                  <a:pt x="773" y="1401"/>
                </a:lnTo>
                <a:lnTo>
                  <a:pt x="773" y="1407"/>
                </a:lnTo>
                <a:lnTo>
                  <a:pt x="773" y="1414"/>
                </a:lnTo>
                <a:lnTo>
                  <a:pt x="774" y="1466"/>
                </a:lnTo>
                <a:lnTo>
                  <a:pt x="786" y="1564"/>
                </a:lnTo>
                <a:lnTo>
                  <a:pt x="807" y="1660"/>
                </a:lnTo>
                <a:lnTo>
                  <a:pt x="836" y="1754"/>
                </a:lnTo>
                <a:lnTo>
                  <a:pt x="874" y="1842"/>
                </a:lnTo>
                <a:lnTo>
                  <a:pt x="921" y="1925"/>
                </a:lnTo>
                <a:lnTo>
                  <a:pt x="975" y="2004"/>
                </a:lnTo>
                <a:lnTo>
                  <a:pt x="1036" y="2076"/>
                </a:lnTo>
                <a:lnTo>
                  <a:pt x="1103" y="2144"/>
                </a:lnTo>
                <a:lnTo>
                  <a:pt x="1177" y="2203"/>
                </a:lnTo>
                <a:lnTo>
                  <a:pt x="1256" y="2256"/>
                </a:lnTo>
                <a:lnTo>
                  <a:pt x="1341" y="2302"/>
                </a:lnTo>
                <a:lnTo>
                  <a:pt x="1429" y="2338"/>
                </a:lnTo>
                <a:lnTo>
                  <a:pt x="1522" y="2368"/>
                </a:lnTo>
                <a:lnTo>
                  <a:pt x="1619" y="2387"/>
                </a:lnTo>
                <a:lnTo>
                  <a:pt x="1719" y="2396"/>
                </a:lnTo>
                <a:lnTo>
                  <a:pt x="1770" y="2398"/>
                </a:lnTo>
                <a:lnTo>
                  <a:pt x="1770" y="2604"/>
                </a:lnTo>
                <a:lnTo>
                  <a:pt x="11294" y="2604"/>
                </a:lnTo>
                <a:lnTo>
                  <a:pt x="11294" y="543"/>
                </a:lnTo>
                <a:lnTo>
                  <a:pt x="11292" y="487"/>
                </a:lnTo>
                <a:lnTo>
                  <a:pt x="11270" y="381"/>
                </a:lnTo>
                <a:lnTo>
                  <a:pt x="11229" y="284"/>
                </a:lnTo>
                <a:lnTo>
                  <a:pt x="11170" y="197"/>
                </a:lnTo>
                <a:lnTo>
                  <a:pt x="11097" y="123"/>
                </a:lnTo>
                <a:lnTo>
                  <a:pt x="11010" y="65"/>
                </a:lnTo>
                <a:lnTo>
                  <a:pt x="10913" y="23"/>
                </a:lnTo>
                <a:lnTo>
                  <a:pt x="10806" y="1"/>
                </a:lnTo>
                <a:lnTo>
                  <a:pt x="10751" y="0"/>
                </a:lnTo>
                <a:lnTo>
                  <a:pt x="0" y="0"/>
                </a:lnTo>
                <a:close/>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5CC791A5-BAD5-9C57-624D-8C0F119F8D7A}"/>
              </a:ext>
            </a:extLst>
          </p:cNvPr>
          <p:cNvGrpSpPr/>
          <p:nvPr/>
        </p:nvGrpSpPr>
        <p:grpSpPr>
          <a:xfrm>
            <a:off x="2272506" y="1476755"/>
            <a:ext cx="3397869" cy="793515"/>
            <a:chOff x="2273057" y="1475285"/>
            <a:chExt cx="2940629" cy="793515"/>
          </a:xfrm>
        </p:grpSpPr>
        <p:sp>
          <p:nvSpPr>
            <p:cNvPr id="16" name="TextBox 15">
              <a:extLst>
                <a:ext uri="{FF2B5EF4-FFF2-40B4-BE49-F238E27FC236}">
                  <a16:creationId xmlns:a16="http://schemas.microsoft.com/office/drawing/2014/main" id="{D54FEB0C-61E9-DAB4-EEB5-F771EC57C5DA}"/>
                </a:ext>
              </a:extLst>
            </p:cNvPr>
            <p:cNvSpPr txBox="1"/>
            <p:nvPr/>
          </p:nvSpPr>
          <p:spPr>
            <a:xfrm>
              <a:off x="2276598" y="1475285"/>
              <a:ext cx="2937088" cy="369332"/>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31F20"/>
                  </a:solidFill>
                  <a:effectLst/>
                  <a:uLnTx/>
                  <a:uFillTx/>
                  <a:latin typeface="Arial"/>
                  <a:ea typeface="+mn-ea"/>
                  <a:cs typeface="+mn-cs"/>
                </a:rPr>
                <a:t>How AI Agents Take Action</a:t>
              </a:r>
            </a:p>
          </p:txBody>
        </p:sp>
        <p:sp>
          <p:nvSpPr>
            <p:cNvPr id="17" name="TextBox 16">
              <a:extLst>
                <a:ext uri="{FF2B5EF4-FFF2-40B4-BE49-F238E27FC236}">
                  <a16:creationId xmlns:a16="http://schemas.microsoft.com/office/drawing/2014/main" id="{7BCDE0AF-1AA7-9B79-6CA4-636996FBBE10}"/>
                </a:ext>
              </a:extLst>
            </p:cNvPr>
            <p:cNvSpPr txBox="1"/>
            <p:nvPr/>
          </p:nvSpPr>
          <p:spPr>
            <a:xfrm>
              <a:off x="2273057" y="1807135"/>
              <a:ext cx="2571091" cy="461665"/>
            </a:xfrm>
            <a:prstGeom prst="rect">
              <a:avLst/>
            </a:prstGeom>
            <a:noFill/>
          </p:spPr>
          <p:txBody>
            <a:bodyPr wrap="square" lIns="0" r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lumMod val="65000"/>
                      <a:lumOff val="35000"/>
                    </a:srgbClr>
                  </a:solidFill>
                  <a:effectLst/>
                  <a:uLnTx/>
                  <a:uFillTx/>
                  <a:latin typeface="Arial"/>
                  <a:ea typeface="+mn-ea"/>
                  <a:cs typeface="+mn-cs"/>
                </a:rPr>
                <a:t>Explore the decision-making process that guide AI agents in selecting and using tools.</a:t>
              </a:r>
            </a:p>
          </p:txBody>
        </p:sp>
      </p:grpSp>
      <p:grpSp>
        <p:nvGrpSpPr>
          <p:cNvPr id="18" name="Group 17">
            <a:extLst>
              <a:ext uri="{FF2B5EF4-FFF2-40B4-BE49-F238E27FC236}">
                <a16:creationId xmlns:a16="http://schemas.microsoft.com/office/drawing/2014/main" id="{DF8F9D75-60F7-16BA-82F2-A26D44740FC0}"/>
              </a:ext>
            </a:extLst>
          </p:cNvPr>
          <p:cNvGrpSpPr/>
          <p:nvPr/>
        </p:nvGrpSpPr>
        <p:grpSpPr>
          <a:xfrm>
            <a:off x="2276598" y="3141018"/>
            <a:ext cx="2937088" cy="763344"/>
            <a:chOff x="2276598" y="1475285"/>
            <a:chExt cx="2937088" cy="763344"/>
          </a:xfrm>
        </p:grpSpPr>
        <p:sp>
          <p:nvSpPr>
            <p:cNvPr id="19" name="TextBox 18">
              <a:extLst>
                <a:ext uri="{FF2B5EF4-FFF2-40B4-BE49-F238E27FC236}">
                  <a16:creationId xmlns:a16="http://schemas.microsoft.com/office/drawing/2014/main" id="{F660E563-8AE8-C3A3-CAD2-6EEA07741487}"/>
                </a:ext>
              </a:extLst>
            </p:cNvPr>
            <p:cNvSpPr txBox="1"/>
            <p:nvPr/>
          </p:nvSpPr>
          <p:spPr>
            <a:xfrm>
              <a:off x="2276598" y="1475285"/>
              <a:ext cx="2937088" cy="369332"/>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31F20"/>
                  </a:solidFill>
                  <a:effectLst/>
                  <a:uLnTx/>
                  <a:uFillTx/>
                  <a:latin typeface="Arial"/>
                  <a:ea typeface="+mn-ea"/>
                  <a:cs typeface="+mn-cs"/>
                </a:rPr>
                <a:t>An Agents Toolkit</a:t>
              </a:r>
            </a:p>
          </p:txBody>
        </p:sp>
        <p:sp>
          <p:nvSpPr>
            <p:cNvPr id="20" name="TextBox 19">
              <a:extLst>
                <a:ext uri="{FF2B5EF4-FFF2-40B4-BE49-F238E27FC236}">
                  <a16:creationId xmlns:a16="http://schemas.microsoft.com/office/drawing/2014/main" id="{59F16E2A-9484-45D8-C533-D923B3CC58B5}"/>
                </a:ext>
              </a:extLst>
            </p:cNvPr>
            <p:cNvSpPr txBox="1"/>
            <p:nvPr/>
          </p:nvSpPr>
          <p:spPr>
            <a:xfrm>
              <a:off x="2284393" y="1776964"/>
              <a:ext cx="2929293" cy="461665"/>
            </a:xfrm>
            <a:prstGeom prst="rect">
              <a:avLst/>
            </a:prstGeom>
            <a:noFill/>
          </p:spPr>
          <p:txBody>
            <a:bodyPr wrap="square" lIns="0" r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lumMod val="65000"/>
                      <a:lumOff val="35000"/>
                    </a:srgbClr>
                  </a:solidFill>
                  <a:effectLst/>
                  <a:uLnTx/>
                  <a:uFillTx/>
                  <a:latin typeface="Arial"/>
                  <a:ea typeface="+mn-ea"/>
                  <a:cs typeface="+mn-cs"/>
                </a:rPr>
                <a:t>Discover the essential set of tools and capabilities that empower AI agents.</a:t>
              </a:r>
            </a:p>
          </p:txBody>
        </p:sp>
      </p:grpSp>
      <p:grpSp>
        <p:nvGrpSpPr>
          <p:cNvPr id="21" name="Group 20">
            <a:extLst>
              <a:ext uri="{FF2B5EF4-FFF2-40B4-BE49-F238E27FC236}">
                <a16:creationId xmlns:a16="http://schemas.microsoft.com/office/drawing/2014/main" id="{A46748F3-8261-0B71-0CDE-A1C687CFF617}"/>
              </a:ext>
            </a:extLst>
          </p:cNvPr>
          <p:cNvGrpSpPr/>
          <p:nvPr/>
        </p:nvGrpSpPr>
        <p:grpSpPr>
          <a:xfrm>
            <a:off x="2276598" y="4805281"/>
            <a:ext cx="2937088" cy="763344"/>
            <a:chOff x="2276598" y="1475285"/>
            <a:chExt cx="2937088" cy="763344"/>
          </a:xfrm>
        </p:grpSpPr>
        <p:sp>
          <p:nvSpPr>
            <p:cNvPr id="22" name="TextBox 21">
              <a:extLst>
                <a:ext uri="{FF2B5EF4-FFF2-40B4-BE49-F238E27FC236}">
                  <a16:creationId xmlns:a16="http://schemas.microsoft.com/office/drawing/2014/main" id="{114B1B54-74CD-C5D6-E9EC-48EDCA824FA9}"/>
                </a:ext>
              </a:extLst>
            </p:cNvPr>
            <p:cNvSpPr txBox="1"/>
            <p:nvPr/>
          </p:nvSpPr>
          <p:spPr>
            <a:xfrm>
              <a:off x="2276598" y="1475285"/>
              <a:ext cx="2937088" cy="369332"/>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31F20"/>
                  </a:solidFill>
                  <a:effectLst/>
                  <a:uLnTx/>
                  <a:uFillTx/>
                  <a:latin typeface="Arial"/>
                  <a:ea typeface="+mn-ea"/>
                  <a:cs typeface="+mn-cs"/>
                </a:rPr>
                <a:t>Tool Resilience</a:t>
              </a:r>
            </a:p>
          </p:txBody>
        </p:sp>
        <p:sp>
          <p:nvSpPr>
            <p:cNvPr id="23" name="TextBox 22">
              <a:extLst>
                <a:ext uri="{FF2B5EF4-FFF2-40B4-BE49-F238E27FC236}">
                  <a16:creationId xmlns:a16="http://schemas.microsoft.com/office/drawing/2014/main" id="{B3A958CC-562B-BE52-CFB3-7EB4F5A65EC6}"/>
                </a:ext>
              </a:extLst>
            </p:cNvPr>
            <p:cNvSpPr txBox="1"/>
            <p:nvPr/>
          </p:nvSpPr>
          <p:spPr>
            <a:xfrm>
              <a:off x="2284393" y="1776964"/>
              <a:ext cx="2929293" cy="461665"/>
            </a:xfrm>
            <a:prstGeom prst="rect">
              <a:avLst/>
            </a:prstGeom>
            <a:noFill/>
          </p:spPr>
          <p:txBody>
            <a:bodyPr wrap="square" lIns="0" r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lumMod val="65000"/>
                      <a:lumOff val="35000"/>
                    </a:srgbClr>
                  </a:solidFill>
                  <a:effectLst/>
                  <a:uLnTx/>
                  <a:uFillTx/>
                  <a:latin typeface="Arial"/>
                  <a:ea typeface="+mn-ea"/>
                  <a:cs typeface="+mn-cs"/>
                </a:rPr>
                <a:t>See how agents adapt when tools fail change or produce unexpected results.</a:t>
              </a:r>
            </a:p>
          </p:txBody>
        </p:sp>
      </p:grpSp>
      <p:grpSp>
        <p:nvGrpSpPr>
          <p:cNvPr id="24" name="Group 23">
            <a:extLst>
              <a:ext uri="{FF2B5EF4-FFF2-40B4-BE49-F238E27FC236}">
                <a16:creationId xmlns:a16="http://schemas.microsoft.com/office/drawing/2014/main" id="{14D9C953-F8F3-B511-2F3B-D8BCE40EFCD3}"/>
              </a:ext>
            </a:extLst>
          </p:cNvPr>
          <p:cNvGrpSpPr/>
          <p:nvPr/>
        </p:nvGrpSpPr>
        <p:grpSpPr>
          <a:xfrm>
            <a:off x="7635155" y="1507533"/>
            <a:ext cx="3422076" cy="917232"/>
            <a:chOff x="2276598" y="1506063"/>
            <a:chExt cx="2937088" cy="917232"/>
          </a:xfrm>
        </p:grpSpPr>
        <p:sp>
          <p:nvSpPr>
            <p:cNvPr id="25" name="TextBox 24">
              <a:extLst>
                <a:ext uri="{FF2B5EF4-FFF2-40B4-BE49-F238E27FC236}">
                  <a16:creationId xmlns:a16="http://schemas.microsoft.com/office/drawing/2014/main" id="{2C8CD5A9-0409-BB99-A7D9-3743AEF5390B}"/>
                </a:ext>
              </a:extLst>
            </p:cNvPr>
            <p:cNvSpPr txBox="1"/>
            <p:nvPr/>
          </p:nvSpPr>
          <p:spPr>
            <a:xfrm>
              <a:off x="2276598" y="1506063"/>
              <a:ext cx="2937088" cy="338554"/>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31F20"/>
                  </a:solidFill>
                  <a:effectLst/>
                  <a:uLnTx/>
                  <a:uFillTx/>
                  <a:latin typeface="Arial"/>
                  <a:ea typeface="+mn-ea"/>
                  <a:cs typeface="+mn-cs"/>
                </a:rPr>
                <a:t>Simple &amp; Complex Tool Usage</a:t>
              </a:r>
            </a:p>
          </p:txBody>
        </p:sp>
        <p:sp>
          <p:nvSpPr>
            <p:cNvPr id="26" name="TextBox 25">
              <a:extLst>
                <a:ext uri="{FF2B5EF4-FFF2-40B4-BE49-F238E27FC236}">
                  <a16:creationId xmlns:a16="http://schemas.microsoft.com/office/drawing/2014/main" id="{F1C16748-BF5D-21D7-C7E3-71EDCF92A606}"/>
                </a:ext>
              </a:extLst>
            </p:cNvPr>
            <p:cNvSpPr txBox="1"/>
            <p:nvPr/>
          </p:nvSpPr>
          <p:spPr>
            <a:xfrm>
              <a:off x="2284393" y="1776964"/>
              <a:ext cx="2929293" cy="646331"/>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lumMod val="65000"/>
                      <a:lumOff val="35000"/>
                    </a:srgbClr>
                  </a:solidFill>
                  <a:effectLst/>
                  <a:uLnTx/>
                  <a:uFillTx/>
                  <a:latin typeface="Arial"/>
                  <a:ea typeface="+mn-ea"/>
                  <a:cs typeface="+mn-cs"/>
                </a:rPr>
                <a:t>Learn how agents handle both straightforward and multi-step tool operations effectively.</a:t>
              </a:r>
            </a:p>
          </p:txBody>
        </p:sp>
      </p:grpSp>
      <p:grpSp>
        <p:nvGrpSpPr>
          <p:cNvPr id="27" name="Group 26">
            <a:extLst>
              <a:ext uri="{FF2B5EF4-FFF2-40B4-BE49-F238E27FC236}">
                <a16:creationId xmlns:a16="http://schemas.microsoft.com/office/drawing/2014/main" id="{A75A2EEB-DE34-B9AF-B5A3-19B72090F393}"/>
              </a:ext>
            </a:extLst>
          </p:cNvPr>
          <p:cNvGrpSpPr/>
          <p:nvPr/>
        </p:nvGrpSpPr>
        <p:grpSpPr>
          <a:xfrm>
            <a:off x="7635155" y="3141018"/>
            <a:ext cx="2937088" cy="763344"/>
            <a:chOff x="2276598" y="1475285"/>
            <a:chExt cx="2937088" cy="763344"/>
          </a:xfrm>
        </p:grpSpPr>
        <p:sp>
          <p:nvSpPr>
            <p:cNvPr id="28" name="TextBox 27">
              <a:extLst>
                <a:ext uri="{FF2B5EF4-FFF2-40B4-BE49-F238E27FC236}">
                  <a16:creationId xmlns:a16="http://schemas.microsoft.com/office/drawing/2014/main" id="{DD8CF9F7-2228-C8C7-6F2F-5D253282C2C0}"/>
                </a:ext>
              </a:extLst>
            </p:cNvPr>
            <p:cNvSpPr txBox="1"/>
            <p:nvPr/>
          </p:nvSpPr>
          <p:spPr>
            <a:xfrm>
              <a:off x="2276598" y="1475285"/>
              <a:ext cx="2937088" cy="369332"/>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31F20"/>
                  </a:solidFill>
                  <a:effectLst/>
                  <a:uLnTx/>
                  <a:uFillTx/>
                  <a:latin typeface="Arial"/>
                  <a:ea typeface="+mn-ea"/>
                  <a:cs typeface="+mn-cs"/>
                </a:rPr>
                <a:t>Pitfalls and Fault Logic</a:t>
              </a:r>
            </a:p>
          </p:txBody>
        </p:sp>
        <p:sp>
          <p:nvSpPr>
            <p:cNvPr id="29" name="TextBox 28">
              <a:extLst>
                <a:ext uri="{FF2B5EF4-FFF2-40B4-BE49-F238E27FC236}">
                  <a16:creationId xmlns:a16="http://schemas.microsoft.com/office/drawing/2014/main" id="{8EF34AF3-B452-515D-0295-5AAAD8CA2023}"/>
                </a:ext>
              </a:extLst>
            </p:cNvPr>
            <p:cNvSpPr txBox="1"/>
            <p:nvPr/>
          </p:nvSpPr>
          <p:spPr>
            <a:xfrm>
              <a:off x="2284393" y="1776964"/>
              <a:ext cx="2929293" cy="461665"/>
            </a:xfrm>
            <a:prstGeom prst="rect">
              <a:avLst/>
            </a:prstGeom>
            <a:noFill/>
          </p:spPr>
          <p:txBody>
            <a:bodyPr wrap="square" lIns="0" r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lumMod val="65000"/>
                      <a:lumOff val="35000"/>
                    </a:srgbClr>
                  </a:solidFill>
                  <a:effectLst/>
                  <a:uLnTx/>
                  <a:uFillTx/>
                  <a:latin typeface="Arial"/>
                  <a:ea typeface="+mn-ea"/>
                  <a:cs typeface="+mn-cs"/>
                </a:rPr>
                <a:t>Understand common reasoning errors and how to avoid them in AI-Driven Workflows.</a:t>
              </a:r>
            </a:p>
          </p:txBody>
        </p:sp>
      </p:grpSp>
      <p:grpSp>
        <p:nvGrpSpPr>
          <p:cNvPr id="30" name="Group 29">
            <a:extLst>
              <a:ext uri="{FF2B5EF4-FFF2-40B4-BE49-F238E27FC236}">
                <a16:creationId xmlns:a16="http://schemas.microsoft.com/office/drawing/2014/main" id="{25B61F92-6B01-DFFB-28B3-A1A75AFBB8CE}"/>
              </a:ext>
            </a:extLst>
          </p:cNvPr>
          <p:cNvGrpSpPr/>
          <p:nvPr/>
        </p:nvGrpSpPr>
        <p:grpSpPr>
          <a:xfrm>
            <a:off x="7635155" y="4805281"/>
            <a:ext cx="3422076" cy="763344"/>
            <a:chOff x="2276598" y="1475285"/>
            <a:chExt cx="2937088" cy="763344"/>
          </a:xfrm>
        </p:grpSpPr>
        <p:sp>
          <p:nvSpPr>
            <p:cNvPr id="31" name="TextBox 30">
              <a:extLst>
                <a:ext uri="{FF2B5EF4-FFF2-40B4-BE49-F238E27FC236}">
                  <a16:creationId xmlns:a16="http://schemas.microsoft.com/office/drawing/2014/main" id="{05FE8003-8BF2-5D06-5BD0-4084AB1DE6D1}"/>
                </a:ext>
              </a:extLst>
            </p:cNvPr>
            <p:cNvSpPr txBox="1"/>
            <p:nvPr/>
          </p:nvSpPr>
          <p:spPr>
            <a:xfrm>
              <a:off x="2276598" y="1475285"/>
              <a:ext cx="2937088" cy="369332"/>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31F20"/>
                  </a:solidFill>
                  <a:effectLst/>
                  <a:uLnTx/>
                  <a:uFillTx/>
                  <a:latin typeface="Arial"/>
                  <a:ea typeface="+mn-ea"/>
                  <a:cs typeface="+mn-cs"/>
                </a:rPr>
                <a:t>Building Trust</a:t>
              </a:r>
            </a:p>
          </p:txBody>
        </p:sp>
        <p:sp>
          <p:nvSpPr>
            <p:cNvPr id="32" name="TextBox 31">
              <a:extLst>
                <a:ext uri="{FF2B5EF4-FFF2-40B4-BE49-F238E27FC236}">
                  <a16:creationId xmlns:a16="http://schemas.microsoft.com/office/drawing/2014/main" id="{189D56BB-4CD7-9F40-53DC-3A651B263F61}"/>
                </a:ext>
              </a:extLst>
            </p:cNvPr>
            <p:cNvSpPr txBox="1"/>
            <p:nvPr/>
          </p:nvSpPr>
          <p:spPr>
            <a:xfrm>
              <a:off x="2284393" y="1776964"/>
              <a:ext cx="2929293" cy="461665"/>
            </a:xfrm>
            <a:prstGeom prst="rect">
              <a:avLst/>
            </a:prstGeom>
            <a:noFill/>
          </p:spPr>
          <p:txBody>
            <a:bodyPr wrap="square" lIns="0" r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lumMod val="65000"/>
                      <a:lumOff val="35000"/>
                    </a:srgbClr>
                  </a:solidFill>
                  <a:effectLst/>
                  <a:uLnTx/>
                  <a:uFillTx/>
                  <a:latin typeface="Arial"/>
                  <a:ea typeface="+mn-ea"/>
                  <a:cs typeface="+mn-cs"/>
                </a:rPr>
                <a:t>Examine strategies for ensuring reliability, transparency, and user confidence in AI Agents.</a:t>
              </a:r>
            </a:p>
          </p:txBody>
        </p:sp>
      </p:grpSp>
      <p:pic>
        <p:nvPicPr>
          <p:cNvPr id="33" name="Graphic 32" descr="Family with boy">
            <a:extLst>
              <a:ext uri="{FF2B5EF4-FFF2-40B4-BE49-F238E27FC236}">
                <a16:creationId xmlns:a16="http://schemas.microsoft.com/office/drawing/2014/main" id="{1BB59A63-9C8B-7AC5-5ED6-43E029AAEE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243377" y="1479134"/>
            <a:ext cx="426998" cy="426998"/>
          </a:xfrm>
          <a:prstGeom prst="rect">
            <a:avLst/>
          </a:prstGeom>
        </p:spPr>
      </p:pic>
      <p:pic>
        <p:nvPicPr>
          <p:cNvPr id="34" name="Graphic 33" descr="Send">
            <a:extLst>
              <a:ext uri="{FF2B5EF4-FFF2-40B4-BE49-F238E27FC236}">
                <a16:creationId xmlns:a16="http://schemas.microsoft.com/office/drawing/2014/main" id="{FF870557-2391-E138-E429-9A8755E9FF6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43377" y="3122749"/>
            <a:ext cx="426998" cy="426998"/>
          </a:xfrm>
          <a:prstGeom prst="rect">
            <a:avLst/>
          </a:prstGeom>
        </p:spPr>
      </p:pic>
      <p:pic>
        <p:nvPicPr>
          <p:cNvPr id="35" name="Graphic 34" descr="Chat">
            <a:extLst>
              <a:ext uri="{FF2B5EF4-FFF2-40B4-BE49-F238E27FC236}">
                <a16:creationId xmlns:a16="http://schemas.microsoft.com/office/drawing/2014/main" id="{55A84F3C-69E1-BA49-4DFD-96BA210A3C8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79152" y="1479134"/>
            <a:ext cx="426998" cy="426998"/>
          </a:xfrm>
          <a:prstGeom prst="rect">
            <a:avLst/>
          </a:prstGeom>
        </p:spPr>
      </p:pic>
      <p:pic>
        <p:nvPicPr>
          <p:cNvPr id="36" name="Graphic 35" descr="Briefcase">
            <a:extLst>
              <a:ext uri="{FF2B5EF4-FFF2-40B4-BE49-F238E27FC236}">
                <a16:creationId xmlns:a16="http://schemas.microsoft.com/office/drawing/2014/main" id="{FD7969D2-9FCF-AA2B-A060-352C5B8200C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621383" y="4766365"/>
            <a:ext cx="426998" cy="426998"/>
          </a:xfrm>
          <a:prstGeom prst="rect">
            <a:avLst/>
          </a:prstGeom>
        </p:spPr>
      </p:pic>
      <p:pic>
        <p:nvPicPr>
          <p:cNvPr id="37" name="Graphic 36" descr="Single gear">
            <a:extLst>
              <a:ext uri="{FF2B5EF4-FFF2-40B4-BE49-F238E27FC236}">
                <a16:creationId xmlns:a16="http://schemas.microsoft.com/office/drawing/2014/main" id="{ECC62516-9622-9FE0-4A67-D155BCD59F8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630233" y="3122750"/>
            <a:ext cx="426998" cy="426998"/>
          </a:xfrm>
          <a:prstGeom prst="rect">
            <a:avLst/>
          </a:prstGeom>
        </p:spPr>
      </p:pic>
      <p:pic>
        <p:nvPicPr>
          <p:cNvPr id="38" name="Graphic 37" descr="Bar chart">
            <a:extLst>
              <a:ext uri="{FF2B5EF4-FFF2-40B4-BE49-F238E27FC236}">
                <a16:creationId xmlns:a16="http://schemas.microsoft.com/office/drawing/2014/main" id="{4CF2960A-8C64-282C-D688-2E6BC5EB9D7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243377" y="4766365"/>
            <a:ext cx="426998" cy="426998"/>
          </a:xfrm>
          <a:prstGeom prst="rect">
            <a:avLst/>
          </a:prstGeom>
        </p:spPr>
      </p:pic>
      <p:sp>
        <p:nvSpPr>
          <p:cNvPr id="39" name="Freeform 588">
            <a:extLst>
              <a:ext uri="{FF2B5EF4-FFF2-40B4-BE49-F238E27FC236}">
                <a16:creationId xmlns:a16="http://schemas.microsoft.com/office/drawing/2014/main" id="{41C5D7C2-1903-7683-C711-C56E3AE7E3AF}"/>
              </a:ext>
            </a:extLst>
          </p:cNvPr>
          <p:cNvSpPr>
            <a:spLocks/>
          </p:cNvSpPr>
          <p:nvPr/>
        </p:nvSpPr>
        <p:spPr bwMode="auto">
          <a:xfrm>
            <a:off x="978608" y="3014959"/>
            <a:ext cx="1145378" cy="1143996"/>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0" name="Freeform 587">
            <a:extLst>
              <a:ext uri="{FF2B5EF4-FFF2-40B4-BE49-F238E27FC236}">
                <a16:creationId xmlns:a16="http://schemas.microsoft.com/office/drawing/2014/main" id="{0926BDDD-CD9C-7FB8-7ACF-BF3ACF3A4CDB}"/>
              </a:ext>
            </a:extLst>
          </p:cNvPr>
          <p:cNvSpPr>
            <a:spLocks/>
          </p:cNvSpPr>
          <p:nvPr/>
        </p:nvSpPr>
        <p:spPr bwMode="auto">
          <a:xfrm>
            <a:off x="1206578" y="3241548"/>
            <a:ext cx="689438" cy="689438"/>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1" name="Freeform 589">
            <a:extLst>
              <a:ext uri="{FF2B5EF4-FFF2-40B4-BE49-F238E27FC236}">
                <a16:creationId xmlns:a16="http://schemas.microsoft.com/office/drawing/2014/main" id="{5EBCB48A-E343-9110-B027-4FA35A3B1CB5}"/>
              </a:ext>
            </a:extLst>
          </p:cNvPr>
          <p:cNvSpPr>
            <a:spLocks/>
          </p:cNvSpPr>
          <p:nvPr/>
        </p:nvSpPr>
        <p:spPr bwMode="auto">
          <a:xfrm>
            <a:off x="1850421" y="3591103"/>
            <a:ext cx="160270" cy="392385"/>
          </a:xfrm>
          <a:custGeom>
            <a:avLst/>
            <a:gdLst>
              <a:gd name="T0" fmla="*/ 462 w 462"/>
              <a:gd name="T1" fmla="*/ 981 h 1135"/>
              <a:gd name="T2" fmla="*/ 460 w 462"/>
              <a:gd name="T3" fmla="*/ 985 h 1135"/>
              <a:gd name="T4" fmla="*/ 457 w 462"/>
              <a:gd name="T5" fmla="*/ 989 h 1135"/>
              <a:gd name="T6" fmla="*/ 443 w 462"/>
              <a:gd name="T7" fmla="*/ 1007 h 1135"/>
              <a:gd name="T8" fmla="*/ 427 w 462"/>
              <a:gd name="T9" fmla="*/ 1025 h 1135"/>
              <a:gd name="T10" fmla="*/ 418 w 462"/>
              <a:gd name="T11" fmla="*/ 1037 h 1135"/>
              <a:gd name="T12" fmla="*/ 409 w 462"/>
              <a:gd name="T13" fmla="*/ 1048 h 1135"/>
              <a:gd name="T14" fmla="*/ 408 w 462"/>
              <a:gd name="T15" fmla="*/ 1050 h 1135"/>
              <a:gd name="T16" fmla="*/ 408 w 462"/>
              <a:gd name="T17" fmla="*/ 1050 h 1135"/>
              <a:gd name="T18" fmla="*/ 396 w 462"/>
              <a:gd name="T19" fmla="*/ 1064 h 1135"/>
              <a:gd name="T20" fmla="*/ 383 w 462"/>
              <a:gd name="T21" fmla="*/ 1078 h 1135"/>
              <a:gd name="T22" fmla="*/ 369 w 462"/>
              <a:gd name="T23" fmla="*/ 1095 h 1135"/>
              <a:gd name="T24" fmla="*/ 355 w 462"/>
              <a:gd name="T25" fmla="*/ 1110 h 1135"/>
              <a:gd name="T26" fmla="*/ 343 w 462"/>
              <a:gd name="T27" fmla="*/ 1123 h 1135"/>
              <a:gd name="T28" fmla="*/ 332 w 462"/>
              <a:gd name="T29" fmla="*/ 1135 h 1135"/>
              <a:gd name="T30" fmla="*/ 276 w 462"/>
              <a:gd name="T31" fmla="*/ 1062 h 1135"/>
              <a:gd name="T32" fmla="*/ 177 w 462"/>
              <a:gd name="T33" fmla="*/ 908 h 1135"/>
              <a:gd name="T34" fmla="*/ 94 w 462"/>
              <a:gd name="T35" fmla="*/ 745 h 1135"/>
              <a:gd name="T36" fmla="*/ 27 w 462"/>
              <a:gd name="T37" fmla="*/ 573 h 1135"/>
              <a:gd name="T38" fmla="*/ 0 w 462"/>
              <a:gd name="T39" fmla="*/ 483 h 1135"/>
              <a:gd name="T40" fmla="*/ 36 w 462"/>
              <a:gd name="T41" fmla="*/ 417 h 1135"/>
              <a:gd name="T42" fmla="*/ 65 w 462"/>
              <a:gd name="T43" fmla="*/ 348 h 1135"/>
              <a:gd name="T44" fmla="*/ 68 w 462"/>
              <a:gd name="T45" fmla="*/ 341 h 1135"/>
              <a:gd name="T46" fmla="*/ 71 w 462"/>
              <a:gd name="T47" fmla="*/ 333 h 1135"/>
              <a:gd name="T48" fmla="*/ 81 w 462"/>
              <a:gd name="T49" fmla="*/ 303 h 1135"/>
              <a:gd name="T50" fmla="*/ 90 w 462"/>
              <a:gd name="T51" fmla="*/ 273 h 1135"/>
              <a:gd name="T52" fmla="*/ 94 w 462"/>
              <a:gd name="T53" fmla="*/ 263 h 1135"/>
              <a:gd name="T54" fmla="*/ 97 w 462"/>
              <a:gd name="T55" fmla="*/ 252 h 1135"/>
              <a:gd name="T56" fmla="*/ 100 w 462"/>
              <a:gd name="T57" fmla="*/ 242 h 1135"/>
              <a:gd name="T58" fmla="*/ 102 w 462"/>
              <a:gd name="T59" fmla="*/ 232 h 1135"/>
              <a:gd name="T60" fmla="*/ 105 w 462"/>
              <a:gd name="T61" fmla="*/ 223 h 1135"/>
              <a:gd name="T62" fmla="*/ 106 w 462"/>
              <a:gd name="T63" fmla="*/ 214 h 1135"/>
              <a:gd name="T64" fmla="*/ 110 w 462"/>
              <a:gd name="T65" fmla="*/ 201 h 1135"/>
              <a:gd name="T66" fmla="*/ 112 w 462"/>
              <a:gd name="T67" fmla="*/ 189 h 1135"/>
              <a:gd name="T68" fmla="*/ 112 w 462"/>
              <a:gd name="T69" fmla="*/ 182 h 1135"/>
              <a:gd name="T70" fmla="*/ 114 w 462"/>
              <a:gd name="T71" fmla="*/ 177 h 1135"/>
              <a:gd name="T72" fmla="*/ 116 w 462"/>
              <a:gd name="T73" fmla="*/ 166 h 1135"/>
              <a:gd name="T74" fmla="*/ 119 w 462"/>
              <a:gd name="T75" fmla="*/ 153 h 1135"/>
              <a:gd name="T76" fmla="*/ 125 w 462"/>
              <a:gd name="T77" fmla="*/ 109 h 1135"/>
              <a:gd name="T78" fmla="*/ 129 w 462"/>
              <a:gd name="T79" fmla="*/ 64 h 1135"/>
              <a:gd name="T80" fmla="*/ 131 w 462"/>
              <a:gd name="T81" fmla="*/ 53 h 1135"/>
              <a:gd name="T82" fmla="*/ 131 w 462"/>
              <a:gd name="T83" fmla="*/ 41 h 1135"/>
              <a:gd name="T84" fmla="*/ 131 w 462"/>
              <a:gd name="T85" fmla="*/ 39 h 1135"/>
              <a:gd name="T86" fmla="*/ 131 w 462"/>
              <a:gd name="T87" fmla="*/ 35 h 1135"/>
              <a:gd name="T88" fmla="*/ 132 w 462"/>
              <a:gd name="T89" fmla="*/ 26 h 1135"/>
              <a:gd name="T90" fmla="*/ 132 w 462"/>
              <a:gd name="T91" fmla="*/ 17 h 1135"/>
              <a:gd name="T92" fmla="*/ 132 w 462"/>
              <a:gd name="T93" fmla="*/ 7 h 1135"/>
              <a:gd name="T94" fmla="*/ 132 w 462"/>
              <a:gd name="T95" fmla="*/ 0 h 1135"/>
              <a:gd name="T96" fmla="*/ 133 w 462"/>
              <a:gd name="T97" fmla="*/ 68 h 1135"/>
              <a:gd name="T98" fmla="*/ 145 w 462"/>
              <a:gd name="T99" fmla="*/ 204 h 1135"/>
              <a:gd name="T100" fmla="*/ 168 w 462"/>
              <a:gd name="T101" fmla="*/ 335 h 1135"/>
              <a:gd name="T102" fmla="*/ 201 w 462"/>
              <a:gd name="T103" fmla="*/ 464 h 1135"/>
              <a:gd name="T104" fmla="*/ 243 w 462"/>
              <a:gd name="T105" fmla="*/ 587 h 1135"/>
              <a:gd name="T106" fmla="*/ 295 w 462"/>
              <a:gd name="T107" fmla="*/ 706 h 1135"/>
              <a:gd name="T108" fmla="*/ 355 w 462"/>
              <a:gd name="T109" fmla="*/ 820 h 1135"/>
              <a:gd name="T110" fmla="*/ 425 w 462"/>
              <a:gd name="T111" fmla="*/ 929 h 1135"/>
              <a:gd name="T112" fmla="*/ 462 w 462"/>
              <a:gd name="T113" fmla="*/ 981 h 1135"/>
              <a:gd name="T114" fmla="*/ 462 w 462"/>
              <a:gd name="T115" fmla="*/ 981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2" h="1135">
                <a:moveTo>
                  <a:pt x="462" y="981"/>
                </a:moveTo>
                <a:lnTo>
                  <a:pt x="460" y="985"/>
                </a:lnTo>
                <a:lnTo>
                  <a:pt x="457" y="989"/>
                </a:lnTo>
                <a:lnTo>
                  <a:pt x="443" y="1007"/>
                </a:lnTo>
                <a:lnTo>
                  <a:pt x="427" y="1025"/>
                </a:lnTo>
                <a:lnTo>
                  <a:pt x="418" y="1037"/>
                </a:lnTo>
                <a:lnTo>
                  <a:pt x="409" y="1048"/>
                </a:lnTo>
                <a:lnTo>
                  <a:pt x="408" y="1050"/>
                </a:lnTo>
                <a:lnTo>
                  <a:pt x="408" y="1050"/>
                </a:lnTo>
                <a:lnTo>
                  <a:pt x="396" y="1064"/>
                </a:lnTo>
                <a:lnTo>
                  <a:pt x="383" y="1078"/>
                </a:lnTo>
                <a:lnTo>
                  <a:pt x="369" y="1095"/>
                </a:lnTo>
                <a:lnTo>
                  <a:pt x="355" y="1110"/>
                </a:lnTo>
                <a:lnTo>
                  <a:pt x="343" y="1123"/>
                </a:lnTo>
                <a:lnTo>
                  <a:pt x="332" y="1135"/>
                </a:lnTo>
                <a:lnTo>
                  <a:pt x="276" y="1062"/>
                </a:lnTo>
                <a:lnTo>
                  <a:pt x="177" y="908"/>
                </a:lnTo>
                <a:lnTo>
                  <a:pt x="94" y="745"/>
                </a:lnTo>
                <a:lnTo>
                  <a:pt x="27" y="573"/>
                </a:lnTo>
                <a:lnTo>
                  <a:pt x="0" y="483"/>
                </a:lnTo>
                <a:lnTo>
                  <a:pt x="36" y="417"/>
                </a:lnTo>
                <a:lnTo>
                  <a:pt x="65" y="348"/>
                </a:lnTo>
                <a:lnTo>
                  <a:pt x="68" y="341"/>
                </a:lnTo>
                <a:lnTo>
                  <a:pt x="71" y="333"/>
                </a:lnTo>
                <a:lnTo>
                  <a:pt x="81" y="303"/>
                </a:lnTo>
                <a:lnTo>
                  <a:pt x="90" y="273"/>
                </a:lnTo>
                <a:lnTo>
                  <a:pt x="94" y="263"/>
                </a:lnTo>
                <a:lnTo>
                  <a:pt x="97" y="252"/>
                </a:lnTo>
                <a:lnTo>
                  <a:pt x="100" y="242"/>
                </a:lnTo>
                <a:lnTo>
                  <a:pt x="102" y="232"/>
                </a:lnTo>
                <a:lnTo>
                  <a:pt x="105" y="223"/>
                </a:lnTo>
                <a:lnTo>
                  <a:pt x="106" y="214"/>
                </a:lnTo>
                <a:lnTo>
                  <a:pt x="110" y="201"/>
                </a:lnTo>
                <a:lnTo>
                  <a:pt x="112" y="189"/>
                </a:lnTo>
                <a:lnTo>
                  <a:pt x="112" y="182"/>
                </a:lnTo>
                <a:lnTo>
                  <a:pt x="114" y="177"/>
                </a:lnTo>
                <a:lnTo>
                  <a:pt x="116" y="166"/>
                </a:lnTo>
                <a:lnTo>
                  <a:pt x="119" y="153"/>
                </a:lnTo>
                <a:lnTo>
                  <a:pt x="125" y="109"/>
                </a:lnTo>
                <a:lnTo>
                  <a:pt x="129" y="64"/>
                </a:lnTo>
                <a:lnTo>
                  <a:pt x="131" y="53"/>
                </a:lnTo>
                <a:lnTo>
                  <a:pt x="131" y="41"/>
                </a:lnTo>
                <a:lnTo>
                  <a:pt x="131" y="39"/>
                </a:lnTo>
                <a:lnTo>
                  <a:pt x="131" y="35"/>
                </a:lnTo>
                <a:lnTo>
                  <a:pt x="132" y="26"/>
                </a:lnTo>
                <a:lnTo>
                  <a:pt x="132" y="17"/>
                </a:lnTo>
                <a:lnTo>
                  <a:pt x="132" y="7"/>
                </a:lnTo>
                <a:lnTo>
                  <a:pt x="132" y="0"/>
                </a:lnTo>
                <a:lnTo>
                  <a:pt x="133" y="68"/>
                </a:lnTo>
                <a:lnTo>
                  <a:pt x="145" y="204"/>
                </a:lnTo>
                <a:lnTo>
                  <a:pt x="168" y="335"/>
                </a:lnTo>
                <a:lnTo>
                  <a:pt x="201" y="464"/>
                </a:lnTo>
                <a:lnTo>
                  <a:pt x="243" y="587"/>
                </a:lnTo>
                <a:lnTo>
                  <a:pt x="295" y="706"/>
                </a:lnTo>
                <a:lnTo>
                  <a:pt x="355" y="820"/>
                </a:lnTo>
                <a:lnTo>
                  <a:pt x="425" y="929"/>
                </a:lnTo>
                <a:lnTo>
                  <a:pt x="462" y="981"/>
                </a:lnTo>
                <a:lnTo>
                  <a:pt x="462" y="981"/>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2" name="Freeform 590">
            <a:extLst>
              <a:ext uri="{FF2B5EF4-FFF2-40B4-BE49-F238E27FC236}">
                <a16:creationId xmlns:a16="http://schemas.microsoft.com/office/drawing/2014/main" id="{B54CCC29-DECE-2456-36C9-C04707A9C30A}"/>
              </a:ext>
            </a:extLst>
          </p:cNvPr>
          <p:cNvSpPr>
            <a:spLocks/>
          </p:cNvSpPr>
          <p:nvPr/>
        </p:nvSpPr>
        <p:spPr bwMode="auto">
          <a:xfrm>
            <a:off x="1850421" y="3591103"/>
            <a:ext cx="160270" cy="392385"/>
          </a:xfrm>
          <a:custGeom>
            <a:avLst/>
            <a:gdLst>
              <a:gd name="T0" fmla="*/ 132 w 462"/>
              <a:gd name="T1" fmla="*/ 0 h 1135"/>
              <a:gd name="T2" fmla="*/ 132 w 462"/>
              <a:gd name="T3" fmla="*/ 7 h 1135"/>
              <a:gd name="T4" fmla="*/ 132 w 462"/>
              <a:gd name="T5" fmla="*/ 17 h 1135"/>
              <a:gd name="T6" fmla="*/ 132 w 462"/>
              <a:gd name="T7" fmla="*/ 26 h 1135"/>
              <a:gd name="T8" fmla="*/ 131 w 462"/>
              <a:gd name="T9" fmla="*/ 35 h 1135"/>
              <a:gd name="T10" fmla="*/ 131 w 462"/>
              <a:gd name="T11" fmla="*/ 39 h 1135"/>
              <a:gd name="T12" fmla="*/ 131 w 462"/>
              <a:gd name="T13" fmla="*/ 41 h 1135"/>
              <a:gd name="T14" fmla="*/ 131 w 462"/>
              <a:gd name="T15" fmla="*/ 53 h 1135"/>
              <a:gd name="T16" fmla="*/ 129 w 462"/>
              <a:gd name="T17" fmla="*/ 64 h 1135"/>
              <a:gd name="T18" fmla="*/ 125 w 462"/>
              <a:gd name="T19" fmla="*/ 109 h 1135"/>
              <a:gd name="T20" fmla="*/ 119 w 462"/>
              <a:gd name="T21" fmla="*/ 153 h 1135"/>
              <a:gd name="T22" fmla="*/ 116 w 462"/>
              <a:gd name="T23" fmla="*/ 166 h 1135"/>
              <a:gd name="T24" fmla="*/ 114 w 462"/>
              <a:gd name="T25" fmla="*/ 177 h 1135"/>
              <a:gd name="T26" fmla="*/ 112 w 462"/>
              <a:gd name="T27" fmla="*/ 182 h 1135"/>
              <a:gd name="T28" fmla="*/ 112 w 462"/>
              <a:gd name="T29" fmla="*/ 189 h 1135"/>
              <a:gd name="T30" fmla="*/ 110 w 462"/>
              <a:gd name="T31" fmla="*/ 201 h 1135"/>
              <a:gd name="T32" fmla="*/ 106 w 462"/>
              <a:gd name="T33" fmla="*/ 214 h 1135"/>
              <a:gd name="T34" fmla="*/ 105 w 462"/>
              <a:gd name="T35" fmla="*/ 223 h 1135"/>
              <a:gd name="T36" fmla="*/ 102 w 462"/>
              <a:gd name="T37" fmla="*/ 232 h 1135"/>
              <a:gd name="T38" fmla="*/ 100 w 462"/>
              <a:gd name="T39" fmla="*/ 242 h 1135"/>
              <a:gd name="T40" fmla="*/ 97 w 462"/>
              <a:gd name="T41" fmla="*/ 252 h 1135"/>
              <a:gd name="T42" fmla="*/ 94 w 462"/>
              <a:gd name="T43" fmla="*/ 263 h 1135"/>
              <a:gd name="T44" fmla="*/ 90 w 462"/>
              <a:gd name="T45" fmla="*/ 273 h 1135"/>
              <a:gd name="T46" fmla="*/ 81 w 462"/>
              <a:gd name="T47" fmla="*/ 303 h 1135"/>
              <a:gd name="T48" fmla="*/ 71 w 462"/>
              <a:gd name="T49" fmla="*/ 333 h 1135"/>
              <a:gd name="T50" fmla="*/ 65 w 462"/>
              <a:gd name="T51" fmla="*/ 348 h 1135"/>
              <a:gd name="T52" fmla="*/ 36 w 462"/>
              <a:gd name="T53" fmla="*/ 417 h 1135"/>
              <a:gd name="T54" fmla="*/ 0 w 462"/>
              <a:gd name="T55" fmla="*/ 483 h 1135"/>
              <a:gd name="T56" fmla="*/ 27 w 462"/>
              <a:gd name="T57" fmla="*/ 573 h 1135"/>
              <a:gd name="T58" fmla="*/ 94 w 462"/>
              <a:gd name="T59" fmla="*/ 745 h 1135"/>
              <a:gd name="T60" fmla="*/ 177 w 462"/>
              <a:gd name="T61" fmla="*/ 908 h 1135"/>
              <a:gd name="T62" fmla="*/ 276 w 462"/>
              <a:gd name="T63" fmla="*/ 1062 h 1135"/>
              <a:gd name="T64" fmla="*/ 332 w 462"/>
              <a:gd name="T65" fmla="*/ 1135 h 1135"/>
              <a:gd name="T66" fmla="*/ 343 w 462"/>
              <a:gd name="T67" fmla="*/ 1123 h 1135"/>
              <a:gd name="T68" fmla="*/ 355 w 462"/>
              <a:gd name="T69" fmla="*/ 1110 h 1135"/>
              <a:gd name="T70" fmla="*/ 369 w 462"/>
              <a:gd name="T71" fmla="*/ 1095 h 1135"/>
              <a:gd name="T72" fmla="*/ 383 w 462"/>
              <a:gd name="T73" fmla="*/ 1078 h 1135"/>
              <a:gd name="T74" fmla="*/ 396 w 462"/>
              <a:gd name="T75" fmla="*/ 1064 h 1135"/>
              <a:gd name="T76" fmla="*/ 408 w 462"/>
              <a:gd name="T77" fmla="*/ 1050 h 1135"/>
              <a:gd name="T78" fmla="*/ 408 w 462"/>
              <a:gd name="T79" fmla="*/ 1050 h 1135"/>
              <a:gd name="T80" fmla="*/ 409 w 462"/>
              <a:gd name="T81" fmla="*/ 1048 h 1135"/>
              <a:gd name="T82" fmla="*/ 418 w 462"/>
              <a:gd name="T83" fmla="*/ 1037 h 1135"/>
              <a:gd name="T84" fmla="*/ 427 w 462"/>
              <a:gd name="T85" fmla="*/ 1025 h 1135"/>
              <a:gd name="T86" fmla="*/ 443 w 462"/>
              <a:gd name="T87" fmla="*/ 1007 h 1135"/>
              <a:gd name="T88" fmla="*/ 457 w 462"/>
              <a:gd name="T89" fmla="*/ 989 h 1135"/>
              <a:gd name="T90" fmla="*/ 460 w 462"/>
              <a:gd name="T91" fmla="*/ 985 h 1135"/>
              <a:gd name="T92" fmla="*/ 462 w 462"/>
              <a:gd name="T93" fmla="*/ 981 h 1135"/>
              <a:gd name="T94" fmla="*/ 425 w 462"/>
              <a:gd name="T95" fmla="*/ 929 h 1135"/>
              <a:gd name="T96" fmla="*/ 355 w 462"/>
              <a:gd name="T97" fmla="*/ 820 h 1135"/>
              <a:gd name="T98" fmla="*/ 295 w 462"/>
              <a:gd name="T99" fmla="*/ 706 h 1135"/>
              <a:gd name="T100" fmla="*/ 243 w 462"/>
              <a:gd name="T101" fmla="*/ 587 h 1135"/>
              <a:gd name="T102" fmla="*/ 201 w 462"/>
              <a:gd name="T103" fmla="*/ 464 h 1135"/>
              <a:gd name="T104" fmla="*/ 168 w 462"/>
              <a:gd name="T105" fmla="*/ 335 h 1135"/>
              <a:gd name="T106" fmla="*/ 145 w 462"/>
              <a:gd name="T107" fmla="*/ 204 h 1135"/>
              <a:gd name="T108" fmla="*/ 133 w 462"/>
              <a:gd name="T109" fmla="*/ 68 h 1135"/>
              <a:gd name="T110" fmla="*/ 132 w 462"/>
              <a:gd name="T111" fmla="*/ 0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2" h="1135">
                <a:moveTo>
                  <a:pt x="132" y="0"/>
                </a:moveTo>
                <a:lnTo>
                  <a:pt x="132" y="7"/>
                </a:lnTo>
                <a:lnTo>
                  <a:pt x="132" y="17"/>
                </a:lnTo>
                <a:lnTo>
                  <a:pt x="132" y="26"/>
                </a:lnTo>
                <a:lnTo>
                  <a:pt x="131" y="35"/>
                </a:lnTo>
                <a:lnTo>
                  <a:pt x="131" y="39"/>
                </a:lnTo>
                <a:lnTo>
                  <a:pt x="131" y="41"/>
                </a:lnTo>
                <a:lnTo>
                  <a:pt x="131" y="53"/>
                </a:lnTo>
                <a:lnTo>
                  <a:pt x="129" y="64"/>
                </a:lnTo>
                <a:lnTo>
                  <a:pt x="125" y="109"/>
                </a:lnTo>
                <a:lnTo>
                  <a:pt x="119" y="153"/>
                </a:lnTo>
                <a:lnTo>
                  <a:pt x="116" y="166"/>
                </a:lnTo>
                <a:lnTo>
                  <a:pt x="114" y="177"/>
                </a:lnTo>
                <a:lnTo>
                  <a:pt x="112" y="182"/>
                </a:lnTo>
                <a:lnTo>
                  <a:pt x="112" y="189"/>
                </a:lnTo>
                <a:lnTo>
                  <a:pt x="110" y="201"/>
                </a:lnTo>
                <a:lnTo>
                  <a:pt x="106" y="214"/>
                </a:lnTo>
                <a:lnTo>
                  <a:pt x="105" y="223"/>
                </a:lnTo>
                <a:lnTo>
                  <a:pt x="102" y="232"/>
                </a:lnTo>
                <a:lnTo>
                  <a:pt x="100" y="242"/>
                </a:lnTo>
                <a:lnTo>
                  <a:pt x="97" y="252"/>
                </a:lnTo>
                <a:lnTo>
                  <a:pt x="94" y="263"/>
                </a:lnTo>
                <a:lnTo>
                  <a:pt x="90" y="273"/>
                </a:lnTo>
                <a:lnTo>
                  <a:pt x="81" y="303"/>
                </a:lnTo>
                <a:lnTo>
                  <a:pt x="71" y="333"/>
                </a:lnTo>
                <a:lnTo>
                  <a:pt x="65" y="348"/>
                </a:lnTo>
                <a:lnTo>
                  <a:pt x="36" y="417"/>
                </a:lnTo>
                <a:lnTo>
                  <a:pt x="0" y="483"/>
                </a:lnTo>
                <a:lnTo>
                  <a:pt x="27" y="573"/>
                </a:lnTo>
                <a:lnTo>
                  <a:pt x="94" y="745"/>
                </a:lnTo>
                <a:lnTo>
                  <a:pt x="177" y="908"/>
                </a:lnTo>
                <a:lnTo>
                  <a:pt x="276" y="1062"/>
                </a:lnTo>
                <a:lnTo>
                  <a:pt x="332" y="1135"/>
                </a:lnTo>
                <a:lnTo>
                  <a:pt x="343" y="1123"/>
                </a:lnTo>
                <a:lnTo>
                  <a:pt x="355" y="1110"/>
                </a:lnTo>
                <a:lnTo>
                  <a:pt x="369" y="1095"/>
                </a:lnTo>
                <a:lnTo>
                  <a:pt x="383" y="1078"/>
                </a:lnTo>
                <a:lnTo>
                  <a:pt x="396" y="1064"/>
                </a:lnTo>
                <a:lnTo>
                  <a:pt x="408" y="1050"/>
                </a:lnTo>
                <a:lnTo>
                  <a:pt x="408" y="1050"/>
                </a:lnTo>
                <a:lnTo>
                  <a:pt x="409" y="1048"/>
                </a:lnTo>
                <a:lnTo>
                  <a:pt x="418" y="1037"/>
                </a:lnTo>
                <a:lnTo>
                  <a:pt x="427" y="1025"/>
                </a:lnTo>
                <a:lnTo>
                  <a:pt x="443" y="1007"/>
                </a:lnTo>
                <a:lnTo>
                  <a:pt x="457" y="989"/>
                </a:lnTo>
                <a:lnTo>
                  <a:pt x="460" y="985"/>
                </a:lnTo>
                <a:lnTo>
                  <a:pt x="462" y="981"/>
                </a:lnTo>
                <a:lnTo>
                  <a:pt x="425" y="929"/>
                </a:lnTo>
                <a:lnTo>
                  <a:pt x="355" y="820"/>
                </a:lnTo>
                <a:lnTo>
                  <a:pt x="295" y="706"/>
                </a:lnTo>
                <a:lnTo>
                  <a:pt x="243" y="587"/>
                </a:lnTo>
                <a:lnTo>
                  <a:pt x="201" y="464"/>
                </a:lnTo>
                <a:lnTo>
                  <a:pt x="168" y="335"/>
                </a:lnTo>
                <a:lnTo>
                  <a:pt x="145" y="204"/>
                </a:lnTo>
                <a:lnTo>
                  <a:pt x="133" y="68"/>
                </a:lnTo>
                <a:lnTo>
                  <a:pt x="132" y="0"/>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3" name="Freeform: Shape 108">
            <a:extLst>
              <a:ext uri="{FF2B5EF4-FFF2-40B4-BE49-F238E27FC236}">
                <a16:creationId xmlns:a16="http://schemas.microsoft.com/office/drawing/2014/main" id="{04729776-A630-10E1-21AC-7B8102913C9A}"/>
              </a:ext>
            </a:extLst>
          </p:cNvPr>
          <p:cNvSpPr>
            <a:spLocks/>
          </p:cNvSpPr>
          <p:nvPr/>
        </p:nvSpPr>
        <p:spPr bwMode="auto">
          <a:xfrm>
            <a:off x="1896016" y="3586957"/>
            <a:ext cx="3941813" cy="571998"/>
          </a:xfrm>
          <a:custGeom>
            <a:avLst/>
            <a:gdLst>
              <a:gd name="connsiteX0" fmla="*/ 0 w 3941813"/>
              <a:gd name="connsiteY0" fmla="*/ 0 h 571998"/>
              <a:gd name="connsiteX1" fmla="*/ 228336 w 3941813"/>
              <a:gd name="connsiteY1" fmla="*/ 0 h 571998"/>
              <a:gd name="connsiteX2" fmla="*/ 228336 w 3941813"/>
              <a:gd name="connsiteY2" fmla="*/ 1035 h 571998"/>
              <a:gd name="connsiteX3" fmla="*/ 228336 w 3941813"/>
              <a:gd name="connsiteY3" fmla="*/ 2070 h 571998"/>
              <a:gd name="connsiteX4" fmla="*/ 228336 w 3941813"/>
              <a:gd name="connsiteY4" fmla="*/ 3450 h 571998"/>
              <a:gd name="connsiteX5" fmla="*/ 228336 w 3941813"/>
              <a:gd name="connsiteY5" fmla="*/ 4485 h 571998"/>
              <a:gd name="connsiteX6" fmla="*/ 228336 w 3941813"/>
              <a:gd name="connsiteY6" fmla="*/ 6555 h 571998"/>
              <a:gd name="connsiteX7" fmla="*/ 228336 w 3941813"/>
              <a:gd name="connsiteY7" fmla="*/ 8625 h 571998"/>
              <a:gd name="connsiteX8" fmla="*/ 228336 w 3941813"/>
              <a:gd name="connsiteY8" fmla="*/ 13110 h 571998"/>
              <a:gd name="connsiteX9" fmla="*/ 228681 w 3941813"/>
              <a:gd name="connsiteY9" fmla="*/ 17595 h 571998"/>
              <a:gd name="connsiteX10" fmla="*/ 228681 w 3941813"/>
              <a:gd name="connsiteY10" fmla="*/ 21045 h 571998"/>
              <a:gd name="connsiteX11" fmla="*/ 229372 w 3941813"/>
              <a:gd name="connsiteY11" fmla="*/ 24495 h 571998"/>
              <a:gd name="connsiteX12" fmla="*/ 229561 w 3941813"/>
              <a:gd name="connsiteY12" fmla="*/ 29949 h 571998"/>
              <a:gd name="connsiteX13" fmla="*/ 230860 w 3941813"/>
              <a:gd name="connsiteY13" fmla="*/ 43059 h 571998"/>
              <a:gd name="connsiteX14" fmla="*/ 231099 w 3941813"/>
              <a:gd name="connsiteY14" fmla="*/ 44849 h 571998"/>
              <a:gd name="connsiteX15" fmla="*/ 231445 w 3941813"/>
              <a:gd name="connsiteY15" fmla="*/ 47954 h 571998"/>
              <a:gd name="connsiteX16" fmla="*/ 231790 w 3941813"/>
              <a:gd name="connsiteY16" fmla="*/ 51059 h 571998"/>
              <a:gd name="connsiteX17" fmla="*/ 232439 w 3941813"/>
              <a:gd name="connsiteY17" fmla="*/ 55431 h 571998"/>
              <a:gd name="connsiteX18" fmla="*/ 237460 w 3941813"/>
              <a:gd name="connsiteY18" fmla="*/ 78594 h 571998"/>
              <a:gd name="connsiteX19" fmla="*/ 239935 w 3941813"/>
              <a:gd name="connsiteY19" fmla="*/ 88754 h 571998"/>
              <a:gd name="connsiteX20" fmla="*/ 249062 w 3941813"/>
              <a:gd name="connsiteY20" fmla="*/ 117988 h 571998"/>
              <a:gd name="connsiteX21" fmla="*/ 258766 w 3941813"/>
              <a:gd name="connsiteY21" fmla="*/ 141560 h 571998"/>
              <a:gd name="connsiteX22" fmla="*/ 260462 w 3941813"/>
              <a:gd name="connsiteY22" fmla="*/ 145242 h 571998"/>
              <a:gd name="connsiteX23" fmla="*/ 261844 w 3941813"/>
              <a:gd name="connsiteY23" fmla="*/ 148347 h 571998"/>
              <a:gd name="connsiteX24" fmla="*/ 263571 w 3941813"/>
              <a:gd name="connsiteY24" fmla="*/ 152142 h 571998"/>
              <a:gd name="connsiteX25" fmla="*/ 265643 w 3941813"/>
              <a:gd name="connsiteY25" fmla="*/ 155592 h 571998"/>
              <a:gd name="connsiteX26" fmla="*/ 267371 w 3941813"/>
              <a:gd name="connsiteY26" fmla="*/ 158697 h 571998"/>
              <a:gd name="connsiteX27" fmla="*/ 269060 w 3941813"/>
              <a:gd name="connsiteY27" fmla="*/ 162072 h 571998"/>
              <a:gd name="connsiteX28" fmla="*/ 276558 w 3941813"/>
              <a:gd name="connsiteY28" fmla="*/ 175613 h 571998"/>
              <a:gd name="connsiteX29" fmla="*/ 277043 w 3941813"/>
              <a:gd name="connsiteY29" fmla="*/ 176291 h 571998"/>
              <a:gd name="connsiteX30" fmla="*/ 278368 w 3941813"/>
              <a:gd name="connsiteY30" fmla="*/ 178791 h 571998"/>
              <a:gd name="connsiteX31" fmla="*/ 295536 w 3941813"/>
              <a:gd name="connsiteY31" fmla="*/ 204348 h 571998"/>
              <a:gd name="connsiteX32" fmla="*/ 296042 w 3941813"/>
              <a:gd name="connsiteY32" fmla="*/ 204926 h 571998"/>
              <a:gd name="connsiteX33" fmla="*/ 298303 w 3941813"/>
              <a:gd name="connsiteY33" fmla="*/ 207936 h 571998"/>
              <a:gd name="connsiteX34" fmla="*/ 316635 w 3941813"/>
              <a:gd name="connsiteY34" fmla="*/ 230146 h 571998"/>
              <a:gd name="connsiteX35" fmla="*/ 318158 w 3941813"/>
              <a:gd name="connsiteY35" fmla="*/ 231823 h 571998"/>
              <a:gd name="connsiteX36" fmla="*/ 341295 w 3941813"/>
              <a:gd name="connsiteY36" fmla="*/ 254260 h 571998"/>
              <a:gd name="connsiteX37" fmla="*/ 364855 w 3941813"/>
              <a:gd name="connsiteY37" fmla="*/ 274566 h 571998"/>
              <a:gd name="connsiteX38" fmla="*/ 383255 w 3941813"/>
              <a:gd name="connsiteY38" fmla="*/ 287072 h 571998"/>
              <a:gd name="connsiteX39" fmla="*/ 390494 w 3941813"/>
              <a:gd name="connsiteY39" fmla="*/ 291862 h 571998"/>
              <a:gd name="connsiteX40" fmla="*/ 396550 w 3941813"/>
              <a:gd name="connsiteY40" fmla="*/ 295622 h 571998"/>
              <a:gd name="connsiteX41" fmla="*/ 409034 w 3941813"/>
              <a:gd name="connsiteY41" fmla="*/ 302598 h 571998"/>
              <a:gd name="connsiteX42" fmla="*/ 419364 w 3941813"/>
              <a:gd name="connsiteY42" fmla="*/ 308079 h 571998"/>
              <a:gd name="connsiteX43" fmla="*/ 431109 w 3941813"/>
              <a:gd name="connsiteY43" fmla="*/ 313598 h 571998"/>
              <a:gd name="connsiteX44" fmla="*/ 433413 w 3941813"/>
              <a:gd name="connsiteY44" fmla="*/ 314749 h 571998"/>
              <a:gd name="connsiteX45" fmla="*/ 445124 w 3941813"/>
              <a:gd name="connsiteY45" fmla="*/ 319611 h 571998"/>
              <a:gd name="connsiteX46" fmla="*/ 450799 w 3941813"/>
              <a:gd name="connsiteY46" fmla="*/ 321878 h 571998"/>
              <a:gd name="connsiteX47" fmla="*/ 462312 w 3941813"/>
              <a:gd name="connsiteY47" fmla="*/ 325820 h 571998"/>
              <a:gd name="connsiteX48" fmla="*/ 480775 w 3941813"/>
              <a:gd name="connsiteY48" fmla="*/ 331449 h 571998"/>
              <a:gd name="connsiteX49" fmla="*/ 490525 w 3941813"/>
              <a:gd name="connsiteY49" fmla="*/ 333953 h 571998"/>
              <a:gd name="connsiteX50" fmla="*/ 499752 w 3941813"/>
              <a:gd name="connsiteY50" fmla="*/ 335946 h 571998"/>
              <a:gd name="connsiteX51" fmla="*/ 520232 w 3941813"/>
              <a:gd name="connsiteY51" fmla="*/ 340163 h 571998"/>
              <a:gd name="connsiteX52" fmla="*/ 554124 w 3941813"/>
              <a:gd name="connsiteY52" fmla="*/ 343209 h 571998"/>
              <a:gd name="connsiteX53" fmla="*/ 555122 w 3941813"/>
              <a:gd name="connsiteY53" fmla="*/ 343268 h 571998"/>
              <a:gd name="connsiteX54" fmla="*/ 555467 w 3941813"/>
              <a:gd name="connsiteY54" fmla="*/ 343294 h 571998"/>
              <a:gd name="connsiteX55" fmla="*/ 572739 w 3941813"/>
              <a:gd name="connsiteY55" fmla="*/ 343958 h 571998"/>
              <a:gd name="connsiteX56" fmla="*/ 3862707 w 3941813"/>
              <a:gd name="connsiteY56" fmla="*/ 343958 h 571998"/>
              <a:gd name="connsiteX57" fmla="*/ 3941813 w 3941813"/>
              <a:gd name="connsiteY57" fmla="*/ 343958 h 571998"/>
              <a:gd name="connsiteX58" fmla="*/ 3941813 w 3941813"/>
              <a:gd name="connsiteY58" fmla="*/ 388462 h 571998"/>
              <a:gd name="connsiteX59" fmla="*/ 3940777 w 3941813"/>
              <a:gd name="connsiteY59" fmla="*/ 407437 h 571998"/>
              <a:gd name="connsiteX60" fmla="*/ 3933868 w 3941813"/>
              <a:gd name="connsiteY60" fmla="*/ 442971 h 571998"/>
              <a:gd name="connsiteX61" fmla="*/ 3920050 w 3941813"/>
              <a:gd name="connsiteY61" fmla="*/ 476090 h 571998"/>
              <a:gd name="connsiteX62" fmla="*/ 3900015 w 3941813"/>
              <a:gd name="connsiteY62" fmla="*/ 505415 h 571998"/>
              <a:gd name="connsiteX63" fmla="*/ 3875143 w 3941813"/>
              <a:gd name="connsiteY63" fmla="*/ 530254 h 571998"/>
              <a:gd name="connsiteX64" fmla="*/ 3846126 w 3941813"/>
              <a:gd name="connsiteY64" fmla="*/ 549919 h 571998"/>
              <a:gd name="connsiteX65" fmla="*/ 3812964 w 3941813"/>
              <a:gd name="connsiteY65" fmla="*/ 563718 h 571998"/>
              <a:gd name="connsiteX66" fmla="*/ 3777038 w 3941813"/>
              <a:gd name="connsiteY66" fmla="*/ 570963 h 571998"/>
              <a:gd name="connsiteX67" fmla="*/ 3758385 w 3941813"/>
              <a:gd name="connsiteY67" fmla="*/ 571998 h 571998"/>
              <a:gd name="connsiteX68" fmla="*/ 572739 w 3941813"/>
              <a:gd name="connsiteY68" fmla="*/ 571998 h 571998"/>
              <a:gd name="connsiteX69" fmla="*/ 543032 w 3941813"/>
              <a:gd name="connsiteY69" fmla="*/ 571308 h 571998"/>
              <a:gd name="connsiteX70" fmla="*/ 485343 w 3941813"/>
              <a:gd name="connsiteY70" fmla="*/ 565788 h 571998"/>
              <a:gd name="connsiteX71" fmla="*/ 429382 w 3941813"/>
              <a:gd name="connsiteY71" fmla="*/ 554059 h 571998"/>
              <a:gd name="connsiteX72" fmla="*/ 375493 w 3941813"/>
              <a:gd name="connsiteY72" fmla="*/ 537499 h 571998"/>
              <a:gd name="connsiteX73" fmla="*/ 324023 w 3941813"/>
              <a:gd name="connsiteY73" fmla="*/ 515419 h 571998"/>
              <a:gd name="connsiteX74" fmla="*/ 275661 w 3941813"/>
              <a:gd name="connsiteY74" fmla="*/ 489200 h 571998"/>
              <a:gd name="connsiteX75" fmla="*/ 229718 w 3941813"/>
              <a:gd name="connsiteY75" fmla="*/ 458495 h 571998"/>
              <a:gd name="connsiteX76" fmla="*/ 187574 w 3941813"/>
              <a:gd name="connsiteY76" fmla="*/ 423306 h 571998"/>
              <a:gd name="connsiteX77" fmla="*/ 148539 w 3941813"/>
              <a:gd name="connsiteY77" fmla="*/ 384667 h 571998"/>
              <a:gd name="connsiteX78" fmla="*/ 113650 w 3941813"/>
              <a:gd name="connsiteY78" fmla="*/ 342233 h 571998"/>
              <a:gd name="connsiteX79" fmla="*/ 82906 w 3941813"/>
              <a:gd name="connsiteY79" fmla="*/ 296349 h 571998"/>
              <a:gd name="connsiteX80" fmla="*/ 56307 w 3941813"/>
              <a:gd name="connsiteY80" fmla="*/ 248050 h 571998"/>
              <a:gd name="connsiteX81" fmla="*/ 34544 w 3941813"/>
              <a:gd name="connsiteY81" fmla="*/ 196646 h 571998"/>
              <a:gd name="connsiteX82" fmla="*/ 17963 w 3941813"/>
              <a:gd name="connsiteY82" fmla="*/ 143172 h 571998"/>
              <a:gd name="connsiteX83" fmla="*/ 6218 w 3941813"/>
              <a:gd name="connsiteY83" fmla="*/ 87283 h 571998"/>
              <a:gd name="connsiteX84" fmla="*/ 346 w 3941813"/>
              <a:gd name="connsiteY84" fmla="*/ 29669 h 57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941813" h="571998">
                <a:moveTo>
                  <a:pt x="0" y="0"/>
                </a:moveTo>
                <a:lnTo>
                  <a:pt x="228336" y="0"/>
                </a:lnTo>
                <a:lnTo>
                  <a:pt x="228336" y="1035"/>
                </a:lnTo>
                <a:lnTo>
                  <a:pt x="228336" y="2070"/>
                </a:lnTo>
                <a:lnTo>
                  <a:pt x="228336" y="3450"/>
                </a:lnTo>
                <a:lnTo>
                  <a:pt x="228336" y="4485"/>
                </a:lnTo>
                <a:lnTo>
                  <a:pt x="228336" y="6555"/>
                </a:lnTo>
                <a:lnTo>
                  <a:pt x="228336" y="8625"/>
                </a:lnTo>
                <a:lnTo>
                  <a:pt x="228336" y="13110"/>
                </a:lnTo>
                <a:lnTo>
                  <a:pt x="228681" y="17595"/>
                </a:lnTo>
                <a:lnTo>
                  <a:pt x="228681" y="21045"/>
                </a:lnTo>
                <a:lnTo>
                  <a:pt x="229372" y="24495"/>
                </a:lnTo>
                <a:lnTo>
                  <a:pt x="229561" y="29949"/>
                </a:lnTo>
                <a:lnTo>
                  <a:pt x="230860" y="43059"/>
                </a:lnTo>
                <a:lnTo>
                  <a:pt x="231099" y="44849"/>
                </a:lnTo>
                <a:lnTo>
                  <a:pt x="231445" y="47954"/>
                </a:lnTo>
                <a:lnTo>
                  <a:pt x="231790" y="51059"/>
                </a:lnTo>
                <a:lnTo>
                  <a:pt x="232439" y="55431"/>
                </a:lnTo>
                <a:lnTo>
                  <a:pt x="237460" y="78594"/>
                </a:lnTo>
                <a:lnTo>
                  <a:pt x="239935" y="88754"/>
                </a:lnTo>
                <a:lnTo>
                  <a:pt x="249062" y="117988"/>
                </a:lnTo>
                <a:lnTo>
                  <a:pt x="258766" y="141560"/>
                </a:lnTo>
                <a:lnTo>
                  <a:pt x="260462" y="145242"/>
                </a:lnTo>
                <a:lnTo>
                  <a:pt x="261844" y="148347"/>
                </a:lnTo>
                <a:lnTo>
                  <a:pt x="263571" y="152142"/>
                </a:lnTo>
                <a:lnTo>
                  <a:pt x="265643" y="155592"/>
                </a:lnTo>
                <a:lnTo>
                  <a:pt x="267371" y="158697"/>
                </a:lnTo>
                <a:lnTo>
                  <a:pt x="269060" y="162072"/>
                </a:lnTo>
                <a:lnTo>
                  <a:pt x="276558" y="175613"/>
                </a:lnTo>
                <a:lnTo>
                  <a:pt x="277043" y="176291"/>
                </a:lnTo>
                <a:lnTo>
                  <a:pt x="278368" y="178791"/>
                </a:lnTo>
                <a:lnTo>
                  <a:pt x="295536" y="204348"/>
                </a:lnTo>
                <a:lnTo>
                  <a:pt x="296042" y="204926"/>
                </a:lnTo>
                <a:lnTo>
                  <a:pt x="298303" y="207936"/>
                </a:lnTo>
                <a:lnTo>
                  <a:pt x="316635" y="230146"/>
                </a:lnTo>
                <a:lnTo>
                  <a:pt x="318158" y="231823"/>
                </a:lnTo>
                <a:lnTo>
                  <a:pt x="341295" y="254260"/>
                </a:lnTo>
                <a:lnTo>
                  <a:pt x="364855" y="274566"/>
                </a:lnTo>
                <a:lnTo>
                  <a:pt x="383255" y="287072"/>
                </a:lnTo>
                <a:lnTo>
                  <a:pt x="390494" y="291862"/>
                </a:lnTo>
                <a:lnTo>
                  <a:pt x="396550" y="295622"/>
                </a:lnTo>
                <a:lnTo>
                  <a:pt x="409034" y="302598"/>
                </a:lnTo>
                <a:lnTo>
                  <a:pt x="419364" y="308079"/>
                </a:lnTo>
                <a:lnTo>
                  <a:pt x="431109" y="313598"/>
                </a:lnTo>
                <a:lnTo>
                  <a:pt x="433413" y="314749"/>
                </a:lnTo>
                <a:lnTo>
                  <a:pt x="445124" y="319611"/>
                </a:lnTo>
                <a:lnTo>
                  <a:pt x="450799" y="321878"/>
                </a:lnTo>
                <a:lnTo>
                  <a:pt x="462312" y="325820"/>
                </a:lnTo>
                <a:lnTo>
                  <a:pt x="480775" y="331449"/>
                </a:lnTo>
                <a:lnTo>
                  <a:pt x="490525" y="333953"/>
                </a:lnTo>
                <a:lnTo>
                  <a:pt x="499752" y="335946"/>
                </a:lnTo>
                <a:lnTo>
                  <a:pt x="520232" y="340163"/>
                </a:lnTo>
                <a:lnTo>
                  <a:pt x="554124" y="343209"/>
                </a:lnTo>
                <a:lnTo>
                  <a:pt x="555122" y="343268"/>
                </a:lnTo>
                <a:lnTo>
                  <a:pt x="555467" y="343294"/>
                </a:lnTo>
                <a:lnTo>
                  <a:pt x="572739" y="343958"/>
                </a:lnTo>
                <a:lnTo>
                  <a:pt x="3862707" y="343958"/>
                </a:lnTo>
                <a:lnTo>
                  <a:pt x="3941813" y="343958"/>
                </a:lnTo>
                <a:lnTo>
                  <a:pt x="3941813" y="388462"/>
                </a:lnTo>
                <a:lnTo>
                  <a:pt x="3940777" y="407437"/>
                </a:lnTo>
                <a:lnTo>
                  <a:pt x="3933868" y="442971"/>
                </a:lnTo>
                <a:lnTo>
                  <a:pt x="3920050" y="476090"/>
                </a:lnTo>
                <a:lnTo>
                  <a:pt x="3900015" y="505415"/>
                </a:lnTo>
                <a:lnTo>
                  <a:pt x="3875143" y="530254"/>
                </a:lnTo>
                <a:lnTo>
                  <a:pt x="3846126" y="549919"/>
                </a:lnTo>
                <a:lnTo>
                  <a:pt x="3812964" y="563718"/>
                </a:lnTo>
                <a:lnTo>
                  <a:pt x="3777038" y="570963"/>
                </a:lnTo>
                <a:lnTo>
                  <a:pt x="3758385" y="571998"/>
                </a:lnTo>
                <a:lnTo>
                  <a:pt x="572739" y="571998"/>
                </a:lnTo>
                <a:lnTo>
                  <a:pt x="543032" y="571308"/>
                </a:lnTo>
                <a:lnTo>
                  <a:pt x="485343" y="565788"/>
                </a:lnTo>
                <a:lnTo>
                  <a:pt x="429382" y="554059"/>
                </a:lnTo>
                <a:lnTo>
                  <a:pt x="375493" y="537499"/>
                </a:lnTo>
                <a:lnTo>
                  <a:pt x="324023" y="515419"/>
                </a:lnTo>
                <a:lnTo>
                  <a:pt x="275661" y="489200"/>
                </a:lnTo>
                <a:lnTo>
                  <a:pt x="229718" y="458495"/>
                </a:lnTo>
                <a:lnTo>
                  <a:pt x="187574" y="423306"/>
                </a:lnTo>
                <a:lnTo>
                  <a:pt x="148539" y="384667"/>
                </a:lnTo>
                <a:lnTo>
                  <a:pt x="113650" y="342233"/>
                </a:lnTo>
                <a:lnTo>
                  <a:pt x="82906" y="296349"/>
                </a:lnTo>
                <a:lnTo>
                  <a:pt x="56307" y="248050"/>
                </a:lnTo>
                <a:lnTo>
                  <a:pt x="34544" y="196646"/>
                </a:lnTo>
                <a:lnTo>
                  <a:pt x="17963" y="143172"/>
                </a:lnTo>
                <a:lnTo>
                  <a:pt x="6218" y="87283"/>
                </a:lnTo>
                <a:lnTo>
                  <a:pt x="346" y="29669"/>
                </a:ln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1F20"/>
              </a:solidFill>
              <a:effectLst/>
              <a:uLnTx/>
              <a:uFillTx/>
              <a:latin typeface="Arial"/>
              <a:ea typeface="+mn-ea"/>
              <a:cs typeface="+mn-cs"/>
            </a:endParaRPr>
          </a:p>
        </p:txBody>
      </p:sp>
      <p:sp>
        <p:nvSpPr>
          <p:cNvPr id="44" name="Freeform 585">
            <a:extLst>
              <a:ext uri="{FF2B5EF4-FFF2-40B4-BE49-F238E27FC236}">
                <a16:creationId xmlns:a16="http://schemas.microsoft.com/office/drawing/2014/main" id="{903CFD27-CA8C-4E82-11F3-FF299C53C033}"/>
              </a:ext>
            </a:extLst>
          </p:cNvPr>
          <p:cNvSpPr>
            <a:spLocks/>
          </p:cNvSpPr>
          <p:nvPr/>
        </p:nvSpPr>
        <p:spPr bwMode="auto">
          <a:xfrm>
            <a:off x="1206578" y="3241548"/>
            <a:ext cx="689438" cy="6894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191C21"/>
                </a:solidFill>
                <a:effectLst/>
                <a:uLnTx/>
                <a:uFillTx/>
                <a:latin typeface="Arial"/>
                <a:ea typeface="+mn-ea"/>
                <a:cs typeface="+mn-cs"/>
              </a:rPr>
              <a:t>3</a:t>
            </a:r>
          </a:p>
        </p:txBody>
      </p:sp>
      <p:sp>
        <p:nvSpPr>
          <p:cNvPr id="45" name="Freeform 588">
            <a:extLst>
              <a:ext uri="{FF2B5EF4-FFF2-40B4-BE49-F238E27FC236}">
                <a16:creationId xmlns:a16="http://schemas.microsoft.com/office/drawing/2014/main" id="{6F20C3CB-A476-1FDA-8810-6BF8074056EE}"/>
              </a:ext>
            </a:extLst>
          </p:cNvPr>
          <p:cNvSpPr>
            <a:spLocks/>
          </p:cNvSpPr>
          <p:nvPr/>
        </p:nvSpPr>
        <p:spPr bwMode="auto">
          <a:xfrm>
            <a:off x="978608" y="1361650"/>
            <a:ext cx="1145378" cy="1143996"/>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6" name="Freeform 587">
            <a:extLst>
              <a:ext uri="{FF2B5EF4-FFF2-40B4-BE49-F238E27FC236}">
                <a16:creationId xmlns:a16="http://schemas.microsoft.com/office/drawing/2014/main" id="{FB17BABA-AF10-11AB-2FEC-0DD782C39ECB}"/>
              </a:ext>
            </a:extLst>
          </p:cNvPr>
          <p:cNvSpPr>
            <a:spLocks/>
          </p:cNvSpPr>
          <p:nvPr/>
        </p:nvSpPr>
        <p:spPr bwMode="auto">
          <a:xfrm>
            <a:off x="1206578" y="1588239"/>
            <a:ext cx="689438" cy="689438"/>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7" name="Freeform 589">
            <a:extLst>
              <a:ext uri="{FF2B5EF4-FFF2-40B4-BE49-F238E27FC236}">
                <a16:creationId xmlns:a16="http://schemas.microsoft.com/office/drawing/2014/main" id="{E68C13DA-1EE0-3995-CED3-EA7069E5277F}"/>
              </a:ext>
            </a:extLst>
          </p:cNvPr>
          <p:cNvSpPr>
            <a:spLocks/>
          </p:cNvSpPr>
          <p:nvPr/>
        </p:nvSpPr>
        <p:spPr bwMode="auto">
          <a:xfrm>
            <a:off x="1850421" y="1937794"/>
            <a:ext cx="160270" cy="392385"/>
          </a:xfrm>
          <a:custGeom>
            <a:avLst/>
            <a:gdLst>
              <a:gd name="T0" fmla="*/ 462 w 462"/>
              <a:gd name="T1" fmla="*/ 981 h 1135"/>
              <a:gd name="T2" fmla="*/ 460 w 462"/>
              <a:gd name="T3" fmla="*/ 985 h 1135"/>
              <a:gd name="T4" fmla="*/ 457 w 462"/>
              <a:gd name="T5" fmla="*/ 989 h 1135"/>
              <a:gd name="T6" fmla="*/ 443 w 462"/>
              <a:gd name="T7" fmla="*/ 1007 h 1135"/>
              <a:gd name="T8" fmla="*/ 427 w 462"/>
              <a:gd name="T9" fmla="*/ 1025 h 1135"/>
              <a:gd name="T10" fmla="*/ 418 w 462"/>
              <a:gd name="T11" fmla="*/ 1037 h 1135"/>
              <a:gd name="T12" fmla="*/ 409 w 462"/>
              <a:gd name="T13" fmla="*/ 1048 h 1135"/>
              <a:gd name="T14" fmla="*/ 408 w 462"/>
              <a:gd name="T15" fmla="*/ 1050 h 1135"/>
              <a:gd name="T16" fmla="*/ 408 w 462"/>
              <a:gd name="T17" fmla="*/ 1050 h 1135"/>
              <a:gd name="T18" fmla="*/ 396 w 462"/>
              <a:gd name="T19" fmla="*/ 1064 h 1135"/>
              <a:gd name="T20" fmla="*/ 383 w 462"/>
              <a:gd name="T21" fmla="*/ 1078 h 1135"/>
              <a:gd name="T22" fmla="*/ 369 w 462"/>
              <a:gd name="T23" fmla="*/ 1095 h 1135"/>
              <a:gd name="T24" fmla="*/ 355 w 462"/>
              <a:gd name="T25" fmla="*/ 1110 h 1135"/>
              <a:gd name="T26" fmla="*/ 343 w 462"/>
              <a:gd name="T27" fmla="*/ 1123 h 1135"/>
              <a:gd name="T28" fmla="*/ 332 w 462"/>
              <a:gd name="T29" fmla="*/ 1135 h 1135"/>
              <a:gd name="T30" fmla="*/ 276 w 462"/>
              <a:gd name="T31" fmla="*/ 1062 h 1135"/>
              <a:gd name="T32" fmla="*/ 177 w 462"/>
              <a:gd name="T33" fmla="*/ 908 h 1135"/>
              <a:gd name="T34" fmla="*/ 94 w 462"/>
              <a:gd name="T35" fmla="*/ 745 h 1135"/>
              <a:gd name="T36" fmla="*/ 27 w 462"/>
              <a:gd name="T37" fmla="*/ 573 h 1135"/>
              <a:gd name="T38" fmla="*/ 0 w 462"/>
              <a:gd name="T39" fmla="*/ 483 h 1135"/>
              <a:gd name="T40" fmla="*/ 36 w 462"/>
              <a:gd name="T41" fmla="*/ 417 h 1135"/>
              <a:gd name="T42" fmla="*/ 65 w 462"/>
              <a:gd name="T43" fmla="*/ 348 h 1135"/>
              <a:gd name="T44" fmla="*/ 68 w 462"/>
              <a:gd name="T45" fmla="*/ 341 h 1135"/>
              <a:gd name="T46" fmla="*/ 71 w 462"/>
              <a:gd name="T47" fmla="*/ 333 h 1135"/>
              <a:gd name="T48" fmla="*/ 81 w 462"/>
              <a:gd name="T49" fmla="*/ 303 h 1135"/>
              <a:gd name="T50" fmla="*/ 90 w 462"/>
              <a:gd name="T51" fmla="*/ 273 h 1135"/>
              <a:gd name="T52" fmla="*/ 94 w 462"/>
              <a:gd name="T53" fmla="*/ 263 h 1135"/>
              <a:gd name="T54" fmla="*/ 97 w 462"/>
              <a:gd name="T55" fmla="*/ 252 h 1135"/>
              <a:gd name="T56" fmla="*/ 100 w 462"/>
              <a:gd name="T57" fmla="*/ 242 h 1135"/>
              <a:gd name="T58" fmla="*/ 102 w 462"/>
              <a:gd name="T59" fmla="*/ 232 h 1135"/>
              <a:gd name="T60" fmla="*/ 105 w 462"/>
              <a:gd name="T61" fmla="*/ 223 h 1135"/>
              <a:gd name="T62" fmla="*/ 106 w 462"/>
              <a:gd name="T63" fmla="*/ 214 h 1135"/>
              <a:gd name="T64" fmla="*/ 110 w 462"/>
              <a:gd name="T65" fmla="*/ 201 h 1135"/>
              <a:gd name="T66" fmla="*/ 112 w 462"/>
              <a:gd name="T67" fmla="*/ 189 h 1135"/>
              <a:gd name="T68" fmla="*/ 112 w 462"/>
              <a:gd name="T69" fmla="*/ 182 h 1135"/>
              <a:gd name="T70" fmla="*/ 114 w 462"/>
              <a:gd name="T71" fmla="*/ 177 h 1135"/>
              <a:gd name="T72" fmla="*/ 116 w 462"/>
              <a:gd name="T73" fmla="*/ 166 h 1135"/>
              <a:gd name="T74" fmla="*/ 119 w 462"/>
              <a:gd name="T75" fmla="*/ 153 h 1135"/>
              <a:gd name="T76" fmla="*/ 125 w 462"/>
              <a:gd name="T77" fmla="*/ 109 h 1135"/>
              <a:gd name="T78" fmla="*/ 129 w 462"/>
              <a:gd name="T79" fmla="*/ 64 h 1135"/>
              <a:gd name="T80" fmla="*/ 131 w 462"/>
              <a:gd name="T81" fmla="*/ 53 h 1135"/>
              <a:gd name="T82" fmla="*/ 131 w 462"/>
              <a:gd name="T83" fmla="*/ 41 h 1135"/>
              <a:gd name="T84" fmla="*/ 131 w 462"/>
              <a:gd name="T85" fmla="*/ 39 h 1135"/>
              <a:gd name="T86" fmla="*/ 131 w 462"/>
              <a:gd name="T87" fmla="*/ 35 h 1135"/>
              <a:gd name="T88" fmla="*/ 132 w 462"/>
              <a:gd name="T89" fmla="*/ 26 h 1135"/>
              <a:gd name="T90" fmla="*/ 132 w 462"/>
              <a:gd name="T91" fmla="*/ 17 h 1135"/>
              <a:gd name="T92" fmla="*/ 132 w 462"/>
              <a:gd name="T93" fmla="*/ 7 h 1135"/>
              <a:gd name="T94" fmla="*/ 132 w 462"/>
              <a:gd name="T95" fmla="*/ 0 h 1135"/>
              <a:gd name="T96" fmla="*/ 133 w 462"/>
              <a:gd name="T97" fmla="*/ 68 h 1135"/>
              <a:gd name="T98" fmla="*/ 145 w 462"/>
              <a:gd name="T99" fmla="*/ 204 h 1135"/>
              <a:gd name="T100" fmla="*/ 168 w 462"/>
              <a:gd name="T101" fmla="*/ 335 h 1135"/>
              <a:gd name="T102" fmla="*/ 201 w 462"/>
              <a:gd name="T103" fmla="*/ 464 h 1135"/>
              <a:gd name="T104" fmla="*/ 243 w 462"/>
              <a:gd name="T105" fmla="*/ 587 h 1135"/>
              <a:gd name="T106" fmla="*/ 295 w 462"/>
              <a:gd name="T107" fmla="*/ 706 h 1135"/>
              <a:gd name="T108" fmla="*/ 355 w 462"/>
              <a:gd name="T109" fmla="*/ 820 h 1135"/>
              <a:gd name="T110" fmla="*/ 425 w 462"/>
              <a:gd name="T111" fmla="*/ 929 h 1135"/>
              <a:gd name="T112" fmla="*/ 462 w 462"/>
              <a:gd name="T113" fmla="*/ 981 h 1135"/>
              <a:gd name="T114" fmla="*/ 462 w 462"/>
              <a:gd name="T115" fmla="*/ 981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2" h="1135">
                <a:moveTo>
                  <a:pt x="462" y="981"/>
                </a:moveTo>
                <a:lnTo>
                  <a:pt x="460" y="985"/>
                </a:lnTo>
                <a:lnTo>
                  <a:pt x="457" y="989"/>
                </a:lnTo>
                <a:lnTo>
                  <a:pt x="443" y="1007"/>
                </a:lnTo>
                <a:lnTo>
                  <a:pt x="427" y="1025"/>
                </a:lnTo>
                <a:lnTo>
                  <a:pt x="418" y="1037"/>
                </a:lnTo>
                <a:lnTo>
                  <a:pt x="409" y="1048"/>
                </a:lnTo>
                <a:lnTo>
                  <a:pt x="408" y="1050"/>
                </a:lnTo>
                <a:lnTo>
                  <a:pt x="408" y="1050"/>
                </a:lnTo>
                <a:lnTo>
                  <a:pt x="396" y="1064"/>
                </a:lnTo>
                <a:lnTo>
                  <a:pt x="383" y="1078"/>
                </a:lnTo>
                <a:lnTo>
                  <a:pt x="369" y="1095"/>
                </a:lnTo>
                <a:lnTo>
                  <a:pt x="355" y="1110"/>
                </a:lnTo>
                <a:lnTo>
                  <a:pt x="343" y="1123"/>
                </a:lnTo>
                <a:lnTo>
                  <a:pt x="332" y="1135"/>
                </a:lnTo>
                <a:lnTo>
                  <a:pt x="276" y="1062"/>
                </a:lnTo>
                <a:lnTo>
                  <a:pt x="177" y="908"/>
                </a:lnTo>
                <a:lnTo>
                  <a:pt x="94" y="745"/>
                </a:lnTo>
                <a:lnTo>
                  <a:pt x="27" y="573"/>
                </a:lnTo>
                <a:lnTo>
                  <a:pt x="0" y="483"/>
                </a:lnTo>
                <a:lnTo>
                  <a:pt x="36" y="417"/>
                </a:lnTo>
                <a:lnTo>
                  <a:pt x="65" y="348"/>
                </a:lnTo>
                <a:lnTo>
                  <a:pt x="68" y="341"/>
                </a:lnTo>
                <a:lnTo>
                  <a:pt x="71" y="333"/>
                </a:lnTo>
                <a:lnTo>
                  <a:pt x="81" y="303"/>
                </a:lnTo>
                <a:lnTo>
                  <a:pt x="90" y="273"/>
                </a:lnTo>
                <a:lnTo>
                  <a:pt x="94" y="263"/>
                </a:lnTo>
                <a:lnTo>
                  <a:pt x="97" y="252"/>
                </a:lnTo>
                <a:lnTo>
                  <a:pt x="100" y="242"/>
                </a:lnTo>
                <a:lnTo>
                  <a:pt x="102" y="232"/>
                </a:lnTo>
                <a:lnTo>
                  <a:pt x="105" y="223"/>
                </a:lnTo>
                <a:lnTo>
                  <a:pt x="106" y="214"/>
                </a:lnTo>
                <a:lnTo>
                  <a:pt x="110" y="201"/>
                </a:lnTo>
                <a:lnTo>
                  <a:pt x="112" y="189"/>
                </a:lnTo>
                <a:lnTo>
                  <a:pt x="112" y="182"/>
                </a:lnTo>
                <a:lnTo>
                  <a:pt x="114" y="177"/>
                </a:lnTo>
                <a:lnTo>
                  <a:pt x="116" y="166"/>
                </a:lnTo>
                <a:lnTo>
                  <a:pt x="119" y="153"/>
                </a:lnTo>
                <a:lnTo>
                  <a:pt x="125" y="109"/>
                </a:lnTo>
                <a:lnTo>
                  <a:pt x="129" y="64"/>
                </a:lnTo>
                <a:lnTo>
                  <a:pt x="131" y="53"/>
                </a:lnTo>
                <a:lnTo>
                  <a:pt x="131" y="41"/>
                </a:lnTo>
                <a:lnTo>
                  <a:pt x="131" y="39"/>
                </a:lnTo>
                <a:lnTo>
                  <a:pt x="131" y="35"/>
                </a:lnTo>
                <a:lnTo>
                  <a:pt x="132" y="26"/>
                </a:lnTo>
                <a:lnTo>
                  <a:pt x="132" y="17"/>
                </a:lnTo>
                <a:lnTo>
                  <a:pt x="132" y="7"/>
                </a:lnTo>
                <a:lnTo>
                  <a:pt x="132" y="0"/>
                </a:lnTo>
                <a:lnTo>
                  <a:pt x="133" y="68"/>
                </a:lnTo>
                <a:lnTo>
                  <a:pt x="145" y="204"/>
                </a:lnTo>
                <a:lnTo>
                  <a:pt x="168" y="335"/>
                </a:lnTo>
                <a:lnTo>
                  <a:pt x="201" y="464"/>
                </a:lnTo>
                <a:lnTo>
                  <a:pt x="243" y="587"/>
                </a:lnTo>
                <a:lnTo>
                  <a:pt x="295" y="706"/>
                </a:lnTo>
                <a:lnTo>
                  <a:pt x="355" y="820"/>
                </a:lnTo>
                <a:lnTo>
                  <a:pt x="425" y="929"/>
                </a:lnTo>
                <a:lnTo>
                  <a:pt x="462" y="981"/>
                </a:lnTo>
                <a:lnTo>
                  <a:pt x="462" y="981"/>
                </a:lnTo>
                <a:close/>
              </a:path>
            </a:pathLst>
          </a:custGeom>
          <a:solidFill>
            <a:srgbClr val="0089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8" name="Freeform 590">
            <a:extLst>
              <a:ext uri="{FF2B5EF4-FFF2-40B4-BE49-F238E27FC236}">
                <a16:creationId xmlns:a16="http://schemas.microsoft.com/office/drawing/2014/main" id="{B94EFF59-075B-53CA-1739-254425C934AA}"/>
              </a:ext>
            </a:extLst>
          </p:cNvPr>
          <p:cNvSpPr>
            <a:spLocks/>
          </p:cNvSpPr>
          <p:nvPr/>
        </p:nvSpPr>
        <p:spPr bwMode="auto">
          <a:xfrm>
            <a:off x="1850421" y="1937794"/>
            <a:ext cx="160270" cy="392385"/>
          </a:xfrm>
          <a:custGeom>
            <a:avLst/>
            <a:gdLst>
              <a:gd name="T0" fmla="*/ 132 w 462"/>
              <a:gd name="T1" fmla="*/ 0 h 1135"/>
              <a:gd name="T2" fmla="*/ 132 w 462"/>
              <a:gd name="T3" fmla="*/ 7 h 1135"/>
              <a:gd name="T4" fmla="*/ 132 w 462"/>
              <a:gd name="T5" fmla="*/ 17 h 1135"/>
              <a:gd name="T6" fmla="*/ 132 w 462"/>
              <a:gd name="T7" fmla="*/ 26 h 1135"/>
              <a:gd name="T8" fmla="*/ 131 w 462"/>
              <a:gd name="T9" fmla="*/ 35 h 1135"/>
              <a:gd name="T10" fmla="*/ 131 w 462"/>
              <a:gd name="T11" fmla="*/ 39 h 1135"/>
              <a:gd name="T12" fmla="*/ 131 w 462"/>
              <a:gd name="T13" fmla="*/ 41 h 1135"/>
              <a:gd name="T14" fmla="*/ 131 w 462"/>
              <a:gd name="T15" fmla="*/ 53 h 1135"/>
              <a:gd name="T16" fmla="*/ 129 w 462"/>
              <a:gd name="T17" fmla="*/ 64 h 1135"/>
              <a:gd name="T18" fmla="*/ 125 w 462"/>
              <a:gd name="T19" fmla="*/ 109 h 1135"/>
              <a:gd name="T20" fmla="*/ 119 w 462"/>
              <a:gd name="T21" fmla="*/ 153 h 1135"/>
              <a:gd name="T22" fmla="*/ 116 w 462"/>
              <a:gd name="T23" fmla="*/ 166 h 1135"/>
              <a:gd name="T24" fmla="*/ 114 w 462"/>
              <a:gd name="T25" fmla="*/ 177 h 1135"/>
              <a:gd name="T26" fmla="*/ 112 w 462"/>
              <a:gd name="T27" fmla="*/ 182 h 1135"/>
              <a:gd name="T28" fmla="*/ 112 w 462"/>
              <a:gd name="T29" fmla="*/ 189 h 1135"/>
              <a:gd name="T30" fmla="*/ 110 w 462"/>
              <a:gd name="T31" fmla="*/ 201 h 1135"/>
              <a:gd name="T32" fmla="*/ 106 w 462"/>
              <a:gd name="T33" fmla="*/ 214 h 1135"/>
              <a:gd name="T34" fmla="*/ 105 w 462"/>
              <a:gd name="T35" fmla="*/ 223 h 1135"/>
              <a:gd name="T36" fmla="*/ 102 w 462"/>
              <a:gd name="T37" fmla="*/ 232 h 1135"/>
              <a:gd name="T38" fmla="*/ 100 w 462"/>
              <a:gd name="T39" fmla="*/ 242 h 1135"/>
              <a:gd name="T40" fmla="*/ 97 w 462"/>
              <a:gd name="T41" fmla="*/ 252 h 1135"/>
              <a:gd name="T42" fmla="*/ 94 w 462"/>
              <a:gd name="T43" fmla="*/ 263 h 1135"/>
              <a:gd name="T44" fmla="*/ 90 w 462"/>
              <a:gd name="T45" fmla="*/ 273 h 1135"/>
              <a:gd name="T46" fmla="*/ 81 w 462"/>
              <a:gd name="T47" fmla="*/ 303 h 1135"/>
              <a:gd name="T48" fmla="*/ 71 w 462"/>
              <a:gd name="T49" fmla="*/ 333 h 1135"/>
              <a:gd name="T50" fmla="*/ 65 w 462"/>
              <a:gd name="T51" fmla="*/ 348 h 1135"/>
              <a:gd name="T52" fmla="*/ 36 w 462"/>
              <a:gd name="T53" fmla="*/ 417 h 1135"/>
              <a:gd name="T54" fmla="*/ 0 w 462"/>
              <a:gd name="T55" fmla="*/ 483 h 1135"/>
              <a:gd name="T56" fmla="*/ 27 w 462"/>
              <a:gd name="T57" fmla="*/ 573 h 1135"/>
              <a:gd name="T58" fmla="*/ 94 w 462"/>
              <a:gd name="T59" fmla="*/ 745 h 1135"/>
              <a:gd name="T60" fmla="*/ 177 w 462"/>
              <a:gd name="T61" fmla="*/ 908 h 1135"/>
              <a:gd name="T62" fmla="*/ 276 w 462"/>
              <a:gd name="T63" fmla="*/ 1062 h 1135"/>
              <a:gd name="T64" fmla="*/ 332 w 462"/>
              <a:gd name="T65" fmla="*/ 1135 h 1135"/>
              <a:gd name="T66" fmla="*/ 343 w 462"/>
              <a:gd name="T67" fmla="*/ 1123 h 1135"/>
              <a:gd name="T68" fmla="*/ 355 w 462"/>
              <a:gd name="T69" fmla="*/ 1110 h 1135"/>
              <a:gd name="T70" fmla="*/ 369 w 462"/>
              <a:gd name="T71" fmla="*/ 1095 h 1135"/>
              <a:gd name="T72" fmla="*/ 383 w 462"/>
              <a:gd name="T73" fmla="*/ 1078 h 1135"/>
              <a:gd name="T74" fmla="*/ 396 w 462"/>
              <a:gd name="T75" fmla="*/ 1064 h 1135"/>
              <a:gd name="T76" fmla="*/ 408 w 462"/>
              <a:gd name="T77" fmla="*/ 1050 h 1135"/>
              <a:gd name="T78" fmla="*/ 408 w 462"/>
              <a:gd name="T79" fmla="*/ 1050 h 1135"/>
              <a:gd name="T80" fmla="*/ 409 w 462"/>
              <a:gd name="T81" fmla="*/ 1048 h 1135"/>
              <a:gd name="T82" fmla="*/ 418 w 462"/>
              <a:gd name="T83" fmla="*/ 1037 h 1135"/>
              <a:gd name="T84" fmla="*/ 427 w 462"/>
              <a:gd name="T85" fmla="*/ 1025 h 1135"/>
              <a:gd name="T86" fmla="*/ 443 w 462"/>
              <a:gd name="T87" fmla="*/ 1007 h 1135"/>
              <a:gd name="T88" fmla="*/ 457 w 462"/>
              <a:gd name="T89" fmla="*/ 989 h 1135"/>
              <a:gd name="T90" fmla="*/ 460 w 462"/>
              <a:gd name="T91" fmla="*/ 985 h 1135"/>
              <a:gd name="T92" fmla="*/ 462 w 462"/>
              <a:gd name="T93" fmla="*/ 981 h 1135"/>
              <a:gd name="T94" fmla="*/ 425 w 462"/>
              <a:gd name="T95" fmla="*/ 929 h 1135"/>
              <a:gd name="T96" fmla="*/ 355 w 462"/>
              <a:gd name="T97" fmla="*/ 820 h 1135"/>
              <a:gd name="T98" fmla="*/ 295 w 462"/>
              <a:gd name="T99" fmla="*/ 706 h 1135"/>
              <a:gd name="T100" fmla="*/ 243 w 462"/>
              <a:gd name="T101" fmla="*/ 587 h 1135"/>
              <a:gd name="T102" fmla="*/ 201 w 462"/>
              <a:gd name="T103" fmla="*/ 464 h 1135"/>
              <a:gd name="T104" fmla="*/ 168 w 462"/>
              <a:gd name="T105" fmla="*/ 335 h 1135"/>
              <a:gd name="T106" fmla="*/ 145 w 462"/>
              <a:gd name="T107" fmla="*/ 204 h 1135"/>
              <a:gd name="T108" fmla="*/ 133 w 462"/>
              <a:gd name="T109" fmla="*/ 68 h 1135"/>
              <a:gd name="T110" fmla="*/ 132 w 462"/>
              <a:gd name="T111" fmla="*/ 0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2" h="1135">
                <a:moveTo>
                  <a:pt x="132" y="0"/>
                </a:moveTo>
                <a:lnTo>
                  <a:pt x="132" y="7"/>
                </a:lnTo>
                <a:lnTo>
                  <a:pt x="132" y="17"/>
                </a:lnTo>
                <a:lnTo>
                  <a:pt x="132" y="26"/>
                </a:lnTo>
                <a:lnTo>
                  <a:pt x="131" y="35"/>
                </a:lnTo>
                <a:lnTo>
                  <a:pt x="131" y="39"/>
                </a:lnTo>
                <a:lnTo>
                  <a:pt x="131" y="41"/>
                </a:lnTo>
                <a:lnTo>
                  <a:pt x="131" y="53"/>
                </a:lnTo>
                <a:lnTo>
                  <a:pt x="129" y="64"/>
                </a:lnTo>
                <a:lnTo>
                  <a:pt x="125" y="109"/>
                </a:lnTo>
                <a:lnTo>
                  <a:pt x="119" y="153"/>
                </a:lnTo>
                <a:lnTo>
                  <a:pt x="116" y="166"/>
                </a:lnTo>
                <a:lnTo>
                  <a:pt x="114" y="177"/>
                </a:lnTo>
                <a:lnTo>
                  <a:pt x="112" y="182"/>
                </a:lnTo>
                <a:lnTo>
                  <a:pt x="112" y="189"/>
                </a:lnTo>
                <a:lnTo>
                  <a:pt x="110" y="201"/>
                </a:lnTo>
                <a:lnTo>
                  <a:pt x="106" y="214"/>
                </a:lnTo>
                <a:lnTo>
                  <a:pt x="105" y="223"/>
                </a:lnTo>
                <a:lnTo>
                  <a:pt x="102" y="232"/>
                </a:lnTo>
                <a:lnTo>
                  <a:pt x="100" y="242"/>
                </a:lnTo>
                <a:lnTo>
                  <a:pt x="97" y="252"/>
                </a:lnTo>
                <a:lnTo>
                  <a:pt x="94" y="263"/>
                </a:lnTo>
                <a:lnTo>
                  <a:pt x="90" y="273"/>
                </a:lnTo>
                <a:lnTo>
                  <a:pt x="81" y="303"/>
                </a:lnTo>
                <a:lnTo>
                  <a:pt x="71" y="333"/>
                </a:lnTo>
                <a:lnTo>
                  <a:pt x="65" y="348"/>
                </a:lnTo>
                <a:lnTo>
                  <a:pt x="36" y="417"/>
                </a:lnTo>
                <a:lnTo>
                  <a:pt x="0" y="483"/>
                </a:lnTo>
                <a:lnTo>
                  <a:pt x="27" y="573"/>
                </a:lnTo>
                <a:lnTo>
                  <a:pt x="94" y="745"/>
                </a:lnTo>
                <a:lnTo>
                  <a:pt x="177" y="908"/>
                </a:lnTo>
                <a:lnTo>
                  <a:pt x="276" y="1062"/>
                </a:lnTo>
                <a:lnTo>
                  <a:pt x="332" y="1135"/>
                </a:lnTo>
                <a:lnTo>
                  <a:pt x="343" y="1123"/>
                </a:lnTo>
                <a:lnTo>
                  <a:pt x="355" y="1110"/>
                </a:lnTo>
                <a:lnTo>
                  <a:pt x="369" y="1095"/>
                </a:lnTo>
                <a:lnTo>
                  <a:pt x="383" y="1078"/>
                </a:lnTo>
                <a:lnTo>
                  <a:pt x="396" y="1064"/>
                </a:lnTo>
                <a:lnTo>
                  <a:pt x="408" y="1050"/>
                </a:lnTo>
                <a:lnTo>
                  <a:pt x="408" y="1050"/>
                </a:lnTo>
                <a:lnTo>
                  <a:pt x="409" y="1048"/>
                </a:lnTo>
                <a:lnTo>
                  <a:pt x="418" y="1037"/>
                </a:lnTo>
                <a:lnTo>
                  <a:pt x="427" y="1025"/>
                </a:lnTo>
                <a:lnTo>
                  <a:pt x="443" y="1007"/>
                </a:lnTo>
                <a:lnTo>
                  <a:pt x="457" y="989"/>
                </a:lnTo>
                <a:lnTo>
                  <a:pt x="460" y="985"/>
                </a:lnTo>
                <a:lnTo>
                  <a:pt x="462" y="981"/>
                </a:lnTo>
                <a:lnTo>
                  <a:pt x="425" y="929"/>
                </a:lnTo>
                <a:lnTo>
                  <a:pt x="355" y="820"/>
                </a:lnTo>
                <a:lnTo>
                  <a:pt x="295" y="706"/>
                </a:lnTo>
                <a:lnTo>
                  <a:pt x="243" y="587"/>
                </a:lnTo>
                <a:lnTo>
                  <a:pt x="201" y="464"/>
                </a:lnTo>
                <a:lnTo>
                  <a:pt x="168" y="335"/>
                </a:lnTo>
                <a:lnTo>
                  <a:pt x="145" y="204"/>
                </a:lnTo>
                <a:lnTo>
                  <a:pt x="133" y="68"/>
                </a:lnTo>
                <a:lnTo>
                  <a:pt x="132" y="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9" name="Freeform: Shape 97">
            <a:extLst>
              <a:ext uri="{FF2B5EF4-FFF2-40B4-BE49-F238E27FC236}">
                <a16:creationId xmlns:a16="http://schemas.microsoft.com/office/drawing/2014/main" id="{7F1402CA-E872-FFA2-D16B-5E721DEB141F}"/>
              </a:ext>
            </a:extLst>
          </p:cNvPr>
          <p:cNvSpPr>
            <a:spLocks/>
          </p:cNvSpPr>
          <p:nvPr/>
        </p:nvSpPr>
        <p:spPr bwMode="auto">
          <a:xfrm>
            <a:off x="1896016" y="1933648"/>
            <a:ext cx="3941813" cy="571998"/>
          </a:xfrm>
          <a:custGeom>
            <a:avLst/>
            <a:gdLst>
              <a:gd name="connsiteX0" fmla="*/ 0 w 3941813"/>
              <a:gd name="connsiteY0" fmla="*/ 0 h 571998"/>
              <a:gd name="connsiteX1" fmla="*/ 228336 w 3941813"/>
              <a:gd name="connsiteY1" fmla="*/ 0 h 571998"/>
              <a:gd name="connsiteX2" fmla="*/ 228336 w 3941813"/>
              <a:gd name="connsiteY2" fmla="*/ 1035 h 571998"/>
              <a:gd name="connsiteX3" fmla="*/ 228336 w 3941813"/>
              <a:gd name="connsiteY3" fmla="*/ 2070 h 571998"/>
              <a:gd name="connsiteX4" fmla="*/ 228336 w 3941813"/>
              <a:gd name="connsiteY4" fmla="*/ 3450 h 571998"/>
              <a:gd name="connsiteX5" fmla="*/ 228336 w 3941813"/>
              <a:gd name="connsiteY5" fmla="*/ 4485 h 571998"/>
              <a:gd name="connsiteX6" fmla="*/ 228336 w 3941813"/>
              <a:gd name="connsiteY6" fmla="*/ 6555 h 571998"/>
              <a:gd name="connsiteX7" fmla="*/ 228336 w 3941813"/>
              <a:gd name="connsiteY7" fmla="*/ 8625 h 571998"/>
              <a:gd name="connsiteX8" fmla="*/ 228336 w 3941813"/>
              <a:gd name="connsiteY8" fmla="*/ 13110 h 571998"/>
              <a:gd name="connsiteX9" fmla="*/ 228681 w 3941813"/>
              <a:gd name="connsiteY9" fmla="*/ 17595 h 571998"/>
              <a:gd name="connsiteX10" fmla="*/ 228681 w 3941813"/>
              <a:gd name="connsiteY10" fmla="*/ 21045 h 571998"/>
              <a:gd name="connsiteX11" fmla="*/ 229372 w 3941813"/>
              <a:gd name="connsiteY11" fmla="*/ 24495 h 571998"/>
              <a:gd name="connsiteX12" fmla="*/ 229561 w 3941813"/>
              <a:gd name="connsiteY12" fmla="*/ 29949 h 571998"/>
              <a:gd name="connsiteX13" fmla="*/ 230860 w 3941813"/>
              <a:gd name="connsiteY13" fmla="*/ 43059 h 571998"/>
              <a:gd name="connsiteX14" fmla="*/ 231099 w 3941813"/>
              <a:gd name="connsiteY14" fmla="*/ 44849 h 571998"/>
              <a:gd name="connsiteX15" fmla="*/ 231445 w 3941813"/>
              <a:gd name="connsiteY15" fmla="*/ 47954 h 571998"/>
              <a:gd name="connsiteX16" fmla="*/ 231790 w 3941813"/>
              <a:gd name="connsiteY16" fmla="*/ 51059 h 571998"/>
              <a:gd name="connsiteX17" fmla="*/ 232439 w 3941813"/>
              <a:gd name="connsiteY17" fmla="*/ 55431 h 571998"/>
              <a:gd name="connsiteX18" fmla="*/ 237460 w 3941813"/>
              <a:gd name="connsiteY18" fmla="*/ 78594 h 571998"/>
              <a:gd name="connsiteX19" fmla="*/ 239935 w 3941813"/>
              <a:gd name="connsiteY19" fmla="*/ 88754 h 571998"/>
              <a:gd name="connsiteX20" fmla="*/ 249062 w 3941813"/>
              <a:gd name="connsiteY20" fmla="*/ 117988 h 571998"/>
              <a:gd name="connsiteX21" fmla="*/ 258766 w 3941813"/>
              <a:gd name="connsiteY21" fmla="*/ 141560 h 571998"/>
              <a:gd name="connsiteX22" fmla="*/ 260462 w 3941813"/>
              <a:gd name="connsiteY22" fmla="*/ 145242 h 571998"/>
              <a:gd name="connsiteX23" fmla="*/ 261844 w 3941813"/>
              <a:gd name="connsiteY23" fmla="*/ 148347 h 571998"/>
              <a:gd name="connsiteX24" fmla="*/ 263571 w 3941813"/>
              <a:gd name="connsiteY24" fmla="*/ 152142 h 571998"/>
              <a:gd name="connsiteX25" fmla="*/ 265643 w 3941813"/>
              <a:gd name="connsiteY25" fmla="*/ 155592 h 571998"/>
              <a:gd name="connsiteX26" fmla="*/ 267371 w 3941813"/>
              <a:gd name="connsiteY26" fmla="*/ 158697 h 571998"/>
              <a:gd name="connsiteX27" fmla="*/ 269060 w 3941813"/>
              <a:gd name="connsiteY27" fmla="*/ 162072 h 571998"/>
              <a:gd name="connsiteX28" fmla="*/ 276558 w 3941813"/>
              <a:gd name="connsiteY28" fmla="*/ 175613 h 571998"/>
              <a:gd name="connsiteX29" fmla="*/ 277043 w 3941813"/>
              <a:gd name="connsiteY29" fmla="*/ 176291 h 571998"/>
              <a:gd name="connsiteX30" fmla="*/ 278368 w 3941813"/>
              <a:gd name="connsiteY30" fmla="*/ 178791 h 571998"/>
              <a:gd name="connsiteX31" fmla="*/ 295536 w 3941813"/>
              <a:gd name="connsiteY31" fmla="*/ 204348 h 571998"/>
              <a:gd name="connsiteX32" fmla="*/ 296042 w 3941813"/>
              <a:gd name="connsiteY32" fmla="*/ 204926 h 571998"/>
              <a:gd name="connsiteX33" fmla="*/ 298303 w 3941813"/>
              <a:gd name="connsiteY33" fmla="*/ 207936 h 571998"/>
              <a:gd name="connsiteX34" fmla="*/ 316635 w 3941813"/>
              <a:gd name="connsiteY34" fmla="*/ 230146 h 571998"/>
              <a:gd name="connsiteX35" fmla="*/ 318158 w 3941813"/>
              <a:gd name="connsiteY35" fmla="*/ 231823 h 571998"/>
              <a:gd name="connsiteX36" fmla="*/ 341295 w 3941813"/>
              <a:gd name="connsiteY36" fmla="*/ 254260 h 571998"/>
              <a:gd name="connsiteX37" fmla="*/ 364855 w 3941813"/>
              <a:gd name="connsiteY37" fmla="*/ 274566 h 571998"/>
              <a:gd name="connsiteX38" fmla="*/ 383255 w 3941813"/>
              <a:gd name="connsiteY38" fmla="*/ 287072 h 571998"/>
              <a:gd name="connsiteX39" fmla="*/ 390494 w 3941813"/>
              <a:gd name="connsiteY39" fmla="*/ 291862 h 571998"/>
              <a:gd name="connsiteX40" fmla="*/ 396550 w 3941813"/>
              <a:gd name="connsiteY40" fmla="*/ 295622 h 571998"/>
              <a:gd name="connsiteX41" fmla="*/ 409034 w 3941813"/>
              <a:gd name="connsiteY41" fmla="*/ 302598 h 571998"/>
              <a:gd name="connsiteX42" fmla="*/ 419364 w 3941813"/>
              <a:gd name="connsiteY42" fmla="*/ 308079 h 571998"/>
              <a:gd name="connsiteX43" fmla="*/ 431109 w 3941813"/>
              <a:gd name="connsiteY43" fmla="*/ 313598 h 571998"/>
              <a:gd name="connsiteX44" fmla="*/ 433413 w 3941813"/>
              <a:gd name="connsiteY44" fmla="*/ 314749 h 571998"/>
              <a:gd name="connsiteX45" fmla="*/ 445124 w 3941813"/>
              <a:gd name="connsiteY45" fmla="*/ 319611 h 571998"/>
              <a:gd name="connsiteX46" fmla="*/ 450799 w 3941813"/>
              <a:gd name="connsiteY46" fmla="*/ 321878 h 571998"/>
              <a:gd name="connsiteX47" fmla="*/ 462312 w 3941813"/>
              <a:gd name="connsiteY47" fmla="*/ 325820 h 571998"/>
              <a:gd name="connsiteX48" fmla="*/ 480775 w 3941813"/>
              <a:gd name="connsiteY48" fmla="*/ 331449 h 571998"/>
              <a:gd name="connsiteX49" fmla="*/ 490525 w 3941813"/>
              <a:gd name="connsiteY49" fmla="*/ 333953 h 571998"/>
              <a:gd name="connsiteX50" fmla="*/ 499752 w 3941813"/>
              <a:gd name="connsiteY50" fmla="*/ 335946 h 571998"/>
              <a:gd name="connsiteX51" fmla="*/ 520232 w 3941813"/>
              <a:gd name="connsiteY51" fmla="*/ 340163 h 571998"/>
              <a:gd name="connsiteX52" fmla="*/ 554124 w 3941813"/>
              <a:gd name="connsiteY52" fmla="*/ 343209 h 571998"/>
              <a:gd name="connsiteX53" fmla="*/ 555122 w 3941813"/>
              <a:gd name="connsiteY53" fmla="*/ 343268 h 571998"/>
              <a:gd name="connsiteX54" fmla="*/ 555467 w 3941813"/>
              <a:gd name="connsiteY54" fmla="*/ 343294 h 571998"/>
              <a:gd name="connsiteX55" fmla="*/ 572739 w 3941813"/>
              <a:gd name="connsiteY55" fmla="*/ 343958 h 571998"/>
              <a:gd name="connsiteX56" fmla="*/ 3862707 w 3941813"/>
              <a:gd name="connsiteY56" fmla="*/ 343958 h 571998"/>
              <a:gd name="connsiteX57" fmla="*/ 3941813 w 3941813"/>
              <a:gd name="connsiteY57" fmla="*/ 343958 h 571998"/>
              <a:gd name="connsiteX58" fmla="*/ 3941813 w 3941813"/>
              <a:gd name="connsiteY58" fmla="*/ 388462 h 571998"/>
              <a:gd name="connsiteX59" fmla="*/ 3940777 w 3941813"/>
              <a:gd name="connsiteY59" fmla="*/ 407437 h 571998"/>
              <a:gd name="connsiteX60" fmla="*/ 3933868 w 3941813"/>
              <a:gd name="connsiteY60" fmla="*/ 442971 h 571998"/>
              <a:gd name="connsiteX61" fmla="*/ 3920050 w 3941813"/>
              <a:gd name="connsiteY61" fmla="*/ 476090 h 571998"/>
              <a:gd name="connsiteX62" fmla="*/ 3900015 w 3941813"/>
              <a:gd name="connsiteY62" fmla="*/ 505415 h 571998"/>
              <a:gd name="connsiteX63" fmla="*/ 3875143 w 3941813"/>
              <a:gd name="connsiteY63" fmla="*/ 530254 h 571998"/>
              <a:gd name="connsiteX64" fmla="*/ 3846126 w 3941813"/>
              <a:gd name="connsiteY64" fmla="*/ 549919 h 571998"/>
              <a:gd name="connsiteX65" fmla="*/ 3812964 w 3941813"/>
              <a:gd name="connsiteY65" fmla="*/ 563718 h 571998"/>
              <a:gd name="connsiteX66" fmla="*/ 3777038 w 3941813"/>
              <a:gd name="connsiteY66" fmla="*/ 570963 h 571998"/>
              <a:gd name="connsiteX67" fmla="*/ 3758385 w 3941813"/>
              <a:gd name="connsiteY67" fmla="*/ 571998 h 571998"/>
              <a:gd name="connsiteX68" fmla="*/ 572739 w 3941813"/>
              <a:gd name="connsiteY68" fmla="*/ 571998 h 571998"/>
              <a:gd name="connsiteX69" fmla="*/ 543032 w 3941813"/>
              <a:gd name="connsiteY69" fmla="*/ 571308 h 571998"/>
              <a:gd name="connsiteX70" fmla="*/ 485343 w 3941813"/>
              <a:gd name="connsiteY70" fmla="*/ 565788 h 571998"/>
              <a:gd name="connsiteX71" fmla="*/ 429382 w 3941813"/>
              <a:gd name="connsiteY71" fmla="*/ 554059 h 571998"/>
              <a:gd name="connsiteX72" fmla="*/ 375493 w 3941813"/>
              <a:gd name="connsiteY72" fmla="*/ 537499 h 571998"/>
              <a:gd name="connsiteX73" fmla="*/ 324023 w 3941813"/>
              <a:gd name="connsiteY73" fmla="*/ 515419 h 571998"/>
              <a:gd name="connsiteX74" fmla="*/ 275661 w 3941813"/>
              <a:gd name="connsiteY74" fmla="*/ 489200 h 571998"/>
              <a:gd name="connsiteX75" fmla="*/ 229718 w 3941813"/>
              <a:gd name="connsiteY75" fmla="*/ 458495 h 571998"/>
              <a:gd name="connsiteX76" fmla="*/ 187574 w 3941813"/>
              <a:gd name="connsiteY76" fmla="*/ 423306 h 571998"/>
              <a:gd name="connsiteX77" fmla="*/ 148539 w 3941813"/>
              <a:gd name="connsiteY77" fmla="*/ 384667 h 571998"/>
              <a:gd name="connsiteX78" fmla="*/ 113650 w 3941813"/>
              <a:gd name="connsiteY78" fmla="*/ 342233 h 571998"/>
              <a:gd name="connsiteX79" fmla="*/ 82906 w 3941813"/>
              <a:gd name="connsiteY79" fmla="*/ 296349 h 571998"/>
              <a:gd name="connsiteX80" fmla="*/ 56307 w 3941813"/>
              <a:gd name="connsiteY80" fmla="*/ 248050 h 571998"/>
              <a:gd name="connsiteX81" fmla="*/ 34544 w 3941813"/>
              <a:gd name="connsiteY81" fmla="*/ 196646 h 571998"/>
              <a:gd name="connsiteX82" fmla="*/ 17963 w 3941813"/>
              <a:gd name="connsiteY82" fmla="*/ 143172 h 571998"/>
              <a:gd name="connsiteX83" fmla="*/ 6218 w 3941813"/>
              <a:gd name="connsiteY83" fmla="*/ 87283 h 571998"/>
              <a:gd name="connsiteX84" fmla="*/ 346 w 3941813"/>
              <a:gd name="connsiteY84" fmla="*/ 29669 h 57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941813" h="571998">
                <a:moveTo>
                  <a:pt x="0" y="0"/>
                </a:moveTo>
                <a:lnTo>
                  <a:pt x="228336" y="0"/>
                </a:lnTo>
                <a:lnTo>
                  <a:pt x="228336" y="1035"/>
                </a:lnTo>
                <a:lnTo>
                  <a:pt x="228336" y="2070"/>
                </a:lnTo>
                <a:lnTo>
                  <a:pt x="228336" y="3450"/>
                </a:lnTo>
                <a:lnTo>
                  <a:pt x="228336" y="4485"/>
                </a:lnTo>
                <a:lnTo>
                  <a:pt x="228336" y="6555"/>
                </a:lnTo>
                <a:lnTo>
                  <a:pt x="228336" y="8625"/>
                </a:lnTo>
                <a:lnTo>
                  <a:pt x="228336" y="13110"/>
                </a:lnTo>
                <a:lnTo>
                  <a:pt x="228681" y="17595"/>
                </a:lnTo>
                <a:lnTo>
                  <a:pt x="228681" y="21045"/>
                </a:lnTo>
                <a:lnTo>
                  <a:pt x="229372" y="24495"/>
                </a:lnTo>
                <a:lnTo>
                  <a:pt x="229561" y="29949"/>
                </a:lnTo>
                <a:lnTo>
                  <a:pt x="230860" y="43059"/>
                </a:lnTo>
                <a:lnTo>
                  <a:pt x="231099" y="44849"/>
                </a:lnTo>
                <a:lnTo>
                  <a:pt x="231445" y="47954"/>
                </a:lnTo>
                <a:lnTo>
                  <a:pt x="231790" y="51059"/>
                </a:lnTo>
                <a:lnTo>
                  <a:pt x="232439" y="55431"/>
                </a:lnTo>
                <a:lnTo>
                  <a:pt x="237460" y="78594"/>
                </a:lnTo>
                <a:lnTo>
                  <a:pt x="239935" y="88754"/>
                </a:lnTo>
                <a:lnTo>
                  <a:pt x="249062" y="117988"/>
                </a:lnTo>
                <a:lnTo>
                  <a:pt x="258766" y="141560"/>
                </a:lnTo>
                <a:lnTo>
                  <a:pt x="260462" y="145242"/>
                </a:lnTo>
                <a:lnTo>
                  <a:pt x="261844" y="148347"/>
                </a:lnTo>
                <a:lnTo>
                  <a:pt x="263571" y="152142"/>
                </a:lnTo>
                <a:lnTo>
                  <a:pt x="265643" y="155592"/>
                </a:lnTo>
                <a:lnTo>
                  <a:pt x="267371" y="158697"/>
                </a:lnTo>
                <a:lnTo>
                  <a:pt x="269060" y="162072"/>
                </a:lnTo>
                <a:lnTo>
                  <a:pt x="276558" y="175613"/>
                </a:lnTo>
                <a:lnTo>
                  <a:pt x="277043" y="176291"/>
                </a:lnTo>
                <a:lnTo>
                  <a:pt x="278368" y="178791"/>
                </a:lnTo>
                <a:lnTo>
                  <a:pt x="295536" y="204348"/>
                </a:lnTo>
                <a:lnTo>
                  <a:pt x="296042" y="204926"/>
                </a:lnTo>
                <a:lnTo>
                  <a:pt x="298303" y="207936"/>
                </a:lnTo>
                <a:lnTo>
                  <a:pt x="316635" y="230146"/>
                </a:lnTo>
                <a:lnTo>
                  <a:pt x="318158" y="231823"/>
                </a:lnTo>
                <a:lnTo>
                  <a:pt x="341295" y="254260"/>
                </a:lnTo>
                <a:lnTo>
                  <a:pt x="364855" y="274566"/>
                </a:lnTo>
                <a:lnTo>
                  <a:pt x="383255" y="287072"/>
                </a:lnTo>
                <a:lnTo>
                  <a:pt x="390494" y="291862"/>
                </a:lnTo>
                <a:lnTo>
                  <a:pt x="396550" y="295622"/>
                </a:lnTo>
                <a:lnTo>
                  <a:pt x="409034" y="302598"/>
                </a:lnTo>
                <a:lnTo>
                  <a:pt x="419364" y="308079"/>
                </a:lnTo>
                <a:lnTo>
                  <a:pt x="431109" y="313598"/>
                </a:lnTo>
                <a:lnTo>
                  <a:pt x="433413" y="314749"/>
                </a:lnTo>
                <a:lnTo>
                  <a:pt x="445124" y="319611"/>
                </a:lnTo>
                <a:lnTo>
                  <a:pt x="450799" y="321878"/>
                </a:lnTo>
                <a:lnTo>
                  <a:pt x="462312" y="325820"/>
                </a:lnTo>
                <a:lnTo>
                  <a:pt x="480775" y="331449"/>
                </a:lnTo>
                <a:lnTo>
                  <a:pt x="490525" y="333953"/>
                </a:lnTo>
                <a:lnTo>
                  <a:pt x="499752" y="335946"/>
                </a:lnTo>
                <a:lnTo>
                  <a:pt x="520232" y="340163"/>
                </a:lnTo>
                <a:lnTo>
                  <a:pt x="554124" y="343209"/>
                </a:lnTo>
                <a:lnTo>
                  <a:pt x="555122" y="343268"/>
                </a:lnTo>
                <a:lnTo>
                  <a:pt x="555467" y="343294"/>
                </a:lnTo>
                <a:lnTo>
                  <a:pt x="572739" y="343958"/>
                </a:lnTo>
                <a:lnTo>
                  <a:pt x="3862707" y="343958"/>
                </a:lnTo>
                <a:lnTo>
                  <a:pt x="3941813" y="343958"/>
                </a:lnTo>
                <a:lnTo>
                  <a:pt x="3941813" y="388462"/>
                </a:lnTo>
                <a:lnTo>
                  <a:pt x="3940777" y="407437"/>
                </a:lnTo>
                <a:lnTo>
                  <a:pt x="3933868" y="442971"/>
                </a:lnTo>
                <a:lnTo>
                  <a:pt x="3920050" y="476090"/>
                </a:lnTo>
                <a:lnTo>
                  <a:pt x="3900015" y="505415"/>
                </a:lnTo>
                <a:lnTo>
                  <a:pt x="3875143" y="530254"/>
                </a:lnTo>
                <a:lnTo>
                  <a:pt x="3846126" y="549919"/>
                </a:lnTo>
                <a:lnTo>
                  <a:pt x="3812964" y="563718"/>
                </a:lnTo>
                <a:lnTo>
                  <a:pt x="3777038" y="570963"/>
                </a:lnTo>
                <a:lnTo>
                  <a:pt x="3758385" y="571998"/>
                </a:lnTo>
                <a:lnTo>
                  <a:pt x="572739" y="571998"/>
                </a:lnTo>
                <a:lnTo>
                  <a:pt x="543032" y="571308"/>
                </a:lnTo>
                <a:lnTo>
                  <a:pt x="485343" y="565788"/>
                </a:lnTo>
                <a:lnTo>
                  <a:pt x="429382" y="554059"/>
                </a:lnTo>
                <a:lnTo>
                  <a:pt x="375493" y="537499"/>
                </a:lnTo>
                <a:lnTo>
                  <a:pt x="324023" y="515419"/>
                </a:lnTo>
                <a:lnTo>
                  <a:pt x="275661" y="489200"/>
                </a:lnTo>
                <a:lnTo>
                  <a:pt x="229718" y="458495"/>
                </a:lnTo>
                <a:lnTo>
                  <a:pt x="187574" y="423306"/>
                </a:lnTo>
                <a:lnTo>
                  <a:pt x="148539" y="384667"/>
                </a:lnTo>
                <a:lnTo>
                  <a:pt x="113650" y="342233"/>
                </a:lnTo>
                <a:lnTo>
                  <a:pt x="82906" y="296349"/>
                </a:lnTo>
                <a:lnTo>
                  <a:pt x="56307" y="248050"/>
                </a:lnTo>
                <a:lnTo>
                  <a:pt x="34544" y="196646"/>
                </a:lnTo>
                <a:lnTo>
                  <a:pt x="17963" y="143172"/>
                </a:lnTo>
                <a:lnTo>
                  <a:pt x="6218" y="87283"/>
                </a:lnTo>
                <a:lnTo>
                  <a:pt x="346" y="29669"/>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50" name="Freeform 585">
            <a:extLst>
              <a:ext uri="{FF2B5EF4-FFF2-40B4-BE49-F238E27FC236}">
                <a16:creationId xmlns:a16="http://schemas.microsoft.com/office/drawing/2014/main" id="{676BBEB7-DE4F-0EF8-1AFE-D48774B0CDFA}"/>
              </a:ext>
            </a:extLst>
          </p:cNvPr>
          <p:cNvSpPr>
            <a:spLocks/>
          </p:cNvSpPr>
          <p:nvPr/>
        </p:nvSpPr>
        <p:spPr bwMode="auto">
          <a:xfrm>
            <a:off x="1206578" y="1595105"/>
            <a:ext cx="694944" cy="6949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191C21"/>
                </a:solidFill>
                <a:effectLst/>
                <a:uLnTx/>
                <a:uFillTx/>
                <a:latin typeface="Arial"/>
                <a:ea typeface="+mn-ea"/>
                <a:cs typeface="+mn-cs"/>
              </a:rPr>
              <a:t>1</a:t>
            </a:r>
          </a:p>
        </p:txBody>
      </p:sp>
      <p:sp>
        <p:nvSpPr>
          <p:cNvPr id="51" name="Freeform 588">
            <a:extLst>
              <a:ext uri="{FF2B5EF4-FFF2-40B4-BE49-F238E27FC236}">
                <a16:creationId xmlns:a16="http://schemas.microsoft.com/office/drawing/2014/main" id="{9656A872-2A69-4A73-3EAE-BDC5AC8A68D3}"/>
              </a:ext>
            </a:extLst>
          </p:cNvPr>
          <p:cNvSpPr>
            <a:spLocks/>
          </p:cNvSpPr>
          <p:nvPr/>
        </p:nvSpPr>
        <p:spPr bwMode="auto">
          <a:xfrm>
            <a:off x="6354171" y="1361650"/>
            <a:ext cx="1145378" cy="1143996"/>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52" name="Freeform 587">
            <a:extLst>
              <a:ext uri="{FF2B5EF4-FFF2-40B4-BE49-F238E27FC236}">
                <a16:creationId xmlns:a16="http://schemas.microsoft.com/office/drawing/2014/main" id="{E1ACF0BE-E6F0-17A0-6772-B85257289341}"/>
              </a:ext>
            </a:extLst>
          </p:cNvPr>
          <p:cNvSpPr>
            <a:spLocks/>
          </p:cNvSpPr>
          <p:nvPr/>
        </p:nvSpPr>
        <p:spPr bwMode="auto">
          <a:xfrm>
            <a:off x="6582141" y="1588239"/>
            <a:ext cx="689438" cy="689438"/>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53" name="Freeform 589">
            <a:extLst>
              <a:ext uri="{FF2B5EF4-FFF2-40B4-BE49-F238E27FC236}">
                <a16:creationId xmlns:a16="http://schemas.microsoft.com/office/drawing/2014/main" id="{47436B7B-DF00-C7E3-AD18-0AC3C8BE44F0}"/>
              </a:ext>
            </a:extLst>
          </p:cNvPr>
          <p:cNvSpPr>
            <a:spLocks/>
          </p:cNvSpPr>
          <p:nvPr/>
        </p:nvSpPr>
        <p:spPr bwMode="auto">
          <a:xfrm>
            <a:off x="7225984" y="1937794"/>
            <a:ext cx="160270" cy="392385"/>
          </a:xfrm>
          <a:custGeom>
            <a:avLst/>
            <a:gdLst>
              <a:gd name="T0" fmla="*/ 462 w 462"/>
              <a:gd name="T1" fmla="*/ 981 h 1135"/>
              <a:gd name="T2" fmla="*/ 460 w 462"/>
              <a:gd name="T3" fmla="*/ 985 h 1135"/>
              <a:gd name="T4" fmla="*/ 457 w 462"/>
              <a:gd name="T5" fmla="*/ 989 h 1135"/>
              <a:gd name="T6" fmla="*/ 443 w 462"/>
              <a:gd name="T7" fmla="*/ 1007 h 1135"/>
              <a:gd name="T8" fmla="*/ 427 w 462"/>
              <a:gd name="T9" fmla="*/ 1025 h 1135"/>
              <a:gd name="T10" fmla="*/ 418 w 462"/>
              <a:gd name="T11" fmla="*/ 1037 h 1135"/>
              <a:gd name="T12" fmla="*/ 409 w 462"/>
              <a:gd name="T13" fmla="*/ 1048 h 1135"/>
              <a:gd name="T14" fmla="*/ 408 w 462"/>
              <a:gd name="T15" fmla="*/ 1050 h 1135"/>
              <a:gd name="T16" fmla="*/ 408 w 462"/>
              <a:gd name="T17" fmla="*/ 1050 h 1135"/>
              <a:gd name="T18" fmla="*/ 396 w 462"/>
              <a:gd name="T19" fmla="*/ 1064 h 1135"/>
              <a:gd name="T20" fmla="*/ 383 w 462"/>
              <a:gd name="T21" fmla="*/ 1078 h 1135"/>
              <a:gd name="T22" fmla="*/ 369 w 462"/>
              <a:gd name="T23" fmla="*/ 1095 h 1135"/>
              <a:gd name="T24" fmla="*/ 355 w 462"/>
              <a:gd name="T25" fmla="*/ 1110 h 1135"/>
              <a:gd name="T26" fmla="*/ 343 w 462"/>
              <a:gd name="T27" fmla="*/ 1123 h 1135"/>
              <a:gd name="T28" fmla="*/ 332 w 462"/>
              <a:gd name="T29" fmla="*/ 1135 h 1135"/>
              <a:gd name="T30" fmla="*/ 276 w 462"/>
              <a:gd name="T31" fmla="*/ 1062 h 1135"/>
              <a:gd name="T32" fmla="*/ 177 w 462"/>
              <a:gd name="T33" fmla="*/ 908 h 1135"/>
              <a:gd name="T34" fmla="*/ 94 w 462"/>
              <a:gd name="T35" fmla="*/ 745 h 1135"/>
              <a:gd name="T36" fmla="*/ 27 w 462"/>
              <a:gd name="T37" fmla="*/ 573 h 1135"/>
              <a:gd name="T38" fmla="*/ 0 w 462"/>
              <a:gd name="T39" fmla="*/ 483 h 1135"/>
              <a:gd name="T40" fmla="*/ 36 w 462"/>
              <a:gd name="T41" fmla="*/ 417 h 1135"/>
              <a:gd name="T42" fmla="*/ 65 w 462"/>
              <a:gd name="T43" fmla="*/ 348 h 1135"/>
              <a:gd name="T44" fmla="*/ 68 w 462"/>
              <a:gd name="T45" fmla="*/ 341 h 1135"/>
              <a:gd name="T46" fmla="*/ 71 w 462"/>
              <a:gd name="T47" fmla="*/ 333 h 1135"/>
              <a:gd name="T48" fmla="*/ 81 w 462"/>
              <a:gd name="T49" fmla="*/ 303 h 1135"/>
              <a:gd name="T50" fmla="*/ 90 w 462"/>
              <a:gd name="T51" fmla="*/ 273 h 1135"/>
              <a:gd name="T52" fmla="*/ 94 w 462"/>
              <a:gd name="T53" fmla="*/ 263 h 1135"/>
              <a:gd name="T54" fmla="*/ 97 w 462"/>
              <a:gd name="T55" fmla="*/ 252 h 1135"/>
              <a:gd name="T56" fmla="*/ 100 w 462"/>
              <a:gd name="T57" fmla="*/ 242 h 1135"/>
              <a:gd name="T58" fmla="*/ 102 w 462"/>
              <a:gd name="T59" fmla="*/ 232 h 1135"/>
              <a:gd name="T60" fmla="*/ 105 w 462"/>
              <a:gd name="T61" fmla="*/ 223 h 1135"/>
              <a:gd name="T62" fmla="*/ 106 w 462"/>
              <a:gd name="T63" fmla="*/ 214 h 1135"/>
              <a:gd name="T64" fmla="*/ 110 w 462"/>
              <a:gd name="T65" fmla="*/ 201 h 1135"/>
              <a:gd name="T66" fmla="*/ 112 w 462"/>
              <a:gd name="T67" fmla="*/ 189 h 1135"/>
              <a:gd name="T68" fmla="*/ 112 w 462"/>
              <a:gd name="T69" fmla="*/ 182 h 1135"/>
              <a:gd name="T70" fmla="*/ 114 w 462"/>
              <a:gd name="T71" fmla="*/ 177 h 1135"/>
              <a:gd name="T72" fmla="*/ 116 w 462"/>
              <a:gd name="T73" fmla="*/ 166 h 1135"/>
              <a:gd name="T74" fmla="*/ 119 w 462"/>
              <a:gd name="T75" fmla="*/ 153 h 1135"/>
              <a:gd name="T76" fmla="*/ 125 w 462"/>
              <a:gd name="T77" fmla="*/ 109 h 1135"/>
              <a:gd name="T78" fmla="*/ 129 w 462"/>
              <a:gd name="T79" fmla="*/ 64 h 1135"/>
              <a:gd name="T80" fmla="*/ 131 w 462"/>
              <a:gd name="T81" fmla="*/ 53 h 1135"/>
              <a:gd name="T82" fmla="*/ 131 w 462"/>
              <a:gd name="T83" fmla="*/ 41 h 1135"/>
              <a:gd name="T84" fmla="*/ 131 w 462"/>
              <a:gd name="T85" fmla="*/ 39 h 1135"/>
              <a:gd name="T86" fmla="*/ 131 w 462"/>
              <a:gd name="T87" fmla="*/ 35 h 1135"/>
              <a:gd name="T88" fmla="*/ 132 w 462"/>
              <a:gd name="T89" fmla="*/ 26 h 1135"/>
              <a:gd name="T90" fmla="*/ 132 w 462"/>
              <a:gd name="T91" fmla="*/ 17 h 1135"/>
              <a:gd name="T92" fmla="*/ 132 w 462"/>
              <a:gd name="T93" fmla="*/ 7 h 1135"/>
              <a:gd name="T94" fmla="*/ 132 w 462"/>
              <a:gd name="T95" fmla="*/ 0 h 1135"/>
              <a:gd name="T96" fmla="*/ 133 w 462"/>
              <a:gd name="T97" fmla="*/ 68 h 1135"/>
              <a:gd name="T98" fmla="*/ 145 w 462"/>
              <a:gd name="T99" fmla="*/ 204 h 1135"/>
              <a:gd name="T100" fmla="*/ 168 w 462"/>
              <a:gd name="T101" fmla="*/ 335 h 1135"/>
              <a:gd name="T102" fmla="*/ 201 w 462"/>
              <a:gd name="T103" fmla="*/ 464 h 1135"/>
              <a:gd name="T104" fmla="*/ 243 w 462"/>
              <a:gd name="T105" fmla="*/ 587 h 1135"/>
              <a:gd name="T106" fmla="*/ 295 w 462"/>
              <a:gd name="T107" fmla="*/ 706 h 1135"/>
              <a:gd name="T108" fmla="*/ 355 w 462"/>
              <a:gd name="T109" fmla="*/ 820 h 1135"/>
              <a:gd name="T110" fmla="*/ 425 w 462"/>
              <a:gd name="T111" fmla="*/ 929 h 1135"/>
              <a:gd name="T112" fmla="*/ 462 w 462"/>
              <a:gd name="T113" fmla="*/ 981 h 1135"/>
              <a:gd name="T114" fmla="*/ 462 w 462"/>
              <a:gd name="T115" fmla="*/ 981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2" h="1135">
                <a:moveTo>
                  <a:pt x="462" y="981"/>
                </a:moveTo>
                <a:lnTo>
                  <a:pt x="460" y="985"/>
                </a:lnTo>
                <a:lnTo>
                  <a:pt x="457" y="989"/>
                </a:lnTo>
                <a:lnTo>
                  <a:pt x="443" y="1007"/>
                </a:lnTo>
                <a:lnTo>
                  <a:pt x="427" y="1025"/>
                </a:lnTo>
                <a:lnTo>
                  <a:pt x="418" y="1037"/>
                </a:lnTo>
                <a:lnTo>
                  <a:pt x="409" y="1048"/>
                </a:lnTo>
                <a:lnTo>
                  <a:pt x="408" y="1050"/>
                </a:lnTo>
                <a:lnTo>
                  <a:pt x="408" y="1050"/>
                </a:lnTo>
                <a:lnTo>
                  <a:pt x="396" y="1064"/>
                </a:lnTo>
                <a:lnTo>
                  <a:pt x="383" y="1078"/>
                </a:lnTo>
                <a:lnTo>
                  <a:pt x="369" y="1095"/>
                </a:lnTo>
                <a:lnTo>
                  <a:pt x="355" y="1110"/>
                </a:lnTo>
                <a:lnTo>
                  <a:pt x="343" y="1123"/>
                </a:lnTo>
                <a:lnTo>
                  <a:pt x="332" y="1135"/>
                </a:lnTo>
                <a:lnTo>
                  <a:pt x="276" y="1062"/>
                </a:lnTo>
                <a:lnTo>
                  <a:pt x="177" y="908"/>
                </a:lnTo>
                <a:lnTo>
                  <a:pt x="94" y="745"/>
                </a:lnTo>
                <a:lnTo>
                  <a:pt x="27" y="573"/>
                </a:lnTo>
                <a:lnTo>
                  <a:pt x="0" y="483"/>
                </a:lnTo>
                <a:lnTo>
                  <a:pt x="36" y="417"/>
                </a:lnTo>
                <a:lnTo>
                  <a:pt x="65" y="348"/>
                </a:lnTo>
                <a:lnTo>
                  <a:pt x="68" y="341"/>
                </a:lnTo>
                <a:lnTo>
                  <a:pt x="71" y="333"/>
                </a:lnTo>
                <a:lnTo>
                  <a:pt x="81" y="303"/>
                </a:lnTo>
                <a:lnTo>
                  <a:pt x="90" y="273"/>
                </a:lnTo>
                <a:lnTo>
                  <a:pt x="94" y="263"/>
                </a:lnTo>
                <a:lnTo>
                  <a:pt x="97" y="252"/>
                </a:lnTo>
                <a:lnTo>
                  <a:pt x="100" y="242"/>
                </a:lnTo>
                <a:lnTo>
                  <a:pt x="102" y="232"/>
                </a:lnTo>
                <a:lnTo>
                  <a:pt x="105" y="223"/>
                </a:lnTo>
                <a:lnTo>
                  <a:pt x="106" y="214"/>
                </a:lnTo>
                <a:lnTo>
                  <a:pt x="110" y="201"/>
                </a:lnTo>
                <a:lnTo>
                  <a:pt x="112" y="189"/>
                </a:lnTo>
                <a:lnTo>
                  <a:pt x="112" y="182"/>
                </a:lnTo>
                <a:lnTo>
                  <a:pt x="114" y="177"/>
                </a:lnTo>
                <a:lnTo>
                  <a:pt x="116" y="166"/>
                </a:lnTo>
                <a:lnTo>
                  <a:pt x="119" y="153"/>
                </a:lnTo>
                <a:lnTo>
                  <a:pt x="125" y="109"/>
                </a:lnTo>
                <a:lnTo>
                  <a:pt x="129" y="64"/>
                </a:lnTo>
                <a:lnTo>
                  <a:pt x="131" y="53"/>
                </a:lnTo>
                <a:lnTo>
                  <a:pt x="131" y="41"/>
                </a:lnTo>
                <a:lnTo>
                  <a:pt x="131" y="39"/>
                </a:lnTo>
                <a:lnTo>
                  <a:pt x="131" y="35"/>
                </a:lnTo>
                <a:lnTo>
                  <a:pt x="132" y="26"/>
                </a:lnTo>
                <a:lnTo>
                  <a:pt x="132" y="17"/>
                </a:lnTo>
                <a:lnTo>
                  <a:pt x="132" y="7"/>
                </a:lnTo>
                <a:lnTo>
                  <a:pt x="132" y="0"/>
                </a:lnTo>
                <a:lnTo>
                  <a:pt x="133" y="68"/>
                </a:lnTo>
                <a:lnTo>
                  <a:pt x="145" y="204"/>
                </a:lnTo>
                <a:lnTo>
                  <a:pt x="168" y="335"/>
                </a:lnTo>
                <a:lnTo>
                  <a:pt x="201" y="464"/>
                </a:lnTo>
                <a:lnTo>
                  <a:pt x="243" y="587"/>
                </a:lnTo>
                <a:lnTo>
                  <a:pt x="295" y="706"/>
                </a:lnTo>
                <a:lnTo>
                  <a:pt x="355" y="820"/>
                </a:lnTo>
                <a:lnTo>
                  <a:pt x="425" y="929"/>
                </a:lnTo>
                <a:lnTo>
                  <a:pt x="462" y="981"/>
                </a:lnTo>
                <a:lnTo>
                  <a:pt x="462" y="98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54" name="Freeform 590">
            <a:extLst>
              <a:ext uri="{FF2B5EF4-FFF2-40B4-BE49-F238E27FC236}">
                <a16:creationId xmlns:a16="http://schemas.microsoft.com/office/drawing/2014/main" id="{09A4EF2B-6186-6352-5FF3-213301DE3201}"/>
              </a:ext>
            </a:extLst>
          </p:cNvPr>
          <p:cNvSpPr>
            <a:spLocks/>
          </p:cNvSpPr>
          <p:nvPr/>
        </p:nvSpPr>
        <p:spPr bwMode="auto">
          <a:xfrm>
            <a:off x="7225984" y="1937794"/>
            <a:ext cx="160270" cy="392385"/>
          </a:xfrm>
          <a:custGeom>
            <a:avLst/>
            <a:gdLst>
              <a:gd name="T0" fmla="*/ 132 w 462"/>
              <a:gd name="T1" fmla="*/ 0 h 1135"/>
              <a:gd name="T2" fmla="*/ 132 w 462"/>
              <a:gd name="T3" fmla="*/ 7 h 1135"/>
              <a:gd name="T4" fmla="*/ 132 w 462"/>
              <a:gd name="T5" fmla="*/ 17 h 1135"/>
              <a:gd name="T6" fmla="*/ 132 w 462"/>
              <a:gd name="T7" fmla="*/ 26 h 1135"/>
              <a:gd name="T8" fmla="*/ 131 w 462"/>
              <a:gd name="T9" fmla="*/ 35 h 1135"/>
              <a:gd name="T10" fmla="*/ 131 w 462"/>
              <a:gd name="T11" fmla="*/ 39 h 1135"/>
              <a:gd name="T12" fmla="*/ 131 w 462"/>
              <a:gd name="T13" fmla="*/ 41 h 1135"/>
              <a:gd name="T14" fmla="*/ 131 w 462"/>
              <a:gd name="T15" fmla="*/ 53 h 1135"/>
              <a:gd name="T16" fmla="*/ 129 w 462"/>
              <a:gd name="T17" fmla="*/ 64 h 1135"/>
              <a:gd name="T18" fmla="*/ 125 w 462"/>
              <a:gd name="T19" fmla="*/ 109 h 1135"/>
              <a:gd name="T20" fmla="*/ 119 w 462"/>
              <a:gd name="T21" fmla="*/ 153 h 1135"/>
              <a:gd name="T22" fmla="*/ 116 w 462"/>
              <a:gd name="T23" fmla="*/ 166 h 1135"/>
              <a:gd name="T24" fmla="*/ 114 w 462"/>
              <a:gd name="T25" fmla="*/ 177 h 1135"/>
              <a:gd name="T26" fmla="*/ 112 w 462"/>
              <a:gd name="T27" fmla="*/ 182 h 1135"/>
              <a:gd name="T28" fmla="*/ 112 w 462"/>
              <a:gd name="T29" fmla="*/ 189 h 1135"/>
              <a:gd name="T30" fmla="*/ 110 w 462"/>
              <a:gd name="T31" fmla="*/ 201 h 1135"/>
              <a:gd name="T32" fmla="*/ 106 w 462"/>
              <a:gd name="T33" fmla="*/ 214 h 1135"/>
              <a:gd name="T34" fmla="*/ 105 w 462"/>
              <a:gd name="T35" fmla="*/ 223 h 1135"/>
              <a:gd name="T36" fmla="*/ 102 w 462"/>
              <a:gd name="T37" fmla="*/ 232 h 1135"/>
              <a:gd name="T38" fmla="*/ 100 w 462"/>
              <a:gd name="T39" fmla="*/ 242 h 1135"/>
              <a:gd name="T40" fmla="*/ 97 w 462"/>
              <a:gd name="T41" fmla="*/ 252 h 1135"/>
              <a:gd name="T42" fmla="*/ 94 w 462"/>
              <a:gd name="T43" fmla="*/ 263 h 1135"/>
              <a:gd name="T44" fmla="*/ 90 w 462"/>
              <a:gd name="T45" fmla="*/ 273 h 1135"/>
              <a:gd name="T46" fmla="*/ 81 w 462"/>
              <a:gd name="T47" fmla="*/ 303 h 1135"/>
              <a:gd name="T48" fmla="*/ 71 w 462"/>
              <a:gd name="T49" fmla="*/ 333 h 1135"/>
              <a:gd name="T50" fmla="*/ 65 w 462"/>
              <a:gd name="T51" fmla="*/ 348 h 1135"/>
              <a:gd name="T52" fmla="*/ 36 w 462"/>
              <a:gd name="T53" fmla="*/ 417 h 1135"/>
              <a:gd name="T54" fmla="*/ 0 w 462"/>
              <a:gd name="T55" fmla="*/ 483 h 1135"/>
              <a:gd name="T56" fmla="*/ 27 w 462"/>
              <a:gd name="T57" fmla="*/ 573 h 1135"/>
              <a:gd name="T58" fmla="*/ 94 w 462"/>
              <a:gd name="T59" fmla="*/ 745 h 1135"/>
              <a:gd name="T60" fmla="*/ 177 w 462"/>
              <a:gd name="T61" fmla="*/ 908 h 1135"/>
              <a:gd name="T62" fmla="*/ 276 w 462"/>
              <a:gd name="T63" fmla="*/ 1062 h 1135"/>
              <a:gd name="T64" fmla="*/ 332 w 462"/>
              <a:gd name="T65" fmla="*/ 1135 h 1135"/>
              <a:gd name="T66" fmla="*/ 343 w 462"/>
              <a:gd name="T67" fmla="*/ 1123 h 1135"/>
              <a:gd name="T68" fmla="*/ 355 w 462"/>
              <a:gd name="T69" fmla="*/ 1110 h 1135"/>
              <a:gd name="T70" fmla="*/ 369 w 462"/>
              <a:gd name="T71" fmla="*/ 1095 h 1135"/>
              <a:gd name="T72" fmla="*/ 383 w 462"/>
              <a:gd name="T73" fmla="*/ 1078 h 1135"/>
              <a:gd name="T74" fmla="*/ 396 w 462"/>
              <a:gd name="T75" fmla="*/ 1064 h 1135"/>
              <a:gd name="T76" fmla="*/ 408 w 462"/>
              <a:gd name="T77" fmla="*/ 1050 h 1135"/>
              <a:gd name="T78" fmla="*/ 408 w 462"/>
              <a:gd name="T79" fmla="*/ 1050 h 1135"/>
              <a:gd name="T80" fmla="*/ 409 w 462"/>
              <a:gd name="T81" fmla="*/ 1048 h 1135"/>
              <a:gd name="T82" fmla="*/ 418 w 462"/>
              <a:gd name="T83" fmla="*/ 1037 h 1135"/>
              <a:gd name="T84" fmla="*/ 427 w 462"/>
              <a:gd name="T85" fmla="*/ 1025 h 1135"/>
              <a:gd name="T86" fmla="*/ 443 w 462"/>
              <a:gd name="T87" fmla="*/ 1007 h 1135"/>
              <a:gd name="T88" fmla="*/ 457 w 462"/>
              <a:gd name="T89" fmla="*/ 989 h 1135"/>
              <a:gd name="T90" fmla="*/ 460 w 462"/>
              <a:gd name="T91" fmla="*/ 985 h 1135"/>
              <a:gd name="T92" fmla="*/ 462 w 462"/>
              <a:gd name="T93" fmla="*/ 981 h 1135"/>
              <a:gd name="T94" fmla="*/ 425 w 462"/>
              <a:gd name="T95" fmla="*/ 929 h 1135"/>
              <a:gd name="T96" fmla="*/ 355 w 462"/>
              <a:gd name="T97" fmla="*/ 820 h 1135"/>
              <a:gd name="T98" fmla="*/ 295 w 462"/>
              <a:gd name="T99" fmla="*/ 706 h 1135"/>
              <a:gd name="T100" fmla="*/ 243 w 462"/>
              <a:gd name="T101" fmla="*/ 587 h 1135"/>
              <a:gd name="T102" fmla="*/ 201 w 462"/>
              <a:gd name="T103" fmla="*/ 464 h 1135"/>
              <a:gd name="T104" fmla="*/ 168 w 462"/>
              <a:gd name="T105" fmla="*/ 335 h 1135"/>
              <a:gd name="T106" fmla="*/ 145 w 462"/>
              <a:gd name="T107" fmla="*/ 204 h 1135"/>
              <a:gd name="T108" fmla="*/ 133 w 462"/>
              <a:gd name="T109" fmla="*/ 68 h 1135"/>
              <a:gd name="T110" fmla="*/ 132 w 462"/>
              <a:gd name="T111" fmla="*/ 0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2" h="1135">
                <a:moveTo>
                  <a:pt x="132" y="0"/>
                </a:moveTo>
                <a:lnTo>
                  <a:pt x="132" y="7"/>
                </a:lnTo>
                <a:lnTo>
                  <a:pt x="132" y="17"/>
                </a:lnTo>
                <a:lnTo>
                  <a:pt x="132" y="26"/>
                </a:lnTo>
                <a:lnTo>
                  <a:pt x="131" y="35"/>
                </a:lnTo>
                <a:lnTo>
                  <a:pt x="131" y="39"/>
                </a:lnTo>
                <a:lnTo>
                  <a:pt x="131" y="41"/>
                </a:lnTo>
                <a:lnTo>
                  <a:pt x="131" y="53"/>
                </a:lnTo>
                <a:lnTo>
                  <a:pt x="129" y="64"/>
                </a:lnTo>
                <a:lnTo>
                  <a:pt x="125" y="109"/>
                </a:lnTo>
                <a:lnTo>
                  <a:pt x="119" y="153"/>
                </a:lnTo>
                <a:lnTo>
                  <a:pt x="116" y="166"/>
                </a:lnTo>
                <a:lnTo>
                  <a:pt x="114" y="177"/>
                </a:lnTo>
                <a:lnTo>
                  <a:pt x="112" y="182"/>
                </a:lnTo>
                <a:lnTo>
                  <a:pt x="112" y="189"/>
                </a:lnTo>
                <a:lnTo>
                  <a:pt x="110" y="201"/>
                </a:lnTo>
                <a:lnTo>
                  <a:pt x="106" y="214"/>
                </a:lnTo>
                <a:lnTo>
                  <a:pt x="105" y="223"/>
                </a:lnTo>
                <a:lnTo>
                  <a:pt x="102" y="232"/>
                </a:lnTo>
                <a:lnTo>
                  <a:pt x="100" y="242"/>
                </a:lnTo>
                <a:lnTo>
                  <a:pt x="97" y="252"/>
                </a:lnTo>
                <a:lnTo>
                  <a:pt x="94" y="263"/>
                </a:lnTo>
                <a:lnTo>
                  <a:pt x="90" y="273"/>
                </a:lnTo>
                <a:lnTo>
                  <a:pt x="81" y="303"/>
                </a:lnTo>
                <a:lnTo>
                  <a:pt x="71" y="333"/>
                </a:lnTo>
                <a:lnTo>
                  <a:pt x="65" y="348"/>
                </a:lnTo>
                <a:lnTo>
                  <a:pt x="36" y="417"/>
                </a:lnTo>
                <a:lnTo>
                  <a:pt x="0" y="483"/>
                </a:lnTo>
                <a:lnTo>
                  <a:pt x="27" y="573"/>
                </a:lnTo>
                <a:lnTo>
                  <a:pt x="94" y="745"/>
                </a:lnTo>
                <a:lnTo>
                  <a:pt x="177" y="908"/>
                </a:lnTo>
                <a:lnTo>
                  <a:pt x="276" y="1062"/>
                </a:lnTo>
                <a:lnTo>
                  <a:pt x="332" y="1135"/>
                </a:lnTo>
                <a:lnTo>
                  <a:pt x="343" y="1123"/>
                </a:lnTo>
                <a:lnTo>
                  <a:pt x="355" y="1110"/>
                </a:lnTo>
                <a:lnTo>
                  <a:pt x="369" y="1095"/>
                </a:lnTo>
                <a:lnTo>
                  <a:pt x="383" y="1078"/>
                </a:lnTo>
                <a:lnTo>
                  <a:pt x="396" y="1064"/>
                </a:lnTo>
                <a:lnTo>
                  <a:pt x="408" y="1050"/>
                </a:lnTo>
                <a:lnTo>
                  <a:pt x="408" y="1050"/>
                </a:lnTo>
                <a:lnTo>
                  <a:pt x="409" y="1048"/>
                </a:lnTo>
                <a:lnTo>
                  <a:pt x="418" y="1037"/>
                </a:lnTo>
                <a:lnTo>
                  <a:pt x="427" y="1025"/>
                </a:lnTo>
                <a:lnTo>
                  <a:pt x="443" y="1007"/>
                </a:lnTo>
                <a:lnTo>
                  <a:pt x="457" y="989"/>
                </a:lnTo>
                <a:lnTo>
                  <a:pt x="460" y="985"/>
                </a:lnTo>
                <a:lnTo>
                  <a:pt x="462" y="981"/>
                </a:lnTo>
                <a:lnTo>
                  <a:pt x="425" y="929"/>
                </a:lnTo>
                <a:lnTo>
                  <a:pt x="355" y="820"/>
                </a:lnTo>
                <a:lnTo>
                  <a:pt x="295" y="706"/>
                </a:lnTo>
                <a:lnTo>
                  <a:pt x="243" y="587"/>
                </a:lnTo>
                <a:lnTo>
                  <a:pt x="201" y="464"/>
                </a:lnTo>
                <a:lnTo>
                  <a:pt x="168" y="335"/>
                </a:lnTo>
                <a:lnTo>
                  <a:pt x="145" y="204"/>
                </a:lnTo>
                <a:lnTo>
                  <a:pt x="133" y="68"/>
                </a:lnTo>
                <a:lnTo>
                  <a:pt x="132"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55" name="Freeform: Shape 192">
            <a:extLst>
              <a:ext uri="{FF2B5EF4-FFF2-40B4-BE49-F238E27FC236}">
                <a16:creationId xmlns:a16="http://schemas.microsoft.com/office/drawing/2014/main" id="{91AEA641-469B-F00C-CE4C-907C8C15E922}"/>
              </a:ext>
            </a:extLst>
          </p:cNvPr>
          <p:cNvSpPr>
            <a:spLocks/>
          </p:cNvSpPr>
          <p:nvPr/>
        </p:nvSpPr>
        <p:spPr bwMode="auto">
          <a:xfrm>
            <a:off x="7271579" y="1933648"/>
            <a:ext cx="3941813" cy="571998"/>
          </a:xfrm>
          <a:custGeom>
            <a:avLst/>
            <a:gdLst>
              <a:gd name="connsiteX0" fmla="*/ 0 w 3941813"/>
              <a:gd name="connsiteY0" fmla="*/ 0 h 571998"/>
              <a:gd name="connsiteX1" fmla="*/ 228336 w 3941813"/>
              <a:gd name="connsiteY1" fmla="*/ 0 h 571998"/>
              <a:gd name="connsiteX2" fmla="*/ 228336 w 3941813"/>
              <a:gd name="connsiteY2" fmla="*/ 1035 h 571998"/>
              <a:gd name="connsiteX3" fmla="*/ 228336 w 3941813"/>
              <a:gd name="connsiteY3" fmla="*/ 2070 h 571998"/>
              <a:gd name="connsiteX4" fmla="*/ 228336 w 3941813"/>
              <a:gd name="connsiteY4" fmla="*/ 3450 h 571998"/>
              <a:gd name="connsiteX5" fmla="*/ 228336 w 3941813"/>
              <a:gd name="connsiteY5" fmla="*/ 4485 h 571998"/>
              <a:gd name="connsiteX6" fmla="*/ 228336 w 3941813"/>
              <a:gd name="connsiteY6" fmla="*/ 6555 h 571998"/>
              <a:gd name="connsiteX7" fmla="*/ 228336 w 3941813"/>
              <a:gd name="connsiteY7" fmla="*/ 8625 h 571998"/>
              <a:gd name="connsiteX8" fmla="*/ 228336 w 3941813"/>
              <a:gd name="connsiteY8" fmla="*/ 13110 h 571998"/>
              <a:gd name="connsiteX9" fmla="*/ 228681 w 3941813"/>
              <a:gd name="connsiteY9" fmla="*/ 17595 h 571998"/>
              <a:gd name="connsiteX10" fmla="*/ 228681 w 3941813"/>
              <a:gd name="connsiteY10" fmla="*/ 21045 h 571998"/>
              <a:gd name="connsiteX11" fmla="*/ 229372 w 3941813"/>
              <a:gd name="connsiteY11" fmla="*/ 24495 h 571998"/>
              <a:gd name="connsiteX12" fmla="*/ 229561 w 3941813"/>
              <a:gd name="connsiteY12" fmla="*/ 29949 h 571998"/>
              <a:gd name="connsiteX13" fmla="*/ 230860 w 3941813"/>
              <a:gd name="connsiteY13" fmla="*/ 43059 h 571998"/>
              <a:gd name="connsiteX14" fmla="*/ 231099 w 3941813"/>
              <a:gd name="connsiteY14" fmla="*/ 44849 h 571998"/>
              <a:gd name="connsiteX15" fmla="*/ 231445 w 3941813"/>
              <a:gd name="connsiteY15" fmla="*/ 47954 h 571998"/>
              <a:gd name="connsiteX16" fmla="*/ 231790 w 3941813"/>
              <a:gd name="connsiteY16" fmla="*/ 51059 h 571998"/>
              <a:gd name="connsiteX17" fmla="*/ 232439 w 3941813"/>
              <a:gd name="connsiteY17" fmla="*/ 55431 h 571998"/>
              <a:gd name="connsiteX18" fmla="*/ 237460 w 3941813"/>
              <a:gd name="connsiteY18" fmla="*/ 78594 h 571998"/>
              <a:gd name="connsiteX19" fmla="*/ 239935 w 3941813"/>
              <a:gd name="connsiteY19" fmla="*/ 88754 h 571998"/>
              <a:gd name="connsiteX20" fmla="*/ 249062 w 3941813"/>
              <a:gd name="connsiteY20" fmla="*/ 117988 h 571998"/>
              <a:gd name="connsiteX21" fmla="*/ 258766 w 3941813"/>
              <a:gd name="connsiteY21" fmla="*/ 141560 h 571998"/>
              <a:gd name="connsiteX22" fmla="*/ 260462 w 3941813"/>
              <a:gd name="connsiteY22" fmla="*/ 145242 h 571998"/>
              <a:gd name="connsiteX23" fmla="*/ 261844 w 3941813"/>
              <a:gd name="connsiteY23" fmla="*/ 148347 h 571998"/>
              <a:gd name="connsiteX24" fmla="*/ 263571 w 3941813"/>
              <a:gd name="connsiteY24" fmla="*/ 152142 h 571998"/>
              <a:gd name="connsiteX25" fmla="*/ 265643 w 3941813"/>
              <a:gd name="connsiteY25" fmla="*/ 155592 h 571998"/>
              <a:gd name="connsiteX26" fmla="*/ 267371 w 3941813"/>
              <a:gd name="connsiteY26" fmla="*/ 158697 h 571998"/>
              <a:gd name="connsiteX27" fmla="*/ 269060 w 3941813"/>
              <a:gd name="connsiteY27" fmla="*/ 162072 h 571998"/>
              <a:gd name="connsiteX28" fmla="*/ 276558 w 3941813"/>
              <a:gd name="connsiteY28" fmla="*/ 175613 h 571998"/>
              <a:gd name="connsiteX29" fmla="*/ 277043 w 3941813"/>
              <a:gd name="connsiteY29" fmla="*/ 176291 h 571998"/>
              <a:gd name="connsiteX30" fmla="*/ 278368 w 3941813"/>
              <a:gd name="connsiteY30" fmla="*/ 178791 h 571998"/>
              <a:gd name="connsiteX31" fmla="*/ 295536 w 3941813"/>
              <a:gd name="connsiteY31" fmla="*/ 204348 h 571998"/>
              <a:gd name="connsiteX32" fmla="*/ 296042 w 3941813"/>
              <a:gd name="connsiteY32" fmla="*/ 204926 h 571998"/>
              <a:gd name="connsiteX33" fmla="*/ 298303 w 3941813"/>
              <a:gd name="connsiteY33" fmla="*/ 207936 h 571998"/>
              <a:gd name="connsiteX34" fmla="*/ 316635 w 3941813"/>
              <a:gd name="connsiteY34" fmla="*/ 230146 h 571998"/>
              <a:gd name="connsiteX35" fmla="*/ 318158 w 3941813"/>
              <a:gd name="connsiteY35" fmla="*/ 231823 h 571998"/>
              <a:gd name="connsiteX36" fmla="*/ 341295 w 3941813"/>
              <a:gd name="connsiteY36" fmla="*/ 254260 h 571998"/>
              <a:gd name="connsiteX37" fmla="*/ 364855 w 3941813"/>
              <a:gd name="connsiteY37" fmla="*/ 274566 h 571998"/>
              <a:gd name="connsiteX38" fmla="*/ 383255 w 3941813"/>
              <a:gd name="connsiteY38" fmla="*/ 287072 h 571998"/>
              <a:gd name="connsiteX39" fmla="*/ 390494 w 3941813"/>
              <a:gd name="connsiteY39" fmla="*/ 291862 h 571998"/>
              <a:gd name="connsiteX40" fmla="*/ 396550 w 3941813"/>
              <a:gd name="connsiteY40" fmla="*/ 295622 h 571998"/>
              <a:gd name="connsiteX41" fmla="*/ 409034 w 3941813"/>
              <a:gd name="connsiteY41" fmla="*/ 302598 h 571998"/>
              <a:gd name="connsiteX42" fmla="*/ 419364 w 3941813"/>
              <a:gd name="connsiteY42" fmla="*/ 308079 h 571998"/>
              <a:gd name="connsiteX43" fmla="*/ 431109 w 3941813"/>
              <a:gd name="connsiteY43" fmla="*/ 313598 h 571998"/>
              <a:gd name="connsiteX44" fmla="*/ 433413 w 3941813"/>
              <a:gd name="connsiteY44" fmla="*/ 314749 h 571998"/>
              <a:gd name="connsiteX45" fmla="*/ 445124 w 3941813"/>
              <a:gd name="connsiteY45" fmla="*/ 319611 h 571998"/>
              <a:gd name="connsiteX46" fmla="*/ 450799 w 3941813"/>
              <a:gd name="connsiteY46" fmla="*/ 321878 h 571998"/>
              <a:gd name="connsiteX47" fmla="*/ 462312 w 3941813"/>
              <a:gd name="connsiteY47" fmla="*/ 325820 h 571998"/>
              <a:gd name="connsiteX48" fmla="*/ 480775 w 3941813"/>
              <a:gd name="connsiteY48" fmla="*/ 331449 h 571998"/>
              <a:gd name="connsiteX49" fmla="*/ 490525 w 3941813"/>
              <a:gd name="connsiteY49" fmla="*/ 333953 h 571998"/>
              <a:gd name="connsiteX50" fmla="*/ 499752 w 3941813"/>
              <a:gd name="connsiteY50" fmla="*/ 335946 h 571998"/>
              <a:gd name="connsiteX51" fmla="*/ 520232 w 3941813"/>
              <a:gd name="connsiteY51" fmla="*/ 340163 h 571998"/>
              <a:gd name="connsiteX52" fmla="*/ 554124 w 3941813"/>
              <a:gd name="connsiteY52" fmla="*/ 343209 h 571998"/>
              <a:gd name="connsiteX53" fmla="*/ 555122 w 3941813"/>
              <a:gd name="connsiteY53" fmla="*/ 343268 h 571998"/>
              <a:gd name="connsiteX54" fmla="*/ 555467 w 3941813"/>
              <a:gd name="connsiteY54" fmla="*/ 343294 h 571998"/>
              <a:gd name="connsiteX55" fmla="*/ 572739 w 3941813"/>
              <a:gd name="connsiteY55" fmla="*/ 343958 h 571998"/>
              <a:gd name="connsiteX56" fmla="*/ 3862707 w 3941813"/>
              <a:gd name="connsiteY56" fmla="*/ 343958 h 571998"/>
              <a:gd name="connsiteX57" fmla="*/ 3941813 w 3941813"/>
              <a:gd name="connsiteY57" fmla="*/ 343958 h 571998"/>
              <a:gd name="connsiteX58" fmla="*/ 3941813 w 3941813"/>
              <a:gd name="connsiteY58" fmla="*/ 388462 h 571998"/>
              <a:gd name="connsiteX59" fmla="*/ 3940777 w 3941813"/>
              <a:gd name="connsiteY59" fmla="*/ 407437 h 571998"/>
              <a:gd name="connsiteX60" fmla="*/ 3933868 w 3941813"/>
              <a:gd name="connsiteY60" fmla="*/ 442971 h 571998"/>
              <a:gd name="connsiteX61" fmla="*/ 3920050 w 3941813"/>
              <a:gd name="connsiteY61" fmla="*/ 476090 h 571998"/>
              <a:gd name="connsiteX62" fmla="*/ 3900015 w 3941813"/>
              <a:gd name="connsiteY62" fmla="*/ 505415 h 571998"/>
              <a:gd name="connsiteX63" fmla="*/ 3875143 w 3941813"/>
              <a:gd name="connsiteY63" fmla="*/ 530254 h 571998"/>
              <a:gd name="connsiteX64" fmla="*/ 3846126 w 3941813"/>
              <a:gd name="connsiteY64" fmla="*/ 549919 h 571998"/>
              <a:gd name="connsiteX65" fmla="*/ 3812964 w 3941813"/>
              <a:gd name="connsiteY65" fmla="*/ 563718 h 571998"/>
              <a:gd name="connsiteX66" fmla="*/ 3777038 w 3941813"/>
              <a:gd name="connsiteY66" fmla="*/ 570963 h 571998"/>
              <a:gd name="connsiteX67" fmla="*/ 3758385 w 3941813"/>
              <a:gd name="connsiteY67" fmla="*/ 571998 h 571998"/>
              <a:gd name="connsiteX68" fmla="*/ 572739 w 3941813"/>
              <a:gd name="connsiteY68" fmla="*/ 571998 h 571998"/>
              <a:gd name="connsiteX69" fmla="*/ 543032 w 3941813"/>
              <a:gd name="connsiteY69" fmla="*/ 571308 h 571998"/>
              <a:gd name="connsiteX70" fmla="*/ 485343 w 3941813"/>
              <a:gd name="connsiteY70" fmla="*/ 565788 h 571998"/>
              <a:gd name="connsiteX71" fmla="*/ 429382 w 3941813"/>
              <a:gd name="connsiteY71" fmla="*/ 554059 h 571998"/>
              <a:gd name="connsiteX72" fmla="*/ 375493 w 3941813"/>
              <a:gd name="connsiteY72" fmla="*/ 537499 h 571998"/>
              <a:gd name="connsiteX73" fmla="*/ 324023 w 3941813"/>
              <a:gd name="connsiteY73" fmla="*/ 515419 h 571998"/>
              <a:gd name="connsiteX74" fmla="*/ 275661 w 3941813"/>
              <a:gd name="connsiteY74" fmla="*/ 489200 h 571998"/>
              <a:gd name="connsiteX75" fmla="*/ 229718 w 3941813"/>
              <a:gd name="connsiteY75" fmla="*/ 458495 h 571998"/>
              <a:gd name="connsiteX76" fmla="*/ 187574 w 3941813"/>
              <a:gd name="connsiteY76" fmla="*/ 423306 h 571998"/>
              <a:gd name="connsiteX77" fmla="*/ 148539 w 3941813"/>
              <a:gd name="connsiteY77" fmla="*/ 384667 h 571998"/>
              <a:gd name="connsiteX78" fmla="*/ 113650 w 3941813"/>
              <a:gd name="connsiteY78" fmla="*/ 342233 h 571998"/>
              <a:gd name="connsiteX79" fmla="*/ 82906 w 3941813"/>
              <a:gd name="connsiteY79" fmla="*/ 296349 h 571998"/>
              <a:gd name="connsiteX80" fmla="*/ 56307 w 3941813"/>
              <a:gd name="connsiteY80" fmla="*/ 248050 h 571998"/>
              <a:gd name="connsiteX81" fmla="*/ 34544 w 3941813"/>
              <a:gd name="connsiteY81" fmla="*/ 196646 h 571998"/>
              <a:gd name="connsiteX82" fmla="*/ 17963 w 3941813"/>
              <a:gd name="connsiteY82" fmla="*/ 143172 h 571998"/>
              <a:gd name="connsiteX83" fmla="*/ 6218 w 3941813"/>
              <a:gd name="connsiteY83" fmla="*/ 87283 h 571998"/>
              <a:gd name="connsiteX84" fmla="*/ 346 w 3941813"/>
              <a:gd name="connsiteY84" fmla="*/ 29669 h 57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941813" h="571998">
                <a:moveTo>
                  <a:pt x="0" y="0"/>
                </a:moveTo>
                <a:lnTo>
                  <a:pt x="228336" y="0"/>
                </a:lnTo>
                <a:lnTo>
                  <a:pt x="228336" y="1035"/>
                </a:lnTo>
                <a:lnTo>
                  <a:pt x="228336" y="2070"/>
                </a:lnTo>
                <a:lnTo>
                  <a:pt x="228336" y="3450"/>
                </a:lnTo>
                <a:lnTo>
                  <a:pt x="228336" y="4485"/>
                </a:lnTo>
                <a:lnTo>
                  <a:pt x="228336" y="6555"/>
                </a:lnTo>
                <a:lnTo>
                  <a:pt x="228336" y="8625"/>
                </a:lnTo>
                <a:lnTo>
                  <a:pt x="228336" y="13110"/>
                </a:lnTo>
                <a:lnTo>
                  <a:pt x="228681" y="17595"/>
                </a:lnTo>
                <a:lnTo>
                  <a:pt x="228681" y="21045"/>
                </a:lnTo>
                <a:lnTo>
                  <a:pt x="229372" y="24495"/>
                </a:lnTo>
                <a:lnTo>
                  <a:pt x="229561" y="29949"/>
                </a:lnTo>
                <a:lnTo>
                  <a:pt x="230860" y="43059"/>
                </a:lnTo>
                <a:lnTo>
                  <a:pt x="231099" y="44849"/>
                </a:lnTo>
                <a:lnTo>
                  <a:pt x="231445" y="47954"/>
                </a:lnTo>
                <a:lnTo>
                  <a:pt x="231790" y="51059"/>
                </a:lnTo>
                <a:lnTo>
                  <a:pt x="232439" y="55431"/>
                </a:lnTo>
                <a:lnTo>
                  <a:pt x="237460" y="78594"/>
                </a:lnTo>
                <a:lnTo>
                  <a:pt x="239935" y="88754"/>
                </a:lnTo>
                <a:lnTo>
                  <a:pt x="249062" y="117988"/>
                </a:lnTo>
                <a:lnTo>
                  <a:pt x="258766" y="141560"/>
                </a:lnTo>
                <a:lnTo>
                  <a:pt x="260462" y="145242"/>
                </a:lnTo>
                <a:lnTo>
                  <a:pt x="261844" y="148347"/>
                </a:lnTo>
                <a:lnTo>
                  <a:pt x="263571" y="152142"/>
                </a:lnTo>
                <a:lnTo>
                  <a:pt x="265643" y="155592"/>
                </a:lnTo>
                <a:lnTo>
                  <a:pt x="267371" y="158697"/>
                </a:lnTo>
                <a:lnTo>
                  <a:pt x="269060" y="162072"/>
                </a:lnTo>
                <a:lnTo>
                  <a:pt x="276558" y="175613"/>
                </a:lnTo>
                <a:lnTo>
                  <a:pt x="277043" y="176291"/>
                </a:lnTo>
                <a:lnTo>
                  <a:pt x="278368" y="178791"/>
                </a:lnTo>
                <a:lnTo>
                  <a:pt x="295536" y="204348"/>
                </a:lnTo>
                <a:lnTo>
                  <a:pt x="296042" y="204926"/>
                </a:lnTo>
                <a:lnTo>
                  <a:pt x="298303" y="207936"/>
                </a:lnTo>
                <a:lnTo>
                  <a:pt x="316635" y="230146"/>
                </a:lnTo>
                <a:lnTo>
                  <a:pt x="318158" y="231823"/>
                </a:lnTo>
                <a:lnTo>
                  <a:pt x="341295" y="254260"/>
                </a:lnTo>
                <a:lnTo>
                  <a:pt x="364855" y="274566"/>
                </a:lnTo>
                <a:lnTo>
                  <a:pt x="383255" y="287072"/>
                </a:lnTo>
                <a:lnTo>
                  <a:pt x="390494" y="291862"/>
                </a:lnTo>
                <a:lnTo>
                  <a:pt x="396550" y="295622"/>
                </a:lnTo>
                <a:lnTo>
                  <a:pt x="409034" y="302598"/>
                </a:lnTo>
                <a:lnTo>
                  <a:pt x="419364" y="308079"/>
                </a:lnTo>
                <a:lnTo>
                  <a:pt x="431109" y="313598"/>
                </a:lnTo>
                <a:lnTo>
                  <a:pt x="433413" y="314749"/>
                </a:lnTo>
                <a:lnTo>
                  <a:pt x="445124" y="319611"/>
                </a:lnTo>
                <a:lnTo>
                  <a:pt x="450799" y="321878"/>
                </a:lnTo>
                <a:lnTo>
                  <a:pt x="462312" y="325820"/>
                </a:lnTo>
                <a:lnTo>
                  <a:pt x="480775" y="331449"/>
                </a:lnTo>
                <a:lnTo>
                  <a:pt x="490525" y="333953"/>
                </a:lnTo>
                <a:lnTo>
                  <a:pt x="499752" y="335946"/>
                </a:lnTo>
                <a:lnTo>
                  <a:pt x="520232" y="340163"/>
                </a:lnTo>
                <a:lnTo>
                  <a:pt x="554124" y="343209"/>
                </a:lnTo>
                <a:lnTo>
                  <a:pt x="555122" y="343268"/>
                </a:lnTo>
                <a:lnTo>
                  <a:pt x="555467" y="343294"/>
                </a:lnTo>
                <a:lnTo>
                  <a:pt x="572739" y="343958"/>
                </a:lnTo>
                <a:lnTo>
                  <a:pt x="3862707" y="343958"/>
                </a:lnTo>
                <a:lnTo>
                  <a:pt x="3941813" y="343958"/>
                </a:lnTo>
                <a:lnTo>
                  <a:pt x="3941813" y="388462"/>
                </a:lnTo>
                <a:lnTo>
                  <a:pt x="3940777" y="407437"/>
                </a:lnTo>
                <a:lnTo>
                  <a:pt x="3933868" y="442971"/>
                </a:lnTo>
                <a:lnTo>
                  <a:pt x="3920050" y="476090"/>
                </a:lnTo>
                <a:lnTo>
                  <a:pt x="3900015" y="505415"/>
                </a:lnTo>
                <a:lnTo>
                  <a:pt x="3875143" y="530254"/>
                </a:lnTo>
                <a:lnTo>
                  <a:pt x="3846126" y="549919"/>
                </a:lnTo>
                <a:lnTo>
                  <a:pt x="3812964" y="563718"/>
                </a:lnTo>
                <a:lnTo>
                  <a:pt x="3777038" y="570963"/>
                </a:lnTo>
                <a:lnTo>
                  <a:pt x="3758385" y="571998"/>
                </a:lnTo>
                <a:lnTo>
                  <a:pt x="572739" y="571998"/>
                </a:lnTo>
                <a:lnTo>
                  <a:pt x="543032" y="571308"/>
                </a:lnTo>
                <a:lnTo>
                  <a:pt x="485343" y="565788"/>
                </a:lnTo>
                <a:lnTo>
                  <a:pt x="429382" y="554059"/>
                </a:lnTo>
                <a:lnTo>
                  <a:pt x="375493" y="537499"/>
                </a:lnTo>
                <a:lnTo>
                  <a:pt x="324023" y="515419"/>
                </a:lnTo>
                <a:lnTo>
                  <a:pt x="275661" y="489200"/>
                </a:lnTo>
                <a:lnTo>
                  <a:pt x="229718" y="458495"/>
                </a:lnTo>
                <a:lnTo>
                  <a:pt x="187574" y="423306"/>
                </a:lnTo>
                <a:lnTo>
                  <a:pt x="148539" y="384667"/>
                </a:lnTo>
                <a:lnTo>
                  <a:pt x="113650" y="342233"/>
                </a:lnTo>
                <a:lnTo>
                  <a:pt x="82906" y="296349"/>
                </a:lnTo>
                <a:lnTo>
                  <a:pt x="56307" y="248050"/>
                </a:lnTo>
                <a:lnTo>
                  <a:pt x="34544" y="196646"/>
                </a:lnTo>
                <a:lnTo>
                  <a:pt x="17963" y="143172"/>
                </a:lnTo>
                <a:lnTo>
                  <a:pt x="6218" y="87283"/>
                </a:lnTo>
                <a:lnTo>
                  <a:pt x="346" y="29669"/>
                </a:ln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56" name="Freeform 585">
            <a:extLst>
              <a:ext uri="{FF2B5EF4-FFF2-40B4-BE49-F238E27FC236}">
                <a16:creationId xmlns:a16="http://schemas.microsoft.com/office/drawing/2014/main" id="{4CF9D444-780F-66CD-0F38-5222BFBC3902}"/>
              </a:ext>
            </a:extLst>
          </p:cNvPr>
          <p:cNvSpPr>
            <a:spLocks/>
          </p:cNvSpPr>
          <p:nvPr/>
        </p:nvSpPr>
        <p:spPr bwMode="auto">
          <a:xfrm>
            <a:off x="6582141" y="1588239"/>
            <a:ext cx="689438" cy="6894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191C21"/>
                </a:solidFill>
                <a:effectLst/>
                <a:uLnTx/>
                <a:uFillTx/>
                <a:latin typeface="Arial"/>
                <a:ea typeface="+mn-ea"/>
                <a:cs typeface="+mn-cs"/>
              </a:rPr>
              <a:t>2</a:t>
            </a:r>
          </a:p>
        </p:txBody>
      </p:sp>
      <p:sp>
        <p:nvSpPr>
          <p:cNvPr id="57" name="Freeform 588">
            <a:extLst>
              <a:ext uri="{FF2B5EF4-FFF2-40B4-BE49-F238E27FC236}">
                <a16:creationId xmlns:a16="http://schemas.microsoft.com/office/drawing/2014/main" id="{3968B676-5897-55D5-17E6-04C5E018656B}"/>
              </a:ext>
            </a:extLst>
          </p:cNvPr>
          <p:cNvSpPr>
            <a:spLocks/>
          </p:cNvSpPr>
          <p:nvPr/>
        </p:nvSpPr>
        <p:spPr bwMode="auto">
          <a:xfrm>
            <a:off x="6354171" y="3014959"/>
            <a:ext cx="1145378" cy="1143996"/>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58" name="Freeform 587">
            <a:extLst>
              <a:ext uri="{FF2B5EF4-FFF2-40B4-BE49-F238E27FC236}">
                <a16:creationId xmlns:a16="http://schemas.microsoft.com/office/drawing/2014/main" id="{368D904D-26DB-3852-213B-04F5C80D844D}"/>
              </a:ext>
            </a:extLst>
          </p:cNvPr>
          <p:cNvSpPr>
            <a:spLocks/>
          </p:cNvSpPr>
          <p:nvPr/>
        </p:nvSpPr>
        <p:spPr bwMode="auto">
          <a:xfrm>
            <a:off x="6582141" y="3241548"/>
            <a:ext cx="689438" cy="689438"/>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59" name="Freeform 589">
            <a:extLst>
              <a:ext uri="{FF2B5EF4-FFF2-40B4-BE49-F238E27FC236}">
                <a16:creationId xmlns:a16="http://schemas.microsoft.com/office/drawing/2014/main" id="{475F06DF-47A5-B4CA-0A60-ABA02551EB77}"/>
              </a:ext>
            </a:extLst>
          </p:cNvPr>
          <p:cNvSpPr>
            <a:spLocks/>
          </p:cNvSpPr>
          <p:nvPr/>
        </p:nvSpPr>
        <p:spPr bwMode="auto">
          <a:xfrm>
            <a:off x="7225984" y="3591103"/>
            <a:ext cx="160270" cy="392385"/>
          </a:xfrm>
          <a:custGeom>
            <a:avLst/>
            <a:gdLst>
              <a:gd name="T0" fmla="*/ 462 w 462"/>
              <a:gd name="T1" fmla="*/ 981 h 1135"/>
              <a:gd name="T2" fmla="*/ 460 w 462"/>
              <a:gd name="T3" fmla="*/ 985 h 1135"/>
              <a:gd name="T4" fmla="*/ 457 w 462"/>
              <a:gd name="T5" fmla="*/ 989 h 1135"/>
              <a:gd name="T6" fmla="*/ 443 w 462"/>
              <a:gd name="T7" fmla="*/ 1007 h 1135"/>
              <a:gd name="T8" fmla="*/ 427 w 462"/>
              <a:gd name="T9" fmla="*/ 1025 h 1135"/>
              <a:gd name="T10" fmla="*/ 418 w 462"/>
              <a:gd name="T11" fmla="*/ 1037 h 1135"/>
              <a:gd name="T12" fmla="*/ 409 w 462"/>
              <a:gd name="T13" fmla="*/ 1048 h 1135"/>
              <a:gd name="T14" fmla="*/ 408 w 462"/>
              <a:gd name="T15" fmla="*/ 1050 h 1135"/>
              <a:gd name="T16" fmla="*/ 408 w 462"/>
              <a:gd name="T17" fmla="*/ 1050 h 1135"/>
              <a:gd name="T18" fmla="*/ 396 w 462"/>
              <a:gd name="T19" fmla="*/ 1064 h 1135"/>
              <a:gd name="T20" fmla="*/ 383 w 462"/>
              <a:gd name="T21" fmla="*/ 1078 h 1135"/>
              <a:gd name="T22" fmla="*/ 369 w 462"/>
              <a:gd name="T23" fmla="*/ 1095 h 1135"/>
              <a:gd name="T24" fmla="*/ 355 w 462"/>
              <a:gd name="T25" fmla="*/ 1110 h 1135"/>
              <a:gd name="T26" fmla="*/ 343 w 462"/>
              <a:gd name="T27" fmla="*/ 1123 h 1135"/>
              <a:gd name="T28" fmla="*/ 332 w 462"/>
              <a:gd name="T29" fmla="*/ 1135 h 1135"/>
              <a:gd name="T30" fmla="*/ 276 w 462"/>
              <a:gd name="T31" fmla="*/ 1062 h 1135"/>
              <a:gd name="T32" fmla="*/ 177 w 462"/>
              <a:gd name="T33" fmla="*/ 908 h 1135"/>
              <a:gd name="T34" fmla="*/ 94 w 462"/>
              <a:gd name="T35" fmla="*/ 745 h 1135"/>
              <a:gd name="T36" fmla="*/ 27 w 462"/>
              <a:gd name="T37" fmla="*/ 573 h 1135"/>
              <a:gd name="T38" fmla="*/ 0 w 462"/>
              <a:gd name="T39" fmla="*/ 483 h 1135"/>
              <a:gd name="T40" fmla="*/ 36 w 462"/>
              <a:gd name="T41" fmla="*/ 417 h 1135"/>
              <a:gd name="T42" fmla="*/ 65 w 462"/>
              <a:gd name="T43" fmla="*/ 348 h 1135"/>
              <a:gd name="T44" fmla="*/ 68 w 462"/>
              <a:gd name="T45" fmla="*/ 341 h 1135"/>
              <a:gd name="T46" fmla="*/ 71 w 462"/>
              <a:gd name="T47" fmla="*/ 333 h 1135"/>
              <a:gd name="T48" fmla="*/ 81 w 462"/>
              <a:gd name="T49" fmla="*/ 303 h 1135"/>
              <a:gd name="T50" fmla="*/ 90 w 462"/>
              <a:gd name="T51" fmla="*/ 273 h 1135"/>
              <a:gd name="T52" fmla="*/ 94 w 462"/>
              <a:gd name="T53" fmla="*/ 263 h 1135"/>
              <a:gd name="T54" fmla="*/ 97 w 462"/>
              <a:gd name="T55" fmla="*/ 252 h 1135"/>
              <a:gd name="T56" fmla="*/ 100 w 462"/>
              <a:gd name="T57" fmla="*/ 242 h 1135"/>
              <a:gd name="T58" fmla="*/ 102 w 462"/>
              <a:gd name="T59" fmla="*/ 232 h 1135"/>
              <a:gd name="T60" fmla="*/ 105 w 462"/>
              <a:gd name="T61" fmla="*/ 223 h 1135"/>
              <a:gd name="T62" fmla="*/ 106 w 462"/>
              <a:gd name="T63" fmla="*/ 214 h 1135"/>
              <a:gd name="T64" fmla="*/ 110 w 462"/>
              <a:gd name="T65" fmla="*/ 201 h 1135"/>
              <a:gd name="T66" fmla="*/ 112 w 462"/>
              <a:gd name="T67" fmla="*/ 189 h 1135"/>
              <a:gd name="T68" fmla="*/ 112 w 462"/>
              <a:gd name="T69" fmla="*/ 182 h 1135"/>
              <a:gd name="T70" fmla="*/ 114 w 462"/>
              <a:gd name="T71" fmla="*/ 177 h 1135"/>
              <a:gd name="T72" fmla="*/ 116 w 462"/>
              <a:gd name="T73" fmla="*/ 166 h 1135"/>
              <a:gd name="T74" fmla="*/ 119 w 462"/>
              <a:gd name="T75" fmla="*/ 153 h 1135"/>
              <a:gd name="T76" fmla="*/ 125 w 462"/>
              <a:gd name="T77" fmla="*/ 109 h 1135"/>
              <a:gd name="T78" fmla="*/ 129 w 462"/>
              <a:gd name="T79" fmla="*/ 64 h 1135"/>
              <a:gd name="T80" fmla="*/ 131 w 462"/>
              <a:gd name="T81" fmla="*/ 53 h 1135"/>
              <a:gd name="T82" fmla="*/ 131 w 462"/>
              <a:gd name="T83" fmla="*/ 41 h 1135"/>
              <a:gd name="T84" fmla="*/ 131 w 462"/>
              <a:gd name="T85" fmla="*/ 39 h 1135"/>
              <a:gd name="T86" fmla="*/ 131 w 462"/>
              <a:gd name="T87" fmla="*/ 35 h 1135"/>
              <a:gd name="T88" fmla="*/ 132 w 462"/>
              <a:gd name="T89" fmla="*/ 26 h 1135"/>
              <a:gd name="T90" fmla="*/ 132 w 462"/>
              <a:gd name="T91" fmla="*/ 17 h 1135"/>
              <a:gd name="T92" fmla="*/ 132 w 462"/>
              <a:gd name="T93" fmla="*/ 7 h 1135"/>
              <a:gd name="T94" fmla="*/ 132 w 462"/>
              <a:gd name="T95" fmla="*/ 0 h 1135"/>
              <a:gd name="T96" fmla="*/ 133 w 462"/>
              <a:gd name="T97" fmla="*/ 68 h 1135"/>
              <a:gd name="T98" fmla="*/ 145 w 462"/>
              <a:gd name="T99" fmla="*/ 204 h 1135"/>
              <a:gd name="T100" fmla="*/ 168 w 462"/>
              <a:gd name="T101" fmla="*/ 335 h 1135"/>
              <a:gd name="T102" fmla="*/ 201 w 462"/>
              <a:gd name="T103" fmla="*/ 464 h 1135"/>
              <a:gd name="T104" fmla="*/ 243 w 462"/>
              <a:gd name="T105" fmla="*/ 587 h 1135"/>
              <a:gd name="T106" fmla="*/ 295 w 462"/>
              <a:gd name="T107" fmla="*/ 706 h 1135"/>
              <a:gd name="T108" fmla="*/ 355 w 462"/>
              <a:gd name="T109" fmla="*/ 820 h 1135"/>
              <a:gd name="T110" fmla="*/ 425 w 462"/>
              <a:gd name="T111" fmla="*/ 929 h 1135"/>
              <a:gd name="T112" fmla="*/ 462 w 462"/>
              <a:gd name="T113" fmla="*/ 981 h 1135"/>
              <a:gd name="T114" fmla="*/ 462 w 462"/>
              <a:gd name="T115" fmla="*/ 981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2" h="1135">
                <a:moveTo>
                  <a:pt x="462" y="981"/>
                </a:moveTo>
                <a:lnTo>
                  <a:pt x="460" y="985"/>
                </a:lnTo>
                <a:lnTo>
                  <a:pt x="457" y="989"/>
                </a:lnTo>
                <a:lnTo>
                  <a:pt x="443" y="1007"/>
                </a:lnTo>
                <a:lnTo>
                  <a:pt x="427" y="1025"/>
                </a:lnTo>
                <a:lnTo>
                  <a:pt x="418" y="1037"/>
                </a:lnTo>
                <a:lnTo>
                  <a:pt x="409" y="1048"/>
                </a:lnTo>
                <a:lnTo>
                  <a:pt x="408" y="1050"/>
                </a:lnTo>
                <a:lnTo>
                  <a:pt x="408" y="1050"/>
                </a:lnTo>
                <a:lnTo>
                  <a:pt x="396" y="1064"/>
                </a:lnTo>
                <a:lnTo>
                  <a:pt x="383" y="1078"/>
                </a:lnTo>
                <a:lnTo>
                  <a:pt x="369" y="1095"/>
                </a:lnTo>
                <a:lnTo>
                  <a:pt x="355" y="1110"/>
                </a:lnTo>
                <a:lnTo>
                  <a:pt x="343" y="1123"/>
                </a:lnTo>
                <a:lnTo>
                  <a:pt x="332" y="1135"/>
                </a:lnTo>
                <a:lnTo>
                  <a:pt x="276" y="1062"/>
                </a:lnTo>
                <a:lnTo>
                  <a:pt x="177" y="908"/>
                </a:lnTo>
                <a:lnTo>
                  <a:pt x="94" y="745"/>
                </a:lnTo>
                <a:lnTo>
                  <a:pt x="27" y="573"/>
                </a:lnTo>
                <a:lnTo>
                  <a:pt x="0" y="483"/>
                </a:lnTo>
                <a:lnTo>
                  <a:pt x="36" y="417"/>
                </a:lnTo>
                <a:lnTo>
                  <a:pt x="65" y="348"/>
                </a:lnTo>
                <a:lnTo>
                  <a:pt x="68" y="341"/>
                </a:lnTo>
                <a:lnTo>
                  <a:pt x="71" y="333"/>
                </a:lnTo>
                <a:lnTo>
                  <a:pt x="81" y="303"/>
                </a:lnTo>
                <a:lnTo>
                  <a:pt x="90" y="273"/>
                </a:lnTo>
                <a:lnTo>
                  <a:pt x="94" y="263"/>
                </a:lnTo>
                <a:lnTo>
                  <a:pt x="97" y="252"/>
                </a:lnTo>
                <a:lnTo>
                  <a:pt x="100" y="242"/>
                </a:lnTo>
                <a:lnTo>
                  <a:pt x="102" y="232"/>
                </a:lnTo>
                <a:lnTo>
                  <a:pt x="105" y="223"/>
                </a:lnTo>
                <a:lnTo>
                  <a:pt x="106" y="214"/>
                </a:lnTo>
                <a:lnTo>
                  <a:pt x="110" y="201"/>
                </a:lnTo>
                <a:lnTo>
                  <a:pt x="112" y="189"/>
                </a:lnTo>
                <a:lnTo>
                  <a:pt x="112" y="182"/>
                </a:lnTo>
                <a:lnTo>
                  <a:pt x="114" y="177"/>
                </a:lnTo>
                <a:lnTo>
                  <a:pt x="116" y="166"/>
                </a:lnTo>
                <a:lnTo>
                  <a:pt x="119" y="153"/>
                </a:lnTo>
                <a:lnTo>
                  <a:pt x="125" y="109"/>
                </a:lnTo>
                <a:lnTo>
                  <a:pt x="129" y="64"/>
                </a:lnTo>
                <a:lnTo>
                  <a:pt x="131" y="53"/>
                </a:lnTo>
                <a:lnTo>
                  <a:pt x="131" y="41"/>
                </a:lnTo>
                <a:lnTo>
                  <a:pt x="131" y="39"/>
                </a:lnTo>
                <a:lnTo>
                  <a:pt x="131" y="35"/>
                </a:lnTo>
                <a:lnTo>
                  <a:pt x="132" y="26"/>
                </a:lnTo>
                <a:lnTo>
                  <a:pt x="132" y="17"/>
                </a:lnTo>
                <a:lnTo>
                  <a:pt x="132" y="7"/>
                </a:lnTo>
                <a:lnTo>
                  <a:pt x="132" y="0"/>
                </a:lnTo>
                <a:lnTo>
                  <a:pt x="133" y="68"/>
                </a:lnTo>
                <a:lnTo>
                  <a:pt x="145" y="204"/>
                </a:lnTo>
                <a:lnTo>
                  <a:pt x="168" y="335"/>
                </a:lnTo>
                <a:lnTo>
                  <a:pt x="201" y="464"/>
                </a:lnTo>
                <a:lnTo>
                  <a:pt x="243" y="587"/>
                </a:lnTo>
                <a:lnTo>
                  <a:pt x="295" y="706"/>
                </a:lnTo>
                <a:lnTo>
                  <a:pt x="355" y="820"/>
                </a:lnTo>
                <a:lnTo>
                  <a:pt x="425" y="929"/>
                </a:lnTo>
                <a:lnTo>
                  <a:pt x="462" y="981"/>
                </a:lnTo>
                <a:lnTo>
                  <a:pt x="462" y="981"/>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60" name="Freeform 590">
            <a:extLst>
              <a:ext uri="{FF2B5EF4-FFF2-40B4-BE49-F238E27FC236}">
                <a16:creationId xmlns:a16="http://schemas.microsoft.com/office/drawing/2014/main" id="{1369BC24-7292-B24A-8D68-04AC6E24C3AE}"/>
              </a:ext>
            </a:extLst>
          </p:cNvPr>
          <p:cNvSpPr>
            <a:spLocks/>
          </p:cNvSpPr>
          <p:nvPr/>
        </p:nvSpPr>
        <p:spPr bwMode="auto">
          <a:xfrm>
            <a:off x="7225984" y="3591103"/>
            <a:ext cx="160270" cy="392385"/>
          </a:xfrm>
          <a:custGeom>
            <a:avLst/>
            <a:gdLst>
              <a:gd name="T0" fmla="*/ 132 w 462"/>
              <a:gd name="T1" fmla="*/ 0 h 1135"/>
              <a:gd name="T2" fmla="*/ 132 w 462"/>
              <a:gd name="T3" fmla="*/ 7 h 1135"/>
              <a:gd name="T4" fmla="*/ 132 w 462"/>
              <a:gd name="T5" fmla="*/ 17 h 1135"/>
              <a:gd name="T6" fmla="*/ 132 w 462"/>
              <a:gd name="T7" fmla="*/ 26 h 1135"/>
              <a:gd name="T8" fmla="*/ 131 w 462"/>
              <a:gd name="T9" fmla="*/ 35 h 1135"/>
              <a:gd name="T10" fmla="*/ 131 w 462"/>
              <a:gd name="T11" fmla="*/ 39 h 1135"/>
              <a:gd name="T12" fmla="*/ 131 w 462"/>
              <a:gd name="T13" fmla="*/ 41 h 1135"/>
              <a:gd name="T14" fmla="*/ 131 w 462"/>
              <a:gd name="T15" fmla="*/ 53 h 1135"/>
              <a:gd name="T16" fmla="*/ 129 w 462"/>
              <a:gd name="T17" fmla="*/ 64 h 1135"/>
              <a:gd name="T18" fmla="*/ 125 w 462"/>
              <a:gd name="T19" fmla="*/ 109 h 1135"/>
              <a:gd name="T20" fmla="*/ 119 w 462"/>
              <a:gd name="T21" fmla="*/ 153 h 1135"/>
              <a:gd name="T22" fmla="*/ 116 w 462"/>
              <a:gd name="T23" fmla="*/ 166 h 1135"/>
              <a:gd name="T24" fmla="*/ 114 w 462"/>
              <a:gd name="T25" fmla="*/ 177 h 1135"/>
              <a:gd name="T26" fmla="*/ 112 w 462"/>
              <a:gd name="T27" fmla="*/ 182 h 1135"/>
              <a:gd name="T28" fmla="*/ 112 w 462"/>
              <a:gd name="T29" fmla="*/ 189 h 1135"/>
              <a:gd name="T30" fmla="*/ 110 w 462"/>
              <a:gd name="T31" fmla="*/ 201 h 1135"/>
              <a:gd name="T32" fmla="*/ 106 w 462"/>
              <a:gd name="T33" fmla="*/ 214 h 1135"/>
              <a:gd name="T34" fmla="*/ 105 w 462"/>
              <a:gd name="T35" fmla="*/ 223 h 1135"/>
              <a:gd name="T36" fmla="*/ 102 w 462"/>
              <a:gd name="T37" fmla="*/ 232 h 1135"/>
              <a:gd name="T38" fmla="*/ 100 w 462"/>
              <a:gd name="T39" fmla="*/ 242 h 1135"/>
              <a:gd name="T40" fmla="*/ 97 w 462"/>
              <a:gd name="T41" fmla="*/ 252 h 1135"/>
              <a:gd name="T42" fmla="*/ 94 w 462"/>
              <a:gd name="T43" fmla="*/ 263 h 1135"/>
              <a:gd name="T44" fmla="*/ 90 w 462"/>
              <a:gd name="T45" fmla="*/ 273 h 1135"/>
              <a:gd name="T46" fmla="*/ 81 w 462"/>
              <a:gd name="T47" fmla="*/ 303 h 1135"/>
              <a:gd name="T48" fmla="*/ 71 w 462"/>
              <a:gd name="T49" fmla="*/ 333 h 1135"/>
              <a:gd name="T50" fmla="*/ 65 w 462"/>
              <a:gd name="T51" fmla="*/ 348 h 1135"/>
              <a:gd name="T52" fmla="*/ 36 w 462"/>
              <a:gd name="T53" fmla="*/ 417 h 1135"/>
              <a:gd name="T54" fmla="*/ 0 w 462"/>
              <a:gd name="T55" fmla="*/ 483 h 1135"/>
              <a:gd name="T56" fmla="*/ 27 w 462"/>
              <a:gd name="T57" fmla="*/ 573 h 1135"/>
              <a:gd name="T58" fmla="*/ 94 w 462"/>
              <a:gd name="T59" fmla="*/ 745 h 1135"/>
              <a:gd name="T60" fmla="*/ 177 w 462"/>
              <a:gd name="T61" fmla="*/ 908 h 1135"/>
              <a:gd name="T62" fmla="*/ 276 w 462"/>
              <a:gd name="T63" fmla="*/ 1062 h 1135"/>
              <a:gd name="T64" fmla="*/ 332 w 462"/>
              <a:gd name="T65" fmla="*/ 1135 h 1135"/>
              <a:gd name="T66" fmla="*/ 343 w 462"/>
              <a:gd name="T67" fmla="*/ 1123 h 1135"/>
              <a:gd name="T68" fmla="*/ 355 w 462"/>
              <a:gd name="T69" fmla="*/ 1110 h 1135"/>
              <a:gd name="T70" fmla="*/ 369 w 462"/>
              <a:gd name="T71" fmla="*/ 1095 h 1135"/>
              <a:gd name="T72" fmla="*/ 383 w 462"/>
              <a:gd name="T73" fmla="*/ 1078 h 1135"/>
              <a:gd name="T74" fmla="*/ 396 w 462"/>
              <a:gd name="T75" fmla="*/ 1064 h 1135"/>
              <a:gd name="T76" fmla="*/ 408 w 462"/>
              <a:gd name="T77" fmla="*/ 1050 h 1135"/>
              <a:gd name="T78" fmla="*/ 408 w 462"/>
              <a:gd name="T79" fmla="*/ 1050 h 1135"/>
              <a:gd name="T80" fmla="*/ 409 w 462"/>
              <a:gd name="T81" fmla="*/ 1048 h 1135"/>
              <a:gd name="T82" fmla="*/ 418 w 462"/>
              <a:gd name="T83" fmla="*/ 1037 h 1135"/>
              <a:gd name="T84" fmla="*/ 427 w 462"/>
              <a:gd name="T85" fmla="*/ 1025 h 1135"/>
              <a:gd name="T86" fmla="*/ 443 w 462"/>
              <a:gd name="T87" fmla="*/ 1007 h 1135"/>
              <a:gd name="T88" fmla="*/ 457 w 462"/>
              <a:gd name="T89" fmla="*/ 989 h 1135"/>
              <a:gd name="T90" fmla="*/ 460 w 462"/>
              <a:gd name="T91" fmla="*/ 985 h 1135"/>
              <a:gd name="T92" fmla="*/ 462 w 462"/>
              <a:gd name="T93" fmla="*/ 981 h 1135"/>
              <a:gd name="T94" fmla="*/ 425 w 462"/>
              <a:gd name="T95" fmla="*/ 929 h 1135"/>
              <a:gd name="T96" fmla="*/ 355 w 462"/>
              <a:gd name="T97" fmla="*/ 820 h 1135"/>
              <a:gd name="T98" fmla="*/ 295 w 462"/>
              <a:gd name="T99" fmla="*/ 706 h 1135"/>
              <a:gd name="T100" fmla="*/ 243 w 462"/>
              <a:gd name="T101" fmla="*/ 587 h 1135"/>
              <a:gd name="T102" fmla="*/ 201 w 462"/>
              <a:gd name="T103" fmla="*/ 464 h 1135"/>
              <a:gd name="T104" fmla="*/ 168 w 462"/>
              <a:gd name="T105" fmla="*/ 335 h 1135"/>
              <a:gd name="T106" fmla="*/ 145 w 462"/>
              <a:gd name="T107" fmla="*/ 204 h 1135"/>
              <a:gd name="T108" fmla="*/ 133 w 462"/>
              <a:gd name="T109" fmla="*/ 68 h 1135"/>
              <a:gd name="T110" fmla="*/ 132 w 462"/>
              <a:gd name="T111" fmla="*/ 0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2" h="1135">
                <a:moveTo>
                  <a:pt x="132" y="0"/>
                </a:moveTo>
                <a:lnTo>
                  <a:pt x="132" y="7"/>
                </a:lnTo>
                <a:lnTo>
                  <a:pt x="132" y="17"/>
                </a:lnTo>
                <a:lnTo>
                  <a:pt x="132" y="26"/>
                </a:lnTo>
                <a:lnTo>
                  <a:pt x="131" y="35"/>
                </a:lnTo>
                <a:lnTo>
                  <a:pt x="131" y="39"/>
                </a:lnTo>
                <a:lnTo>
                  <a:pt x="131" y="41"/>
                </a:lnTo>
                <a:lnTo>
                  <a:pt x="131" y="53"/>
                </a:lnTo>
                <a:lnTo>
                  <a:pt x="129" y="64"/>
                </a:lnTo>
                <a:lnTo>
                  <a:pt x="125" y="109"/>
                </a:lnTo>
                <a:lnTo>
                  <a:pt x="119" y="153"/>
                </a:lnTo>
                <a:lnTo>
                  <a:pt x="116" y="166"/>
                </a:lnTo>
                <a:lnTo>
                  <a:pt x="114" y="177"/>
                </a:lnTo>
                <a:lnTo>
                  <a:pt x="112" y="182"/>
                </a:lnTo>
                <a:lnTo>
                  <a:pt x="112" y="189"/>
                </a:lnTo>
                <a:lnTo>
                  <a:pt x="110" y="201"/>
                </a:lnTo>
                <a:lnTo>
                  <a:pt x="106" y="214"/>
                </a:lnTo>
                <a:lnTo>
                  <a:pt x="105" y="223"/>
                </a:lnTo>
                <a:lnTo>
                  <a:pt x="102" y="232"/>
                </a:lnTo>
                <a:lnTo>
                  <a:pt x="100" y="242"/>
                </a:lnTo>
                <a:lnTo>
                  <a:pt x="97" y="252"/>
                </a:lnTo>
                <a:lnTo>
                  <a:pt x="94" y="263"/>
                </a:lnTo>
                <a:lnTo>
                  <a:pt x="90" y="273"/>
                </a:lnTo>
                <a:lnTo>
                  <a:pt x="81" y="303"/>
                </a:lnTo>
                <a:lnTo>
                  <a:pt x="71" y="333"/>
                </a:lnTo>
                <a:lnTo>
                  <a:pt x="65" y="348"/>
                </a:lnTo>
                <a:lnTo>
                  <a:pt x="36" y="417"/>
                </a:lnTo>
                <a:lnTo>
                  <a:pt x="0" y="483"/>
                </a:lnTo>
                <a:lnTo>
                  <a:pt x="27" y="573"/>
                </a:lnTo>
                <a:lnTo>
                  <a:pt x="94" y="745"/>
                </a:lnTo>
                <a:lnTo>
                  <a:pt x="177" y="908"/>
                </a:lnTo>
                <a:lnTo>
                  <a:pt x="276" y="1062"/>
                </a:lnTo>
                <a:lnTo>
                  <a:pt x="332" y="1135"/>
                </a:lnTo>
                <a:lnTo>
                  <a:pt x="343" y="1123"/>
                </a:lnTo>
                <a:lnTo>
                  <a:pt x="355" y="1110"/>
                </a:lnTo>
                <a:lnTo>
                  <a:pt x="369" y="1095"/>
                </a:lnTo>
                <a:lnTo>
                  <a:pt x="383" y="1078"/>
                </a:lnTo>
                <a:lnTo>
                  <a:pt x="396" y="1064"/>
                </a:lnTo>
                <a:lnTo>
                  <a:pt x="408" y="1050"/>
                </a:lnTo>
                <a:lnTo>
                  <a:pt x="408" y="1050"/>
                </a:lnTo>
                <a:lnTo>
                  <a:pt x="409" y="1048"/>
                </a:lnTo>
                <a:lnTo>
                  <a:pt x="418" y="1037"/>
                </a:lnTo>
                <a:lnTo>
                  <a:pt x="427" y="1025"/>
                </a:lnTo>
                <a:lnTo>
                  <a:pt x="443" y="1007"/>
                </a:lnTo>
                <a:lnTo>
                  <a:pt x="457" y="989"/>
                </a:lnTo>
                <a:lnTo>
                  <a:pt x="460" y="985"/>
                </a:lnTo>
                <a:lnTo>
                  <a:pt x="462" y="981"/>
                </a:lnTo>
                <a:lnTo>
                  <a:pt x="425" y="929"/>
                </a:lnTo>
                <a:lnTo>
                  <a:pt x="355" y="820"/>
                </a:lnTo>
                <a:lnTo>
                  <a:pt x="295" y="706"/>
                </a:lnTo>
                <a:lnTo>
                  <a:pt x="243" y="587"/>
                </a:lnTo>
                <a:lnTo>
                  <a:pt x="201" y="464"/>
                </a:lnTo>
                <a:lnTo>
                  <a:pt x="168" y="335"/>
                </a:lnTo>
                <a:lnTo>
                  <a:pt x="145" y="204"/>
                </a:lnTo>
                <a:lnTo>
                  <a:pt x="133" y="68"/>
                </a:lnTo>
                <a:lnTo>
                  <a:pt x="132"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61" name="Freeform: Shape 159">
            <a:extLst>
              <a:ext uri="{FF2B5EF4-FFF2-40B4-BE49-F238E27FC236}">
                <a16:creationId xmlns:a16="http://schemas.microsoft.com/office/drawing/2014/main" id="{E85962A4-47C7-620A-25D1-973A77F70FBF}"/>
              </a:ext>
            </a:extLst>
          </p:cNvPr>
          <p:cNvSpPr>
            <a:spLocks/>
          </p:cNvSpPr>
          <p:nvPr/>
        </p:nvSpPr>
        <p:spPr bwMode="auto">
          <a:xfrm>
            <a:off x="7271579" y="3586957"/>
            <a:ext cx="3941813" cy="571998"/>
          </a:xfrm>
          <a:custGeom>
            <a:avLst/>
            <a:gdLst>
              <a:gd name="connsiteX0" fmla="*/ 0 w 3941813"/>
              <a:gd name="connsiteY0" fmla="*/ 0 h 571998"/>
              <a:gd name="connsiteX1" fmla="*/ 228336 w 3941813"/>
              <a:gd name="connsiteY1" fmla="*/ 0 h 571998"/>
              <a:gd name="connsiteX2" fmla="*/ 228336 w 3941813"/>
              <a:gd name="connsiteY2" fmla="*/ 1035 h 571998"/>
              <a:gd name="connsiteX3" fmla="*/ 228336 w 3941813"/>
              <a:gd name="connsiteY3" fmla="*/ 2070 h 571998"/>
              <a:gd name="connsiteX4" fmla="*/ 228336 w 3941813"/>
              <a:gd name="connsiteY4" fmla="*/ 3450 h 571998"/>
              <a:gd name="connsiteX5" fmla="*/ 228336 w 3941813"/>
              <a:gd name="connsiteY5" fmla="*/ 4485 h 571998"/>
              <a:gd name="connsiteX6" fmla="*/ 228336 w 3941813"/>
              <a:gd name="connsiteY6" fmla="*/ 6555 h 571998"/>
              <a:gd name="connsiteX7" fmla="*/ 228336 w 3941813"/>
              <a:gd name="connsiteY7" fmla="*/ 8625 h 571998"/>
              <a:gd name="connsiteX8" fmla="*/ 228336 w 3941813"/>
              <a:gd name="connsiteY8" fmla="*/ 13110 h 571998"/>
              <a:gd name="connsiteX9" fmla="*/ 228681 w 3941813"/>
              <a:gd name="connsiteY9" fmla="*/ 17595 h 571998"/>
              <a:gd name="connsiteX10" fmla="*/ 228681 w 3941813"/>
              <a:gd name="connsiteY10" fmla="*/ 21045 h 571998"/>
              <a:gd name="connsiteX11" fmla="*/ 229372 w 3941813"/>
              <a:gd name="connsiteY11" fmla="*/ 24495 h 571998"/>
              <a:gd name="connsiteX12" fmla="*/ 229561 w 3941813"/>
              <a:gd name="connsiteY12" fmla="*/ 29949 h 571998"/>
              <a:gd name="connsiteX13" fmla="*/ 230860 w 3941813"/>
              <a:gd name="connsiteY13" fmla="*/ 43059 h 571998"/>
              <a:gd name="connsiteX14" fmla="*/ 231099 w 3941813"/>
              <a:gd name="connsiteY14" fmla="*/ 44849 h 571998"/>
              <a:gd name="connsiteX15" fmla="*/ 231445 w 3941813"/>
              <a:gd name="connsiteY15" fmla="*/ 47954 h 571998"/>
              <a:gd name="connsiteX16" fmla="*/ 231790 w 3941813"/>
              <a:gd name="connsiteY16" fmla="*/ 51059 h 571998"/>
              <a:gd name="connsiteX17" fmla="*/ 232439 w 3941813"/>
              <a:gd name="connsiteY17" fmla="*/ 55431 h 571998"/>
              <a:gd name="connsiteX18" fmla="*/ 237460 w 3941813"/>
              <a:gd name="connsiteY18" fmla="*/ 78594 h 571998"/>
              <a:gd name="connsiteX19" fmla="*/ 239935 w 3941813"/>
              <a:gd name="connsiteY19" fmla="*/ 88754 h 571998"/>
              <a:gd name="connsiteX20" fmla="*/ 249062 w 3941813"/>
              <a:gd name="connsiteY20" fmla="*/ 117988 h 571998"/>
              <a:gd name="connsiteX21" fmla="*/ 258766 w 3941813"/>
              <a:gd name="connsiteY21" fmla="*/ 141560 h 571998"/>
              <a:gd name="connsiteX22" fmla="*/ 260462 w 3941813"/>
              <a:gd name="connsiteY22" fmla="*/ 145242 h 571998"/>
              <a:gd name="connsiteX23" fmla="*/ 261844 w 3941813"/>
              <a:gd name="connsiteY23" fmla="*/ 148347 h 571998"/>
              <a:gd name="connsiteX24" fmla="*/ 263571 w 3941813"/>
              <a:gd name="connsiteY24" fmla="*/ 152142 h 571998"/>
              <a:gd name="connsiteX25" fmla="*/ 265643 w 3941813"/>
              <a:gd name="connsiteY25" fmla="*/ 155592 h 571998"/>
              <a:gd name="connsiteX26" fmla="*/ 267371 w 3941813"/>
              <a:gd name="connsiteY26" fmla="*/ 158697 h 571998"/>
              <a:gd name="connsiteX27" fmla="*/ 269060 w 3941813"/>
              <a:gd name="connsiteY27" fmla="*/ 162072 h 571998"/>
              <a:gd name="connsiteX28" fmla="*/ 276558 w 3941813"/>
              <a:gd name="connsiteY28" fmla="*/ 175613 h 571998"/>
              <a:gd name="connsiteX29" fmla="*/ 277043 w 3941813"/>
              <a:gd name="connsiteY29" fmla="*/ 176291 h 571998"/>
              <a:gd name="connsiteX30" fmla="*/ 278368 w 3941813"/>
              <a:gd name="connsiteY30" fmla="*/ 178791 h 571998"/>
              <a:gd name="connsiteX31" fmla="*/ 295536 w 3941813"/>
              <a:gd name="connsiteY31" fmla="*/ 204348 h 571998"/>
              <a:gd name="connsiteX32" fmla="*/ 296042 w 3941813"/>
              <a:gd name="connsiteY32" fmla="*/ 204926 h 571998"/>
              <a:gd name="connsiteX33" fmla="*/ 298303 w 3941813"/>
              <a:gd name="connsiteY33" fmla="*/ 207936 h 571998"/>
              <a:gd name="connsiteX34" fmla="*/ 316635 w 3941813"/>
              <a:gd name="connsiteY34" fmla="*/ 230146 h 571998"/>
              <a:gd name="connsiteX35" fmla="*/ 318158 w 3941813"/>
              <a:gd name="connsiteY35" fmla="*/ 231823 h 571998"/>
              <a:gd name="connsiteX36" fmla="*/ 341295 w 3941813"/>
              <a:gd name="connsiteY36" fmla="*/ 254260 h 571998"/>
              <a:gd name="connsiteX37" fmla="*/ 364855 w 3941813"/>
              <a:gd name="connsiteY37" fmla="*/ 274566 h 571998"/>
              <a:gd name="connsiteX38" fmla="*/ 383255 w 3941813"/>
              <a:gd name="connsiteY38" fmla="*/ 287072 h 571998"/>
              <a:gd name="connsiteX39" fmla="*/ 390494 w 3941813"/>
              <a:gd name="connsiteY39" fmla="*/ 291862 h 571998"/>
              <a:gd name="connsiteX40" fmla="*/ 396550 w 3941813"/>
              <a:gd name="connsiteY40" fmla="*/ 295622 h 571998"/>
              <a:gd name="connsiteX41" fmla="*/ 409034 w 3941813"/>
              <a:gd name="connsiteY41" fmla="*/ 302598 h 571998"/>
              <a:gd name="connsiteX42" fmla="*/ 419364 w 3941813"/>
              <a:gd name="connsiteY42" fmla="*/ 308079 h 571998"/>
              <a:gd name="connsiteX43" fmla="*/ 431109 w 3941813"/>
              <a:gd name="connsiteY43" fmla="*/ 313598 h 571998"/>
              <a:gd name="connsiteX44" fmla="*/ 433413 w 3941813"/>
              <a:gd name="connsiteY44" fmla="*/ 314749 h 571998"/>
              <a:gd name="connsiteX45" fmla="*/ 445124 w 3941813"/>
              <a:gd name="connsiteY45" fmla="*/ 319611 h 571998"/>
              <a:gd name="connsiteX46" fmla="*/ 450799 w 3941813"/>
              <a:gd name="connsiteY46" fmla="*/ 321878 h 571998"/>
              <a:gd name="connsiteX47" fmla="*/ 462312 w 3941813"/>
              <a:gd name="connsiteY47" fmla="*/ 325820 h 571998"/>
              <a:gd name="connsiteX48" fmla="*/ 480775 w 3941813"/>
              <a:gd name="connsiteY48" fmla="*/ 331449 h 571998"/>
              <a:gd name="connsiteX49" fmla="*/ 490525 w 3941813"/>
              <a:gd name="connsiteY49" fmla="*/ 333953 h 571998"/>
              <a:gd name="connsiteX50" fmla="*/ 499752 w 3941813"/>
              <a:gd name="connsiteY50" fmla="*/ 335946 h 571998"/>
              <a:gd name="connsiteX51" fmla="*/ 520232 w 3941813"/>
              <a:gd name="connsiteY51" fmla="*/ 340163 h 571998"/>
              <a:gd name="connsiteX52" fmla="*/ 554124 w 3941813"/>
              <a:gd name="connsiteY52" fmla="*/ 343209 h 571998"/>
              <a:gd name="connsiteX53" fmla="*/ 555122 w 3941813"/>
              <a:gd name="connsiteY53" fmla="*/ 343268 h 571998"/>
              <a:gd name="connsiteX54" fmla="*/ 555467 w 3941813"/>
              <a:gd name="connsiteY54" fmla="*/ 343294 h 571998"/>
              <a:gd name="connsiteX55" fmla="*/ 572739 w 3941813"/>
              <a:gd name="connsiteY55" fmla="*/ 343958 h 571998"/>
              <a:gd name="connsiteX56" fmla="*/ 3862707 w 3941813"/>
              <a:gd name="connsiteY56" fmla="*/ 343958 h 571998"/>
              <a:gd name="connsiteX57" fmla="*/ 3941813 w 3941813"/>
              <a:gd name="connsiteY57" fmla="*/ 343958 h 571998"/>
              <a:gd name="connsiteX58" fmla="*/ 3941813 w 3941813"/>
              <a:gd name="connsiteY58" fmla="*/ 388462 h 571998"/>
              <a:gd name="connsiteX59" fmla="*/ 3940777 w 3941813"/>
              <a:gd name="connsiteY59" fmla="*/ 407437 h 571998"/>
              <a:gd name="connsiteX60" fmla="*/ 3933868 w 3941813"/>
              <a:gd name="connsiteY60" fmla="*/ 442971 h 571998"/>
              <a:gd name="connsiteX61" fmla="*/ 3920050 w 3941813"/>
              <a:gd name="connsiteY61" fmla="*/ 476090 h 571998"/>
              <a:gd name="connsiteX62" fmla="*/ 3900015 w 3941813"/>
              <a:gd name="connsiteY62" fmla="*/ 505415 h 571998"/>
              <a:gd name="connsiteX63" fmla="*/ 3875143 w 3941813"/>
              <a:gd name="connsiteY63" fmla="*/ 530254 h 571998"/>
              <a:gd name="connsiteX64" fmla="*/ 3846126 w 3941813"/>
              <a:gd name="connsiteY64" fmla="*/ 549919 h 571998"/>
              <a:gd name="connsiteX65" fmla="*/ 3812964 w 3941813"/>
              <a:gd name="connsiteY65" fmla="*/ 563718 h 571998"/>
              <a:gd name="connsiteX66" fmla="*/ 3777038 w 3941813"/>
              <a:gd name="connsiteY66" fmla="*/ 570963 h 571998"/>
              <a:gd name="connsiteX67" fmla="*/ 3758385 w 3941813"/>
              <a:gd name="connsiteY67" fmla="*/ 571998 h 571998"/>
              <a:gd name="connsiteX68" fmla="*/ 572739 w 3941813"/>
              <a:gd name="connsiteY68" fmla="*/ 571998 h 571998"/>
              <a:gd name="connsiteX69" fmla="*/ 543032 w 3941813"/>
              <a:gd name="connsiteY69" fmla="*/ 571308 h 571998"/>
              <a:gd name="connsiteX70" fmla="*/ 485343 w 3941813"/>
              <a:gd name="connsiteY70" fmla="*/ 565788 h 571998"/>
              <a:gd name="connsiteX71" fmla="*/ 429382 w 3941813"/>
              <a:gd name="connsiteY71" fmla="*/ 554059 h 571998"/>
              <a:gd name="connsiteX72" fmla="*/ 375493 w 3941813"/>
              <a:gd name="connsiteY72" fmla="*/ 537499 h 571998"/>
              <a:gd name="connsiteX73" fmla="*/ 324023 w 3941813"/>
              <a:gd name="connsiteY73" fmla="*/ 515419 h 571998"/>
              <a:gd name="connsiteX74" fmla="*/ 275661 w 3941813"/>
              <a:gd name="connsiteY74" fmla="*/ 489200 h 571998"/>
              <a:gd name="connsiteX75" fmla="*/ 229718 w 3941813"/>
              <a:gd name="connsiteY75" fmla="*/ 458495 h 571998"/>
              <a:gd name="connsiteX76" fmla="*/ 187574 w 3941813"/>
              <a:gd name="connsiteY76" fmla="*/ 423306 h 571998"/>
              <a:gd name="connsiteX77" fmla="*/ 148539 w 3941813"/>
              <a:gd name="connsiteY77" fmla="*/ 384667 h 571998"/>
              <a:gd name="connsiteX78" fmla="*/ 113650 w 3941813"/>
              <a:gd name="connsiteY78" fmla="*/ 342233 h 571998"/>
              <a:gd name="connsiteX79" fmla="*/ 82906 w 3941813"/>
              <a:gd name="connsiteY79" fmla="*/ 296349 h 571998"/>
              <a:gd name="connsiteX80" fmla="*/ 56307 w 3941813"/>
              <a:gd name="connsiteY80" fmla="*/ 248050 h 571998"/>
              <a:gd name="connsiteX81" fmla="*/ 34544 w 3941813"/>
              <a:gd name="connsiteY81" fmla="*/ 196646 h 571998"/>
              <a:gd name="connsiteX82" fmla="*/ 17963 w 3941813"/>
              <a:gd name="connsiteY82" fmla="*/ 143172 h 571998"/>
              <a:gd name="connsiteX83" fmla="*/ 6218 w 3941813"/>
              <a:gd name="connsiteY83" fmla="*/ 87283 h 571998"/>
              <a:gd name="connsiteX84" fmla="*/ 346 w 3941813"/>
              <a:gd name="connsiteY84" fmla="*/ 29669 h 57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941813" h="571998">
                <a:moveTo>
                  <a:pt x="0" y="0"/>
                </a:moveTo>
                <a:lnTo>
                  <a:pt x="228336" y="0"/>
                </a:lnTo>
                <a:lnTo>
                  <a:pt x="228336" y="1035"/>
                </a:lnTo>
                <a:lnTo>
                  <a:pt x="228336" y="2070"/>
                </a:lnTo>
                <a:lnTo>
                  <a:pt x="228336" y="3450"/>
                </a:lnTo>
                <a:lnTo>
                  <a:pt x="228336" y="4485"/>
                </a:lnTo>
                <a:lnTo>
                  <a:pt x="228336" y="6555"/>
                </a:lnTo>
                <a:lnTo>
                  <a:pt x="228336" y="8625"/>
                </a:lnTo>
                <a:lnTo>
                  <a:pt x="228336" y="13110"/>
                </a:lnTo>
                <a:lnTo>
                  <a:pt x="228681" y="17595"/>
                </a:lnTo>
                <a:lnTo>
                  <a:pt x="228681" y="21045"/>
                </a:lnTo>
                <a:lnTo>
                  <a:pt x="229372" y="24495"/>
                </a:lnTo>
                <a:lnTo>
                  <a:pt x="229561" y="29949"/>
                </a:lnTo>
                <a:lnTo>
                  <a:pt x="230860" y="43059"/>
                </a:lnTo>
                <a:lnTo>
                  <a:pt x="231099" y="44849"/>
                </a:lnTo>
                <a:lnTo>
                  <a:pt x="231445" y="47954"/>
                </a:lnTo>
                <a:lnTo>
                  <a:pt x="231790" y="51059"/>
                </a:lnTo>
                <a:lnTo>
                  <a:pt x="232439" y="55431"/>
                </a:lnTo>
                <a:lnTo>
                  <a:pt x="237460" y="78594"/>
                </a:lnTo>
                <a:lnTo>
                  <a:pt x="239935" y="88754"/>
                </a:lnTo>
                <a:lnTo>
                  <a:pt x="249062" y="117988"/>
                </a:lnTo>
                <a:lnTo>
                  <a:pt x="258766" y="141560"/>
                </a:lnTo>
                <a:lnTo>
                  <a:pt x="260462" y="145242"/>
                </a:lnTo>
                <a:lnTo>
                  <a:pt x="261844" y="148347"/>
                </a:lnTo>
                <a:lnTo>
                  <a:pt x="263571" y="152142"/>
                </a:lnTo>
                <a:lnTo>
                  <a:pt x="265643" y="155592"/>
                </a:lnTo>
                <a:lnTo>
                  <a:pt x="267371" y="158697"/>
                </a:lnTo>
                <a:lnTo>
                  <a:pt x="269060" y="162072"/>
                </a:lnTo>
                <a:lnTo>
                  <a:pt x="276558" y="175613"/>
                </a:lnTo>
                <a:lnTo>
                  <a:pt x="277043" y="176291"/>
                </a:lnTo>
                <a:lnTo>
                  <a:pt x="278368" y="178791"/>
                </a:lnTo>
                <a:lnTo>
                  <a:pt x="295536" y="204348"/>
                </a:lnTo>
                <a:lnTo>
                  <a:pt x="296042" y="204926"/>
                </a:lnTo>
                <a:lnTo>
                  <a:pt x="298303" y="207936"/>
                </a:lnTo>
                <a:lnTo>
                  <a:pt x="316635" y="230146"/>
                </a:lnTo>
                <a:lnTo>
                  <a:pt x="318158" y="231823"/>
                </a:lnTo>
                <a:lnTo>
                  <a:pt x="341295" y="254260"/>
                </a:lnTo>
                <a:lnTo>
                  <a:pt x="364855" y="274566"/>
                </a:lnTo>
                <a:lnTo>
                  <a:pt x="383255" y="287072"/>
                </a:lnTo>
                <a:lnTo>
                  <a:pt x="390494" y="291862"/>
                </a:lnTo>
                <a:lnTo>
                  <a:pt x="396550" y="295622"/>
                </a:lnTo>
                <a:lnTo>
                  <a:pt x="409034" y="302598"/>
                </a:lnTo>
                <a:lnTo>
                  <a:pt x="419364" y="308079"/>
                </a:lnTo>
                <a:lnTo>
                  <a:pt x="431109" y="313598"/>
                </a:lnTo>
                <a:lnTo>
                  <a:pt x="433413" y="314749"/>
                </a:lnTo>
                <a:lnTo>
                  <a:pt x="445124" y="319611"/>
                </a:lnTo>
                <a:lnTo>
                  <a:pt x="450799" y="321878"/>
                </a:lnTo>
                <a:lnTo>
                  <a:pt x="462312" y="325820"/>
                </a:lnTo>
                <a:lnTo>
                  <a:pt x="480775" y="331449"/>
                </a:lnTo>
                <a:lnTo>
                  <a:pt x="490525" y="333953"/>
                </a:lnTo>
                <a:lnTo>
                  <a:pt x="499752" y="335946"/>
                </a:lnTo>
                <a:lnTo>
                  <a:pt x="520232" y="340163"/>
                </a:lnTo>
                <a:lnTo>
                  <a:pt x="554124" y="343209"/>
                </a:lnTo>
                <a:lnTo>
                  <a:pt x="555122" y="343268"/>
                </a:lnTo>
                <a:lnTo>
                  <a:pt x="555467" y="343294"/>
                </a:lnTo>
                <a:lnTo>
                  <a:pt x="572739" y="343958"/>
                </a:lnTo>
                <a:lnTo>
                  <a:pt x="3862707" y="343958"/>
                </a:lnTo>
                <a:lnTo>
                  <a:pt x="3941813" y="343958"/>
                </a:lnTo>
                <a:lnTo>
                  <a:pt x="3941813" y="388462"/>
                </a:lnTo>
                <a:lnTo>
                  <a:pt x="3940777" y="407437"/>
                </a:lnTo>
                <a:lnTo>
                  <a:pt x="3933868" y="442971"/>
                </a:lnTo>
                <a:lnTo>
                  <a:pt x="3920050" y="476090"/>
                </a:lnTo>
                <a:lnTo>
                  <a:pt x="3900015" y="505415"/>
                </a:lnTo>
                <a:lnTo>
                  <a:pt x="3875143" y="530254"/>
                </a:lnTo>
                <a:lnTo>
                  <a:pt x="3846126" y="549919"/>
                </a:lnTo>
                <a:lnTo>
                  <a:pt x="3812964" y="563718"/>
                </a:lnTo>
                <a:lnTo>
                  <a:pt x="3777038" y="570963"/>
                </a:lnTo>
                <a:lnTo>
                  <a:pt x="3758385" y="571998"/>
                </a:lnTo>
                <a:lnTo>
                  <a:pt x="572739" y="571998"/>
                </a:lnTo>
                <a:lnTo>
                  <a:pt x="543032" y="571308"/>
                </a:lnTo>
                <a:lnTo>
                  <a:pt x="485343" y="565788"/>
                </a:lnTo>
                <a:lnTo>
                  <a:pt x="429382" y="554059"/>
                </a:lnTo>
                <a:lnTo>
                  <a:pt x="375493" y="537499"/>
                </a:lnTo>
                <a:lnTo>
                  <a:pt x="324023" y="515419"/>
                </a:lnTo>
                <a:lnTo>
                  <a:pt x="275661" y="489200"/>
                </a:lnTo>
                <a:lnTo>
                  <a:pt x="229718" y="458495"/>
                </a:lnTo>
                <a:lnTo>
                  <a:pt x="187574" y="423306"/>
                </a:lnTo>
                <a:lnTo>
                  <a:pt x="148539" y="384667"/>
                </a:lnTo>
                <a:lnTo>
                  <a:pt x="113650" y="342233"/>
                </a:lnTo>
                <a:lnTo>
                  <a:pt x="82906" y="296349"/>
                </a:lnTo>
                <a:lnTo>
                  <a:pt x="56307" y="248050"/>
                </a:lnTo>
                <a:lnTo>
                  <a:pt x="34544" y="196646"/>
                </a:lnTo>
                <a:lnTo>
                  <a:pt x="17963" y="143172"/>
                </a:lnTo>
                <a:lnTo>
                  <a:pt x="6218" y="87283"/>
                </a:lnTo>
                <a:lnTo>
                  <a:pt x="346" y="29669"/>
                </a:ln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62" name="Freeform 585">
            <a:extLst>
              <a:ext uri="{FF2B5EF4-FFF2-40B4-BE49-F238E27FC236}">
                <a16:creationId xmlns:a16="http://schemas.microsoft.com/office/drawing/2014/main" id="{9EDAF116-331B-7BA6-50B0-DFB89434F8DA}"/>
              </a:ext>
            </a:extLst>
          </p:cNvPr>
          <p:cNvSpPr>
            <a:spLocks/>
          </p:cNvSpPr>
          <p:nvPr/>
        </p:nvSpPr>
        <p:spPr bwMode="auto">
          <a:xfrm>
            <a:off x="6582141" y="3241548"/>
            <a:ext cx="689438" cy="6894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191C21"/>
                </a:solidFill>
                <a:effectLst/>
                <a:uLnTx/>
                <a:uFillTx/>
                <a:latin typeface="Arial"/>
                <a:ea typeface="+mn-ea"/>
                <a:cs typeface="+mn-cs"/>
              </a:rPr>
              <a:t>4</a:t>
            </a:r>
          </a:p>
        </p:txBody>
      </p:sp>
      <p:sp>
        <p:nvSpPr>
          <p:cNvPr id="63" name="Freeform 588">
            <a:extLst>
              <a:ext uri="{FF2B5EF4-FFF2-40B4-BE49-F238E27FC236}">
                <a16:creationId xmlns:a16="http://schemas.microsoft.com/office/drawing/2014/main" id="{7B9A4D8E-BB1F-D925-627A-938F2FA16750}"/>
              </a:ext>
            </a:extLst>
          </p:cNvPr>
          <p:cNvSpPr>
            <a:spLocks/>
          </p:cNvSpPr>
          <p:nvPr/>
        </p:nvSpPr>
        <p:spPr bwMode="auto">
          <a:xfrm>
            <a:off x="978608" y="4668268"/>
            <a:ext cx="1145378" cy="1143996"/>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64" name="Freeform 587">
            <a:extLst>
              <a:ext uri="{FF2B5EF4-FFF2-40B4-BE49-F238E27FC236}">
                <a16:creationId xmlns:a16="http://schemas.microsoft.com/office/drawing/2014/main" id="{CC50352D-256F-2B03-A009-02C9692427CA}"/>
              </a:ext>
            </a:extLst>
          </p:cNvPr>
          <p:cNvSpPr>
            <a:spLocks/>
          </p:cNvSpPr>
          <p:nvPr/>
        </p:nvSpPr>
        <p:spPr bwMode="auto">
          <a:xfrm>
            <a:off x="1206578" y="4894857"/>
            <a:ext cx="689438" cy="689438"/>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65" name="Freeform 589">
            <a:extLst>
              <a:ext uri="{FF2B5EF4-FFF2-40B4-BE49-F238E27FC236}">
                <a16:creationId xmlns:a16="http://schemas.microsoft.com/office/drawing/2014/main" id="{F93C44F0-2CD1-7691-FCC7-7F9729AD7A0A}"/>
              </a:ext>
            </a:extLst>
          </p:cNvPr>
          <p:cNvSpPr>
            <a:spLocks/>
          </p:cNvSpPr>
          <p:nvPr/>
        </p:nvSpPr>
        <p:spPr bwMode="auto">
          <a:xfrm>
            <a:off x="1850421" y="5244412"/>
            <a:ext cx="160270" cy="392385"/>
          </a:xfrm>
          <a:custGeom>
            <a:avLst/>
            <a:gdLst>
              <a:gd name="T0" fmla="*/ 462 w 462"/>
              <a:gd name="T1" fmla="*/ 981 h 1135"/>
              <a:gd name="T2" fmla="*/ 460 w 462"/>
              <a:gd name="T3" fmla="*/ 985 h 1135"/>
              <a:gd name="T4" fmla="*/ 457 w 462"/>
              <a:gd name="T5" fmla="*/ 989 h 1135"/>
              <a:gd name="T6" fmla="*/ 443 w 462"/>
              <a:gd name="T7" fmla="*/ 1007 h 1135"/>
              <a:gd name="T8" fmla="*/ 427 w 462"/>
              <a:gd name="T9" fmla="*/ 1025 h 1135"/>
              <a:gd name="T10" fmla="*/ 418 w 462"/>
              <a:gd name="T11" fmla="*/ 1037 h 1135"/>
              <a:gd name="T12" fmla="*/ 409 w 462"/>
              <a:gd name="T13" fmla="*/ 1048 h 1135"/>
              <a:gd name="T14" fmla="*/ 408 w 462"/>
              <a:gd name="T15" fmla="*/ 1050 h 1135"/>
              <a:gd name="T16" fmla="*/ 408 w 462"/>
              <a:gd name="T17" fmla="*/ 1050 h 1135"/>
              <a:gd name="T18" fmla="*/ 396 w 462"/>
              <a:gd name="T19" fmla="*/ 1064 h 1135"/>
              <a:gd name="T20" fmla="*/ 383 w 462"/>
              <a:gd name="T21" fmla="*/ 1078 h 1135"/>
              <a:gd name="T22" fmla="*/ 369 w 462"/>
              <a:gd name="T23" fmla="*/ 1095 h 1135"/>
              <a:gd name="T24" fmla="*/ 355 w 462"/>
              <a:gd name="T25" fmla="*/ 1110 h 1135"/>
              <a:gd name="T26" fmla="*/ 343 w 462"/>
              <a:gd name="T27" fmla="*/ 1123 h 1135"/>
              <a:gd name="T28" fmla="*/ 332 w 462"/>
              <a:gd name="T29" fmla="*/ 1135 h 1135"/>
              <a:gd name="T30" fmla="*/ 276 w 462"/>
              <a:gd name="T31" fmla="*/ 1062 h 1135"/>
              <a:gd name="T32" fmla="*/ 177 w 462"/>
              <a:gd name="T33" fmla="*/ 908 h 1135"/>
              <a:gd name="T34" fmla="*/ 94 w 462"/>
              <a:gd name="T35" fmla="*/ 745 h 1135"/>
              <a:gd name="T36" fmla="*/ 27 w 462"/>
              <a:gd name="T37" fmla="*/ 573 h 1135"/>
              <a:gd name="T38" fmla="*/ 0 w 462"/>
              <a:gd name="T39" fmla="*/ 483 h 1135"/>
              <a:gd name="T40" fmla="*/ 36 w 462"/>
              <a:gd name="T41" fmla="*/ 417 h 1135"/>
              <a:gd name="T42" fmla="*/ 65 w 462"/>
              <a:gd name="T43" fmla="*/ 348 h 1135"/>
              <a:gd name="T44" fmla="*/ 68 w 462"/>
              <a:gd name="T45" fmla="*/ 341 h 1135"/>
              <a:gd name="T46" fmla="*/ 71 w 462"/>
              <a:gd name="T47" fmla="*/ 333 h 1135"/>
              <a:gd name="T48" fmla="*/ 81 w 462"/>
              <a:gd name="T49" fmla="*/ 303 h 1135"/>
              <a:gd name="T50" fmla="*/ 90 w 462"/>
              <a:gd name="T51" fmla="*/ 273 h 1135"/>
              <a:gd name="T52" fmla="*/ 94 w 462"/>
              <a:gd name="T53" fmla="*/ 263 h 1135"/>
              <a:gd name="T54" fmla="*/ 97 w 462"/>
              <a:gd name="T55" fmla="*/ 252 h 1135"/>
              <a:gd name="T56" fmla="*/ 100 w 462"/>
              <a:gd name="T57" fmla="*/ 242 h 1135"/>
              <a:gd name="T58" fmla="*/ 102 w 462"/>
              <a:gd name="T59" fmla="*/ 232 h 1135"/>
              <a:gd name="T60" fmla="*/ 105 w 462"/>
              <a:gd name="T61" fmla="*/ 223 h 1135"/>
              <a:gd name="T62" fmla="*/ 106 w 462"/>
              <a:gd name="T63" fmla="*/ 214 h 1135"/>
              <a:gd name="T64" fmla="*/ 110 w 462"/>
              <a:gd name="T65" fmla="*/ 201 h 1135"/>
              <a:gd name="T66" fmla="*/ 112 w 462"/>
              <a:gd name="T67" fmla="*/ 189 h 1135"/>
              <a:gd name="T68" fmla="*/ 112 w 462"/>
              <a:gd name="T69" fmla="*/ 182 h 1135"/>
              <a:gd name="T70" fmla="*/ 114 w 462"/>
              <a:gd name="T71" fmla="*/ 177 h 1135"/>
              <a:gd name="T72" fmla="*/ 116 w 462"/>
              <a:gd name="T73" fmla="*/ 166 h 1135"/>
              <a:gd name="T74" fmla="*/ 119 w 462"/>
              <a:gd name="T75" fmla="*/ 153 h 1135"/>
              <a:gd name="T76" fmla="*/ 125 w 462"/>
              <a:gd name="T77" fmla="*/ 109 h 1135"/>
              <a:gd name="T78" fmla="*/ 129 w 462"/>
              <a:gd name="T79" fmla="*/ 64 h 1135"/>
              <a:gd name="T80" fmla="*/ 131 w 462"/>
              <a:gd name="T81" fmla="*/ 53 h 1135"/>
              <a:gd name="T82" fmla="*/ 131 w 462"/>
              <a:gd name="T83" fmla="*/ 41 h 1135"/>
              <a:gd name="T84" fmla="*/ 131 w 462"/>
              <a:gd name="T85" fmla="*/ 39 h 1135"/>
              <a:gd name="T86" fmla="*/ 131 w 462"/>
              <a:gd name="T87" fmla="*/ 35 h 1135"/>
              <a:gd name="T88" fmla="*/ 132 w 462"/>
              <a:gd name="T89" fmla="*/ 26 h 1135"/>
              <a:gd name="T90" fmla="*/ 132 w 462"/>
              <a:gd name="T91" fmla="*/ 17 h 1135"/>
              <a:gd name="T92" fmla="*/ 132 w 462"/>
              <a:gd name="T93" fmla="*/ 7 h 1135"/>
              <a:gd name="T94" fmla="*/ 132 w 462"/>
              <a:gd name="T95" fmla="*/ 0 h 1135"/>
              <a:gd name="T96" fmla="*/ 133 w 462"/>
              <a:gd name="T97" fmla="*/ 68 h 1135"/>
              <a:gd name="T98" fmla="*/ 145 w 462"/>
              <a:gd name="T99" fmla="*/ 204 h 1135"/>
              <a:gd name="T100" fmla="*/ 168 w 462"/>
              <a:gd name="T101" fmla="*/ 335 h 1135"/>
              <a:gd name="T102" fmla="*/ 201 w 462"/>
              <a:gd name="T103" fmla="*/ 464 h 1135"/>
              <a:gd name="T104" fmla="*/ 243 w 462"/>
              <a:gd name="T105" fmla="*/ 587 h 1135"/>
              <a:gd name="T106" fmla="*/ 295 w 462"/>
              <a:gd name="T107" fmla="*/ 706 h 1135"/>
              <a:gd name="T108" fmla="*/ 355 w 462"/>
              <a:gd name="T109" fmla="*/ 820 h 1135"/>
              <a:gd name="T110" fmla="*/ 425 w 462"/>
              <a:gd name="T111" fmla="*/ 929 h 1135"/>
              <a:gd name="T112" fmla="*/ 462 w 462"/>
              <a:gd name="T113" fmla="*/ 981 h 1135"/>
              <a:gd name="T114" fmla="*/ 462 w 462"/>
              <a:gd name="T115" fmla="*/ 981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2" h="1135">
                <a:moveTo>
                  <a:pt x="462" y="981"/>
                </a:moveTo>
                <a:lnTo>
                  <a:pt x="460" y="985"/>
                </a:lnTo>
                <a:lnTo>
                  <a:pt x="457" y="989"/>
                </a:lnTo>
                <a:lnTo>
                  <a:pt x="443" y="1007"/>
                </a:lnTo>
                <a:lnTo>
                  <a:pt x="427" y="1025"/>
                </a:lnTo>
                <a:lnTo>
                  <a:pt x="418" y="1037"/>
                </a:lnTo>
                <a:lnTo>
                  <a:pt x="409" y="1048"/>
                </a:lnTo>
                <a:lnTo>
                  <a:pt x="408" y="1050"/>
                </a:lnTo>
                <a:lnTo>
                  <a:pt x="408" y="1050"/>
                </a:lnTo>
                <a:lnTo>
                  <a:pt x="396" y="1064"/>
                </a:lnTo>
                <a:lnTo>
                  <a:pt x="383" y="1078"/>
                </a:lnTo>
                <a:lnTo>
                  <a:pt x="369" y="1095"/>
                </a:lnTo>
                <a:lnTo>
                  <a:pt x="355" y="1110"/>
                </a:lnTo>
                <a:lnTo>
                  <a:pt x="343" y="1123"/>
                </a:lnTo>
                <a:lnTo>
                  <a:pt x="332" y="1135"/>
                </a:lnTo>
                <a:lnTo>
                  <a:pt x="276" y="1062"/>
                </a:lnTo>
                <a:lnTo>
                  <a:pt x="177" y="908"/>
                </a:lnTo>
                <a:lnTo>
                  <a:pt x="94" y="745"/>
                </a:lnTo>
                <a:lnTo>
                  <a:pt x="27" y="573"/>
                </a:lnTo>
                <a:lnTo>
                  <a:pt x="0" y="483"/>
                </a:lnTo>
                <a:lnTo>
                  <a:pt x="36" y="417"/>
                </a:lnTo>
                <a:lnTo>
                  <a:pt x="65" y="348"/>
                </a:lnTo>
                <a:lnTo>
                  <a:pt x="68" y="341"/>
                </a:lnTo>
                <a:lnTo>
                  <a:pt x="71" y="333"/>
                </a:lnTo>
                <a:lnTo>
                  <a:pt x="81" y="303"/>
                </a:lnTo>
                <a:lnTo>
                  <a:pt x="90" y="273"/>
                </a:lnTo>
                <a:lnTo>
                  <a:pt x="94" y="263"/>
                </a:lnTo>
                <a:lnTo>
                  <a:pt x="97" y="252"/>
                </a:lnTo>
                <a:lnTo>
                  <a:pt x="100" y="242"/>
                </a:lnTo>
                <a:lnTo>
                  <a:pt x="102" y="232"/>
                </a:lnTo>
                <a:lnTo>
                  <a:pt x="105" y="223"/>
                </a:lnTo>
                <a:lnTo>
                  <a:pt x="106" y="214"/>
                </a:lnTo>
                <a:lnTo>
                  <a:pt x="110" y="201"/>
                </a:lnTo>
                <a:lnTo>
                  <a:pt x="112" y="189"/>
                </a:lnTo>
                <a:lnTo>
                  <a:pt x="112" y="182"/>
                </a:lnTo>
                <a:lnTo>
                  <a:pt x="114" y="177"/>
                </a:lnTo>
                <a:lnTo>
                  <a:pt x="116" y="166"/>
                </a:lnTo>
                <a:lnTo>
                  <a:pt x="119" y="153"/>
                </a:lnTo>
                <a:lnTo>
                  <a:pt x="125" y="109"/>
                </a:lnTo>
                <a:lnTo>
                  <a:pt x="129" y="64"/>
                </a:lnTo>
                <a:lnTo>
                  <a:pt x="131" y="53"/>
                </a:lnTo>
                <a:lnTo>
                  <a:pt x="131" y="41"/>
                </a:lnTo>
                <a:lnTo>
                  <a:pt x="131" y="39"/>
                </a:lnTo>
                <a:lnTo>
                  <a:pt x="131" y="35"/>
                </a:lnTo>
                <a:lnTo>
                  <a:pt x="132" y="26"/>
                </a:lnTo>
                <a:lnTo>
                  <a:pt x="132" y="17"/>
                </a:lnTo>
                <a:lnTo>
                  <a:pt x="132" y="7"/>
                </a:lnTo>
                <a:lnTo>
                  <a:pt x="132" y="0"/>
                </a:lnTo>
                <a:lnTo>
                  <a:pt x="133" y="68"/>
                </a:lnTo>
                <a:lnTo>
                  <a:pt x="145" y="204"/>
                </a:lnTo>
                <a:lnTo>
                  <a:pt x="168" y="335"/>
                </a:lnTo>
                <a:lnTo>
                  <a:pt x="201" y="464"/>
                </a:lnTo>
                <a:lnTo>
                  <a:pt x="243" y="587"/>
                </a:lnTo>
                <a:lnTo>
                  <a:pt x="295" y="706"/>
                </a:lnTo>
                <a:lnTo>
                  <a:pt x="355" y="820"/>
                </a:lnTo>
                <a:lnTo>
                  <a:pt x="425" y="929"/>
                </a:lnTo>
                <a:lnTo>
                  <a:pt x="462" y="981"/>
                </a:lnTo>
                <a:lnTo>
                  <a:pt x="462" y="981"/>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66" name="Freeform 590">
            <a:extLst>
              <a:ext uri="{FF2B5EF4-FFF2-40B4-BE49-F238E27FC236}">
                <a16:creationId xmlns:a16="http://schemas.microsoft.com/office/drawing/2014/main" id="{260839B2-39AB-A381-AFAC-B8C6991C2C9A}"/>
              </a:ext>
            </a:extLst>
          </p:cNvPr>
          <p:cNvSpPr>
            <a:spLocks/>
          </p:cNvSpPr>
          <p:nvPr/>
        </p:nvSpPr>
        <p:spPr bwMode="auto">
          <a:xfrm>
            <a:off x="1850421" y="5244412"/>
            <a:ext cx="160270" cy="392385"/>
          </a:xfrm>
          <a:custGeom>
            <a:avLst/>
            <a:gdLst>
              <a:gd name="T0" fmla="*/ 132 w 462"/>
              <a:gd name="T1" fmla="*/ 0 h 1135"/>
              <a:gd name="T2" fmla="*/ 132 w 462"/>
              <a:gd name="T3" fmla="*/ 7 h 1135"/>
              <a:gd name="T4" fmla="*/ 132 w 462"/>
              <a:gd name="T5" fmla="*/ 17 h 1135"/>
              <a:gd name="T6" fmla="*/ 132 w 462"/>
              <a:gd name="T7" fmla="*/ 26 h 1135"/>
              <a:gd name="T8" fmla="*/ 131 w 462"/>
              <a:gd name="T9" fmla="*/ 35 h 1135"/>
              <a:gd name="T10" fmla="*/ 131 w 462"/>
              <a:gd name="T11" fmla="*/ 39 h 1135"/>
              <a:gd name="T12" fmla="*/ 131 w 462"/>
              <a:gd name="T13" fmla="*/ 41 h 1135"/>
              <a:gd name="T14" fmla="*/ 131 w 462"/>
              <a:gd name="T15" fmla="*/ 53 h 1135"/>
              <a:gd name="T16" fmla="*/ 129 w 462"/>
              <a:gd name="T17" fmla="*/ 64 h 1135"/>
              <a:gd name="T18" fmla="*/ 125 w 462"/>
              <a:gd name="T19" fmla="*/ 109 h 1135"/>
              <a:gd name="T20" fmla="*/ 119 w 462"/>
              <a:gd name="T21" fmla="*/ 153 h 1135"/>
              <a:gd name="T22" fmla="*/ 116 w 462"/>
              <a:gd name="T23" fmla="*/ 166 h 1135"/>
              <a:gd name="T24" fmla="*/ 114 w 462"/>
              <a:gd name="T25" fmla="*/ 177 h 1135"/>
              <a:gd name="T26" fmla="*/ 112 w 462"/>
              <a:gd name="T27" fmla="*/ 182 h 1135"/>
              <a:gd name="T28" fmla="*/ 112 w 462"/>
              <a:gd name="T29" fmla="*/ 189 h 1135"/>
              <a:gd name="T30" fmla="*/ 110 w 462"/>
              <a:gd name="T31" fmla="*/ 201 h 1135"/>
              <a:gd name="T32" fmla="*/ 106 w 462"/>
              <a:gd name="T33" fmla="*/ 214 h 1135"/>
              <a:gd name="T34" fmla="*/ 105 w 462"/>
              <a:gd name="T35" fmla="*/ 223 h 1135"/>
              <a:gd name="T36" fmla="*/ 102 w 462"/>
              <a:gd name="T37" fmla="*/ 232 h 1135"/>
              <a:gd name="T38" fmla="*/ 100 w 462"/>
              <a:gd name="T39" fmla="*/ 242 h 1135"/>
              <a:gd name="T40" fmla="*/ 97 w 462"/>
              <a:gd name="T41" fmla="*/ 252 h 1135"/>
              <a:gd name="T42" fmla="*/ 94 w 462"/>
              <a:gd name="T43" fmla="*/ 263 h 1135"/>
              <a:gd name="T44" fmla="*/ 90 w 462"/>
              <a:gd name="T45" fmla="*/ 273 h 1135"/>
              <a:gd name="T46" fmla="*/ 81 w 462"/>
              <a:gd name="T47" fmla="*/ 303 h 1135"/>
              <a:gd name="T48" fmla="*/ 71 w 462"/>
              <a:gd name="T49" fmla="*/ 333 h 1135"/>
              <a:gd name="T50" fmla="*/ 65 w 462"/>
              <a:gd name="T51" fmla="*/ 348 h 1135"/>
              <a:gd name="T52" fmla="*/ 36 w 462"/>
              <a:gd name="T53" fmla="*/ 417 h 1135"/>
              <a:gd name="T54" fmla="*/ 0 w 462"/>
              <a:gd name="T55" fmla="*/ 483 h 1135"/>
              <a:gd name="T56" fmla="*/ 27 w 462"/>
              <a:gd name="T57" fmla="*/ 573 h 1135"/>
              <a:gd name="T58" fmla="*/ 94 w 462"/>
              <a:gd name="T59" fmla="*/ 745 h 1135"/>
              <a:gd name="T60" fmla="*/ 177 w 462"/>
              <a:gd name="T61" fmla="*/ 908 h 1135"/>
              <a:gd name="T62" fmla="*/ 276 w 462"/>
              <a:gd name="T63" fmla="*/ 1062 h 1135"/>
              <a:gd name="T64" fmla="*/ 332 w 462"/>
              <a:gd name="T65" fmla="*/ 1135 h 1135"/>
              <a:gd name="T66" fmla="*/ 343 w 462"/>
              <a:gd name="T67" fmla="*/ 1123 h 1135"/>
              <a:gd name="T68" fmla="*/ 355 w 462"/>
              <a:gd name="T69" fmla="*/ 1110 h 1135"/>
              <a:gd name="T70" fmla="*/ 369 w 462"/>
              <a:gd name="T71" fmla="*/ 1095 h 1135"/>
              <a:gd name="T72" fmla="*/ 383 w 462"/>
              <a:gd name="T73" fmla="*/ 1078 h 1135"/>
              <a:gd name="T74" fmla="*/ 396 w 462"/>
              <a:gd name="T75" fmla="*/ 1064 h 1135"/>
              <a:gd name="T76" fmla="*/ 408 w 462"/>
              <a:gd name="T77" fmla="*/ 1050 h 1135"/>
              <a:gd name="T78" fmla="*/ 408 w 462"/>
              <a:gd name="T79" fmla="*/ 1050 h 1135"/>
              <a:gd name="T80" fmla="*/ 409 w 462"/>
              <a:gd name="T81" fmla="*/ 1048 h 1135"/>
              <a:gd name="T82" fmla="*/ 418 w 462"/>
              <a:gd name="T83" fmla="*/ 1037 h 1135"/>
              <a:gd name="T84" fmla="*/ 427 w 462"/>
              <a:gd name="T85" fmla="*/ 1025 h 1135"/>
              <a:gd name="T86" fmla="*/ 443 w 462"/>
              <a:gd name="T87" fmla="*/ 1007 h 1135"/>
              <a:gd name="T88" fmla="*/ 457 w 462"/>
              <a:gd name="T89" fmla="*/ 989 h 1135"/>
              <a:gd name="T90" fmla="*/ 460 w 462"/>
              <a:gd name="T91" fmla="*/ 985 h 1135"/>
              <a:gd name="T92" fmla="*/ 462 w 462"/>
              <a:gd name="T93" fmla="*/ 981 h 1135"/>
              <a:gd name="T94" fmla="*/ 425 w 462"/>
              <a:gd name="T95" fmla="*/ 929 h 1135"/>
              <a:gd name="T96" fmla="*/ 355 w 462"/>
              <a:gd name="T97" fmla="*/ 820 h 1135"/>
              <a:gd name="T98" fmla="*/ 295 w 462"/>
              <a:gd name="T99" fmla="*/ 706 h 1135"/>
              <a:gd name="T100" fmla="*/ 243 w 462"/>
              <a:gd name="T101" fmla="*/ 587 h 1135"/>
              <a:gd name="T102" fmla="*/ 201 w 462"/>
              <a:gd name="T103" fmla="*/ 464 h 1135"/>
              <a:gd name="T104" fmla="*/ 168 w 462"/>
              <a:gd name="T105" fmla="*/ 335 h 1135"/>
              <a:gd name="T106" fmla="*/ 145 w 462"/>
              <a:gd name="T107" fmla="*/ 204 h 1135"/>
              <a:gd name="T108" fmla="*/ 133 w 462"/>
              <a:gd name="T109" fmla="*/ 68 h 1135"/>
              <a:gd name="T110" fmla="*/ 132 w 462"/>
              <a:gd name="T111" fmla="*/ 0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2" h="1135">
                <a:moveTo>
                  <a:pt x="132" y="0"/>
                </a:moveTo>
                <a:lnTo>
                  <a:pt x="132" y="7"/>
                </a:lnTo>
                <a:lnTo>
                  <a:pt x="132" y="17"/>
                </a:lnTo>
                <a:lnTo>
                  <a:pt x="132" y="26"/>
                </a:lnTo>
                <a:lnTo>
                  <a:pt x="131" y="35"/>
                </a:lnTo>
                <a:lnTo>
                  <a:pt x="131" y="39"/>
                </a:lnTo>
                <a:lnTo>
                  <a:pt x="131" y="41"/>
                </a:lnTo>
                <a:lnTo>
                  <a:pt x="131" y="53"/>
                </a:lnTo>
                <a:lnTo>
                  <a:pt x="129" y="64"/>
                </a:lnTo>
                <a:lnTo>
                  <a:pt x="125" y="109"/>
                </a:lnTo>
                <a:lnTo>
                  <a:pt x="119" y="153"/>
                </a:lnTo>
                <a:lnTo>
                  <a:pt x="116" y="166"/>
                </a:lnTo>
                <a:lnTo>
                  <a:pt x="114" y="177"/>
                </a:lnTo>
                <a:lnTo>
                  <a:pt x="112" y="182"/>
                </a:lnTo>
                <a:lnTo>
                  <a:pt x="112" y="189"/>
                </a:lnTo>
                <a:lnTo>
                  <a:pt x="110" y="201"/>
                </a:lnTo>
                <a:lnTo>
                  <a:pt x="106" y="214"/>
                </a:lnTo>
                <a:lnTo>
                  <a:pt x="105" y="223"/>
                </a:lnTo>
                <a:lnTo>
                  <a:pt x="102" y="232"/>
                </a:lnTo>
                <a:lnTo>
                  <a:pt x="100" y="242"/>
                </a:lnTo>
                <a:lnTo>
                  <a:pt x="97" y="252"/>
                </a:lnTo>
                <a:lnTo>
                  <a:pt x="94" y="263"/>
                </a:lnTo>
                <a:lnTo>
                  <a:pt x="90" y="273"/>
                </a:lnTo>
                <a:lnTo>
                  <a:pt x="81" y="303"/>
                </a:lnTo>
                <a:lnTo>
                  <a:pt x="71" y="333"/>
                </a:lnTo>
                <a:lnTo>
                  <a:pt x="65" y="348"/>
                </a:lnTo>
                <a:lnTo>
                  <a:pt x="36" y="417"/>
                </a:lnTo>
                <a:lnTo>
                  <a:pt x="0" y="483"/>
                </a:lnTo>
                <a:lnTo>
                  <a:pt x="27" y="573"/>
                </a:lnTo>
                <a:lnTo>
                  <a:pt x="94" y="745"/>
                </a:lnTo>
                <a:lnTo>
                  <a:pt x="177" y="908"/>
                </a:lnTo>
                <a:lnTo>
                  <a:pt x="276" y="1062"/>
                </a:lnTo>
                <a:lnTo>
                  <a:pt x="332" y="1135"/>
                </a:lnTo>
                <a:lnTo>
                  <a:pt x="343" y="1123"/>
                </a:lnTo>
                <a:lnTo>
                  <a:pt x="355" y="1110"/>
                </a:lnTo>
                <a:lnTo>
                  <a:pt x="369" y="1095"/>
                </a:lnTo>
                <a:lnTo>
                  <a:pt x="383" y="1078"/>
                </a:lnTo>
                <a:lnTo>
                  <a:pt x="396" y="1064"/>
                </a:lnTo>
                <a:lnTo>
                  <a:pt x="408" y="1050"/>
                </a:lnTo>
                <a:lnTo>
                  <a:pt x="408" y="1050"/>
                </a:lnTo>
                <a:lnTo>
                  <a:pt x="409" y="1048"/>
                </a:lnTo>
                <a:lnTo>
                  <a:pt x="418" y="1037"/>
                </a:lnTo>
                <a:lnTo>
                  <a:pt x="427" y="1025"/>
                </a:lnTo>
                <a:lnTo>
                  <a:pt x="443" y="1007"/>
                </a:lnTo>
                <a:lnTo>
                  <a:pt x="457" y="989"/>
                </a:lnTo>
                <a:lnTo>
                  <a:pt x="460" y="985"/>
                </a:lnTo>
                <a:lnTo>
                  <a:pt x="462" y="981"/>
                </a:lnTo>
                <a:lnTo>
                  <a:pt x="425" y="929"/>
                </a:lnTo>
                <a:lnTo>
                  <a:pt x="355" y="820"/>
                </a:lnTo>
                <a:lnTo>
                  <a:pt x="295" y="706"/>
                </a:lnTo>
                <a:lnTo>
                  <a:pt x="243" y="587"/>
                </a:lnTo>
                <a:lnTo>
                  <a:pt x="201" y="464"/>
                </a:lnTo>
                <a:lnTo>
                  <a:pt x="168" y="335"/>
                </a:lnTo>
                <a:lnTo>
                  <a:pt x="145" y="204"/>
                </a:lnTo>
                <a:lnTo>
                  <a:pt x="133" y="68"/>
                </a:lnTo>
                <a:lnTo>
                  <a:pt x="132" y="0"/>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67" name="Freeform: Shape 117">
            <a:extLst>
              <a:ext uri="{FF2B5EF4-FFF2-40B4-BE49-F238E27FC236}">
                <a16:creationId xmlns:a16="http://schemas.microsoft.com/office/drawing/2014/main" id="{E93B2C1E-D420-4A67-A7F6-8EC3634E4518}"/>
              </a:ext>
            </a:extLst>
          </p:cNvPr>
          <p:cNvSpPr>
            <a:spLocks/>
          </p:cNvSpPr>
          <p:nvPr/>
        </p:nvSpPr>
        <p:spPr bwMode="auto">
          <a:xfrm>
            <a:off x="1896016" y="5240266"/>
            <a:ext cx="3941813" cy="571998"/>
          </a:xfrm>
          <a:custGeom>
            <a:avLst/>
            <a:gdLst>
              <a:gd name="connsiteX0" fmla="*/ 0 w 3941813"/>
              <a:gd name="connsiteY0" fmla="*/ 0 h 571998"/>
              <a:gd name="connsiteX1" fmla="*/ 228336 w 3941813"/>
              <a:gd name="connsiteY1" fmla="*/ 0 h 571998"/>
              <a:gd name="connsiteX2" fmla="*/ 228336 w 3941813"/>
              <a:gd name="connsiteY2" fmla="*/ 1035 h 571998"/>
              <a:gd name="connsiteX3" fmla="*/ 228336 w 3941813"/>
              <a:gd name="connsiteY3" fmla="*/ 2070 h 571998"/>
              <a:gd name="connsiteX4" fmla="*/ 228336 w 3941813"/>
              <a:gd name="connsiteY4" fmla="*/ 3450 h 571998"/>
              <a:gd name="connsiteX5" fmla="*/ 228336 w 3941813"/>
              <a:gd name="connsiteY5" fmla="*/ 4485 h 571998"/>
              <a:gd name="connsiteX6" fmla="*/ 228336 w 3941813"/>
              <a:gd name="connsiteY6" fmla="*/ 6555 h 571998"/>
              <a:gd name="connsiteX7" fmla="*/ 228336 w 3941813"/>
              <a:gd name="connsiteY7" fmla="*/ 8625 h 571998"/>
              <a:gd name="connsiteX8" fmla="*/ 228336 w 3941813"/>
              <a:gd name="connsiteY8" fmla="*/ 13110 h 571998"/>
              <a:gd name="connsiteX9" fmla="*/ 228681 w 3941813"/>
              <a:gd name="connsiteY9" fmla="*/ 17595 h 571998"/>
              <a:gd name="connsiteX10" fmla="*/ 228681 w 3941813"/>
              <a:gd name="connsiteY10" fmla="*/ 21045 h 571998"/>
              <a:gd name="connsiteX11" fmla="*/ 229372 w 3941813"/>
              <a:gd name="connsiteY11" fmla="*/ 24495 h 571998"/>
              <a:gd name="connsiteX12" fmla="*/ 229561 w 3941813"/>
              <a:gd name="connsiteY12" fmla="*/ 29949 h 571998"/>
              <a:gd name="connsiteX13" fmla="*/ 230860 w 3941813"/>
              <a:gd name="connsiteY13" fmla="*/ 43059 h 571998"/>
              <a:gd name="connsiteX14" fmla="*/ 231099 w 3941813"/>
              <a:gd name="connsiteY14" fmla="*/ 44849 h 571998"/>
              <a:gd name="connsiteX15" fmla="*/ 231445 w 3941813"/>
              <a:gd name="connsiteY15" fmla="*/ 47954 h 571998"/>
              <a:gd name="connsiteX16" fmla="*/ 231790 w 3941813"/>
              <a:gd name="connsiteY16" fmla="*/ 51059 h 571998"/>
              <a:gd name="connsiteX17" fmla="*/ 232439 w 3941813"/>
              <a:gd name="connsiteY17" fmla="*/ 55431 h 571998"/>
              <a:gd name="connsiteX18" fmla="*/ 237460 w 3941813"/>
              <a:gd name="connsiteY18" fmla="*/ 78594 h 571998"/>
              <a:gd name="connsiteX19" fmla="*/ 239935 w 3941813"/>
              <a:gd name="connsiteY19" fmla="*/ 88754 h 571998"/>
              <a:gd name="connsiteX20" fmla="*/ 249062 w 3941813"/>
              <a:gd name="connsiteY20" fmla="*/ 117988 h 571998"/>
              <a:gd name="connsiteX21" fmla="*/ 258766 w 3941813"/>
              <a:gd name="connsiteY21" fmla="*/ 141560 h 571998"/>
              <a:gd name="connsiteX22" fmla="*/ 260462 w 3941813"/>
              <a:gd name="connsiteY22" fmla="*/ 145242 h 571998"/>
              <a:gd name="connsiteX23" fmla="*/ 261844 w 3941813"/>
              <a:gd name="connsiteY23" fmla="*/ 148347 h 571998"/>
              <a:gd name="connsiteX24" fmla="*/ 263571 w 3941813"/>
              <a:gd name="connsiteY24" fmla="*/ 152142 h 571998"/>
              <a:gd name="connsiteX25" fmla="*/ 265643 w 3941813"/>
              <a:gd name="connsiteY25" fmla="*/ 155592 h 571998"/>
              <a:gd name="connsiteX26" fmla="*/ 267371 w 3941813"/>
              <a:gd name="connsiteY26" fmla="*/ 158697 h 571998"/>
              <a:gd name="connsiteX27" fmla="*/ 269060 w 3941813"/>
              <a:gd name="connsiteY27" fmla="*/ 162072 h 571998"/>
              <a:gd name="connsiteX28" fmla="*/ 276558 w 3941813"/>
              <a:gd name="connsiteY28" fmla="*/ 175613 h 571998"/>
              <a:gd name="connsiteX29" fmla="*/ 277043 w 3941813"/>
              <a:gd name="connsiteY29" fmla="*/ 176291 h 571998"/>
              <a:gd name="connsiteX30" fmla="*/ 278368 w 3941813"/>
              <a:gd name="connsiteY30" fmla="*/ 178791 h 571998"/>
              <a:gd name="connsiteX31" fmla="*/ 295536 w 3941813"/>
              <a:gd name="connsiteY31" fmla="*/ 204348 h 571998"/>
              <a:gd name="connsiteX32" fmla="*/ 296042 w 3941813"/>
              <a:gd name="connsiteY32" fmla="*/ 204926 h 571998"/>
              <a:gd name="connsiteX33" fmla="*/ 298303 w 3941813"/>
              <a:gd name="connsiteY33" fmla="*/ 207936 h 571998"/>
              <a:gd name="connsiteX34" fmla="*/ 316635 w 3941813"/>
              <a:gd name="connsiteY34" fmla="*/ 230146 h 571998"/>
              <a:gd name="connsiteX35" fmla="*/ 318158 w 3941813"/>
              <a:gd name="connsiteY35" fmla="*/ 231823 h 571998"/>
              <a:gd name="connsiteX36" fmla="*/ 341295 w 3941813"/>
              <a:gd name="connsiteY36" fmla="*/ 254260 h 571998"/>
              <a:gd name="connsiteX37" fmla="*/ 364855 w 3941813"/>
              <a:gd name="connsiteY37" fmla="*/ 274566 h 571998"/>
              <a:gd name="connsiteX38" fmla="*/ 383255 w 3941813"/>
              <a:gd name="connsiteY38" fmla="*/ 287072 h 571998"/>
              <a:gd name="connsiteX39" fmla="*/ 390494 w 3941813"/>
              <a:gd name="connsiteY39" fmla="*/ 291862 h 571998"/>
              <a:gd name="connsiteX40" fmla="*/ 396550 w 3941813"/>
              <a:gd name="connsiteY40" fmla="*/ 295622 h 571998"/>
              <a:gd name="connsiteX41" fmla="*/ 409034 w 3941813"/>
              <a:gd name="connsiteY41" fmla="*/ 302598 h 571998"/>
              <a:gd name="connsiteX42" fmla="*/ 419364 w 3941813"/>
              <a:gd name="connsiteY42" fmla="*/ 308079 h 571998"/>
              <a:gd name="connsiteX43" fmla="*/ 431109 w 3941813"/>
              <a:gd name="connsiteY43" fmla="*/ 313598 h 571998"/>
              <a:gd name="connsiteX44" fmla="*/ 433413 w 3941813"/>
              <a:gd name="connsiteY44" fmla="*/ 314749 h 571998"/>
              <a:gd name="connsiteX45" fmla="*/ 445124 w 3941813"/>
              <a:gd name="connsiteY45" fmla="*/ 319611 h 571998"/>
              <a:gd name="connsiteX46" fmla="*/ 450799 w 3941813"/>
              <a:gd name="connsiteY46" fmla="*/ 321878 h 571998"/>
              <a:gd name="connsiteX47" fmla="*/ 462312 w 3941813"/>
              <a:gd name="connsiteY47" fmla="*/ 325820 h 571998"/>
              <a:gd name="connsiteX48" fmla="*/ 480775 w 3941813"/>
              <a:gd name="connsiteY48" fmla="*/ 331449 h 571998"/>
              <a:gd name="connsiteX49" fmla="*/ 490525 w 3941813"/>
              <a:gd name="connsiteY49" fmla="*/ 333953 h 571998"/>
              <a:gd name="connsiteX50" fmla="*/ 499752 w 3941813"/>
              <a:gd name="connsiteY50" fmla="*/ 335946 h 571998"/>
              <a:gd name="connsiteX51" fmla="*/ 520232 w 3941813"/>
              <a:gd name="connsiteY51" fmla="*/ 340163 h 571998"/>
              <a:gd name="connsiteX52" fmla="*/ 554124 w 3941813"/>
              <a:gd name="connsiteY52" fmla="*/ 343209 h 571998"/>
              <a:gd name="connsiteX53" fmla="*/ 555122 w 3941813"/>
              <a:gd name="connsiteY53" fmla="*/ 343268 h 571998"/>
              <a:gd name="connsiteX54" fmla="*/ 555467 w 3941813"/>
              <a:gd name="connsiteY54" fmla="*/ 343294 h 571998"/>
              <a:gd name="connsiteX55" fmla="*/ 572739 w 3941813"/>
              <a:gd name="connsiteY55" fmla="*/ 343958 h 571998"/>
              <a:gd name="connsiteX56" fmla="*/ 3862707 w 3941813"/>
              <a:gd name="connsiteY56" fmla="*/ 343958 h 571998"/>
              <a:gd name="connsiteX57" fmla="*/ 3941813 w 3941813"/>
              <a:gd name="connsiteY57" fmla="*/ 343958 h 571998"/>
              <a:gd name="connsiteX58" fmla="*/ 3941813 w 3941813"/>
              <a:gd name="connsiteY58" fmla="*/ 388462 h 571998"/>
              <a:gd name="connsiteX59" fmla="*/ 3940777 w 3941813"/>
              <a:gd name="connsiteY59" fmla="*/ 407437 h 571998"/>
              <a:gd name="connsiteX60" fmla="*/ 3933868 w 3941813"/>
              <a:gd name="connsiteY60" fmla="*/ 442971 h 571998"/>
              <a:gd name="connsiteX61" fmla="*/ 3920050 w 3941813"/>
              <a:gd name="connsiteY61" fmla="*/ 476090 h 571998"/>
              <a:gd name="connsiteX62" fmla="*/ 3900015 w 3941813"/>
              <a:gd name="connsiteY62" fmla="*/ 505415 h 571998"/>
              <a:gd name="connsiteX63" fmla="*/ 3875143 w 3941813"/>
              <a:gd name="connsiteY63" fmla="*/ 530254 h 571998"/>
              <a:gd name="connsiteX64" fmla="*/ 3846126 w 3941813"/>
              <a:gd name="connsiteY64" fmla="*/ 549919 h 571998"/>
              <a:gd name="connsiteX65" fmla="*/ 3812964 w 3941813"/>
              <a:gd name="connsiteY65" fmla="*/ 563718 h 571998"/>
              <a:gd name="connsiteX66" fmla="*/ 3777038 w 3941813"/>
              <a:gd name="connsiteY66" fmla="*/ 570963 h 571998"/>
              <a:gd name="connsiteX67" fmla="*/ 3758385 w 3941813"/>
              <a:gd name="connsiteY67" fmla="*/ 571998 h 571998"/>
              <a:gd name="connsiteX68" fmla="*/ 572739 w 3941813"/>
              <a:gd name="connsiteY68" fmla="*/ 571998 h 571998"/>
              <a:gd name="connsiteX69" fmla="*/ 543032 w 3941813"/>
              <a:gd name="connsiteY69" fmla="*/ 571308 h 571998"/>
              <a:gd name="connsiteX70" fmla="*/ 485343 w 3941813"/>
              <a:gd name="connsiteY70" fmla="*/ 565788 h 571998"/>
              <a:gd name="connsiteX71" fmla="*/ 429382 w 3941813"/>
              <a:gd name="connsiteY71" fmla="*/ 554059 h 571998"/>
              <a:gd name="connsiteX72" fmla="*/ 375493 w 3941813"/>
              <a:gd name="connsiteY72" fmla="*/ 537499 h 571998"/>
              <a:gd name="connsiteX73" fmla="*/ 324023 w 3941813"/>
              <a:gd name="connsiteY73" fmla="*/ 515419 h 571998"/>
              <a:gd name="connsiteX74" fmla="*/ 275661 w 3941813"/>
              <a:gd name="connsiteY74" fmla="*/ 489200 h 571998"/>
              <a:gd name="connsiteX75" fmla="*/ 229718 w 3941813"/>
              <a:gd name="connsiteY75" fmla="*/ 458495 h 571998"/>
              <a:gd name="connsiteX76" fmla="*/ 187574 w 3941813"/>
              <a:gd name="connsiteY76" fmla="*/ 423306 h 571998"/>
              <a:gd name="connsiteX77" fmla="*/ 148539 w 3941813"/>
              <a:gd name="connsiteY77" fmla="*/ 384667 h 571998"/>
              <a:gd name="connsiteX78" fmla="*/ 113650 w 3941813"/>
              <a:gd name="connsiteY78" fmla="*/ 342233 h 571998"/>
              <a:gd name="connsiteX79" fmla="*/ 82906 w 3941813"/>
              <a:gd name="connsiteY79" fmla="*/ 296349 h 571998"/>
              <a:gd name="connsiteX80" fmla="*/ 56307 w 3941813"/>
              <a:gd name="connsiteY80" fmla="*/ 248050 h 571998"/>
              <a:gd name="connsiteX81" fmla="*/ 34544 w 3941813"/>
              <a:gd name="connsiteY81" fmla="*/ 196646 h 571998"/>
              <a:gd name="connsiteX82" fmla="*/ 17963 w 3941813"/>
              <a:gd name="connsiteY82" fmla="*/ 143172 h 571998"/>
              <a:gd name="connsiteX83" fmla="*/ 6218 w 3941813"/>
              <a:gd name="connsiteY83" fmla="*/ 87283 h 571998"/>
              <a:gd name="connsiteX84" fmla="*/ 346 w 3941813"/>
              <a:gd name="connsiteY84" fmla="*/ 29669 h 57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941813" h="571998">
                <a:moveTo>
                  <a:pt x="0" y="0"/>
                </a:moveTo>
                <a:lnTo>
                  <a:pt x="228336" y="0"/>
                </a:lnTo>
                <a:lnTo>
                  <a:pt x="228336" y="1035"/>
                </a:lnTo>
                <a:lnTo>
                  <a:pt x="228336" y="2070"/>
                </a:lnTo>
                <a:lnTo>
                  <a:pt x="228336" y="3450"/>
                </a:lnTo>
                <a:lnTo>
                  <a:pt x="228336" y="4485"/>
                </a:lnTo>
                <a:lnTo>
                  <a:pt x="228336" y="6555"/>
                </a:lnTo>
                <a:lnTo>
                  <a:pt x="228336" y="8625"/>
                </a:lnTo>
                <a:lnTo>
                  <a:pt x="228336" y="13110"/>
                </a:lnTo>
                <a:lnTo>
                  <a:pt x="228681" y="17595"/>
                </a:lnTo>
                <a:lnTo>
                  <a:pt x="228681" y="21045"/>
                </a:lnTo>
                <a:lnTo>
                  <a:pt x="229372" y="24495"/>
                </a:lnTo>
                <a:lnTo>
                  <a:pt x="229561" y="29949"/>
                </a:lnTo>
                <a:lnTo>
                  <a:pt x="230860" y="43059"/>
                </a:lnTo>
                <a:lnTo>
                  <a:pt x="231099" y="44849"/>
                </a:lnTo>
                <a:lnTo>
                  <a:pt x="231445" y="47954"/>
                </a:lnTo>
                <a:lnTo>
                  <a:pt x="231790" y="51059"/>
                </a:lnTo>
                <a:lnTo>
                  <a:pt x="232439" y="55431"/>
                </a:lnTo>
                <a:lnTo>
                  <a:pt x="237460" y="78594"/>
                </a:lnTo>
                <a:lnTo>
                  <a:pt x="239935" y="88754"/>
                </a:lnTo>
                <a:lnTo>
                  <a:pt x="249062" y="117988"/>
                </a:lnTo>
                <a:lnTo>
                  <a:pt x="258766" y="141560"/>
                </a:lnTo>
                <a:lnTo>
                  <a:pt x="260462" y="145242"/>
                </a:lnTo>
                <a:lnTo>
                  <a:pt x="261844" y="148347"/>
                </a:lnTo>
                <a:lnTo>
                  <a:pt x="263571" y="152142"/>
                </a:lnTo>
                <a:lnTo>
                  <a:pt x="265643" y="155592"/>
                </a:lnTo>
                <a:lnTo>
                  <a:pt x="267371" y="158697"/>
                </a:lnTo>
                <a:lnTo>
                  <a:pt x="269060" y="162072"/>
                </a:lnTo>
                <a:lnTo>
                  <a:pt x="276558" y="175613"/>
                </a:lnTo>
                <a:lnTo>
                  <a:pt x="277043" y="176291"/>
                </a:lnTo>
                <a:lnTo>
                  <a:pt x="278368" y="178791"/>
                </a:lnTo>
                <a:lnTo>
                  <a:pt x="295536" y="204348"/>
                </a:lnTo>
                <a:lnTo>
                  <a:pt x="296042" y="204926"/>
                </a:lnTo>
                <a:lnTo>
                  <a:pt x="298303" y="207936"/>
                </a:lnTo>
                <a:lnTo>
                  <a:pt x="316635" y="230146"/>
                </a:lnTo>
                <a:lnTo>
                  <a:pt x="318158" y="231823"/>
                </a:lnTo>
                <a:lnTo>
                  <a:pt x="341295" y="254260"/>
                </a:lnTo>
                <a:lnTo>
                  <a:pt x="364855" y="274566"/>
                </a:lnTo>
                <a:lnTo>
                  <a:pt x="383255" y="287072"/>
                </a:lnTo>
                <a:lnTo>
                  <a:pt x="390494" y="291862"/>
                </a:lnTo>
                <a:lnTo>
                  <a:pt x="396550" y="295622"/>
                </a:lnTo>
                <a:lnTo>
                  <a:pt x="409034" y="302598"/>
                </a:lnTo>
                <a:lnTo>
                  <a:pt x="419364" y="308079"/>
                </a:lnTo>
                <a:lnTo>
                  <a:pt x="431109" y="313598"/>
                </a:lnTo>
                <a:lnTo>
                  <a:pt x="433413" y="314749"/>
                </a:lnTo>
                <a:lnTo>
                  <a:pt x="445124" y="319611"/>
                </a:lnTo>
                <a:lnTo>
                  <a:pt x="450799" y="321878"/>
                </a:lnTo>
                <a:lnTo>
                  <a:pt x="462312" y="325820"/>
                </a:lnTo>
                <a:lnTo>
                  <a:pt x="480775" y="331449"/>
                </a:lnTo>
                <a:lnTo>
                  <a:pt x="490525" y="333953"/>
                </a:lnTo>
                <a:lnTo>
                  <a:pt x="499752" y="335946"/>
                </a:lnTo>
                <a:lnTo>
                  <a:pt x="520232" y="340163"/>
                </a:lnTo>
                <a:lnTo>
                  <a:pt x="554124" y="343209"/>
                </a:lnTo>
                <a:lnTo>
                  <a:pt x="555122" y="343268"/>
                </a:lnTo>
                <a:lnTo>
                  <a:pt x="555467" y="343294"/>
                </a:lnTo>
                <a:lnTo>
                  <a:pt x="572739" y="343958"/>
                </a:lnTo>
                <a:lnTo>
                  <a:pt x="3862707" y="343958"/>
                </a:lnTo>
                <a:lnTo>
                  <a:pt x="3941813" y="343958"/>
                </a:lnTo>
                <a:lnTo>
                  <a:pt x="3941813" y="388462"/>
                </a:lnTo>
                <a:lnTo>
                  <a:pt x="3940777" y="407437"/>
                </a:lnTo>
                <a:lnTo>
                  <a:pt x="3933868" y="442971"/>
                </a:lnTo>
                <a:lnTo>
                  <a:pt x="3920050" y="476090"/>
                </a:lnTo>
                <a:lnTo>
                  <a:pt x="3900015" y="505415"/>
                </a:lnTo>
                <a:lnTo>
                  <a:pt x="3875143" y="530254"/>
                </a:lnTo>
                <a:lnTo>
                  <a:pt x="3846126" y="549919"/>
                </a:lnTo>
                <a:lnTo>
                  <a:pt x="3812964" y="563718"/>
                </a:lnTo>
                <a:lnTo>
                  <a:pt x="3777038" y="570963"/>
                </a:lnTo>
                <a:lnTo>
                  <a:pt x="3758385" y="571998"/>
                </a:lnTo>
                <a:lnTo>
                  <a:pt x="572739" y="571998"/>
                </a:lnTo>
                <a:lnTo>
                  <a:pt x="543032" y="571308"/>
                </a:lnTo>
                <a:lnTo>
                  <a:pt x="485343" y="565788"/>
                </a:lnTo>
                <a:lnTo>
                  <a:pt x="429382" y="554059"/>
                </a:lnTo>
                <a:lnTo>
                  <a:pt x="375493" y="537499"/>
                </a:lnTo>
                <a:lnTo>
                  <a:pt x="324023" y="515419"/>
                </a:lnTo>
                <a:lnTo>
                  <a:pt x="275661" y="489200"/>
                </a:lnTo>
                <a:lnTo>
                  <a:pt x="229718" y="458495"/>
                </a:lnTo>
                <a:lnTo>
                  <a:pt x="187574" y="423306"/>
                </a:lnTo>
                <a:lnTo>
                  <a:pt x="148539" y="384667"/>
                </a:lnTo>
                <a:lnTo>
                  <a:pt x="113650" y="342233"/>
                </a:lnTo>
                <a:lnTo>
                  <a:pt x="82906" y="296349"/>
                </a:lnTo>
                <a:lnTo>
                  <a:pt x="56307" y="248050"/>
                </a:lnTo>
                <a:lnTo>
                  <a:pt x="34544" y="196646"/>
                </a:lnTo>
                <a:lnTo>
                  <a:pt x="17963" y="143172"/>
                </a:lnTo>
                <a:lnTo>
                  <a:pt x="6218" y="87283"/>
                </a:lnTo>
                <a:lnTo>
                  <a:pt x="346" y="29669"/>
                </a:ln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68" name="Freeform 585">
            <a:extLst>
              <a:ext uri="{FF2B5EF4-FFF2-40B4-BE49-F238E27FC236}">
                <a16:creationId xmlns:a16="http://schemas.microsoft.com/office/drawing/2014/main" id="{BFA28B63-C1EE-B590-3C9A-6C7365EF211B}"/>
              </a:ext>
            </a:extLst>
          </p:cNvPr>
          <p:cNvSpPr>
            <a:spLocks/>
          </p:cNvSpPr>
          <p:nvPr/>
        </p:nvSpPr>
        <p:spPr bwMode="auto">
          <a:xfrm>
            <a:off x="1206578" y="4894857"/>
            <a:ext cx="689438" cy="6894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191C21"/>
                </a:solidFill>
                <a:effectLst/>
                <a:uLnTx/>
                <a:uFillTx/>
                <a:latin typeface="Arial"/>
                <a:ea typeface="+mn-ea"/>
                <a:cs typeface="+mn-cs"/>
              </a:rPr>
              <a:t>5</a:t>
            </a:r>
          </a:p>
        </p:txBody>
      </p:sp>
      <p:sp>
        <p:nvSpPr>
          <p:cNvPr id="69" name="Freeform 588">
            <a:extLst>
              <a:ext uri="{FF2B5EF4-FFF2-40B4-BE49-F238E27FC236}">
                <a16:creationId xmlns:a16="http://schemas.microsoft.com/office/drawing/2014/main" id="{39944850-ADD9-4FA5-945C-25D5FE1E5EA4}"/>
              </a:ext>
            </a:extLst>
          </p:cNvPr>
          <p:cNvSpPr>
            <a:spLocks/>
          </p:cNvSpPr>
          <p:nvPr/>
        </p:nvSpPr>
        <p:spPr bwMode="auto">
          <a:xfrm>
            <a:off x="6354171" y="4668268"/>
            <a:ext cx="1145378" cy="1143996"/>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70" name="Freeform 587">
            <a:extLst>
              <a:ext uri="{FF2B5EF4-FFF2-40B4-BE49-F238E27FC236}">
                <a16:creationId xmlns:a16="http://schemas.microsoft.com/office/drawing/2014/main" id="{1C2B5055-C300-0669-C36A-3E49BCFCC062}"/>
              </a:ext>
            </a:extLst>
          </p:cNvPr>
          <p:cNvSpPr>
            <a:spLocks/>
          </p:cNvSpPr>
          <p:nvPr/>
        </p:nvSpPr>
        <p:spPr bwMode="auto">
          <a:xfrm>
            <a:off x="6582141" y="4894857"/>
            <a:ext cx="689438" cy="689438"/>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71" name="Freeform 589">
            <a:extLst>
              <a:ext uri="{FF2B5EF4-FFF2-40B4-BE49-F238E27FC236}">
                <a16:creationId xmlns:a16="http://schemas.microsoft.com/office/drawing/2014/main" id="{8BA1A381-CBEF-5F14-E007-76B50337C857}"/>
              </a:ext>
            </a:extLst>
          </p:cNvPr>
          <p:cNvSpPr>
            <a:spLocks/>
          </p:cNvSpPr>
          <p:nvPr/>
        </p:nvSpPr>
        <p:spPr bwMode="auto">
          <a:xfrm>
            <a:off x="7225984" y="5244412"/>
            <a:ext cx="160270" cy="392385"/>
          </a:xfrm>
          <a:custGeom>
            <a:avLst/>
            <a:gdLst>
              <a:gd name="T0" fmla="*/ 462 w 462"/>
              <a:gd name="T1" fmla="*/ 981 h 1135"/>
              <a:gd name="T2" fmla="*/ 460 w 462"/>
              <a:gd name="T3" fmla="*/ 985 h 1135"/>
              <a:gd name="T4" fmla="*/ 457 w 462"/>
              <a:gd name="T5" fmla="*/ 989 h 1135"/>
              <a:gd name="T6" fmla="*/ 443 w 462"/>
              <a:gd name="T7" fmla="*/ 1007 h 1135"/>
              <a:gd name="T8" fmla="*/ 427 w 462"/>
              <a:gd name="T9" fmla="*/ 1025 h 1135"/>
              <a:gd name="T10" fmla="*/ 418 w 462"/>
              <a:gd name="T11" fmla="*/ 1037 h 1135"/>
              <a:gd name="T12" fmla="*/ 409 w 462"/>
              <a:gd name="T13" fmla="*/ 1048 h 1135"/>
              <a:gd name="T14" fmla="*/ 408 w 462"/>
              <a:gd name="T15" fmla="*/ 1050 h 1135"/>
              <a:gd name="T16" fmla="*/ 408 w 462"/>
              <a:gd name="T17" fmla="*/ 1050 h 1135"/>
              <a:gd name="T18" fmla="*/ 396 w 462"/>
              <a:gd name="T19" fmla="*/ 1064 h 1135"/>
              <a:gd name="T20" fmla="*/ 383 w 462"/>
              <a:gd name="T21" fmla="*/ 1078 h 1135"/>
              <a:gd name="T22" fmla="*/ 369 w 462"/>
              <a:gd name="T23" fmla="*/ 1095 h 1135"/>
              <a:gd name="T24" fmla="*/ 355 w 462"/>
              <a:gd name="T25" fmla="*/ 1110 h 1135"/>
              <a:gd name="T26" fmla="*/ 343 w 462"/>
              <a:gd name="T27" fmla="*/ 1123 h 1135"/>
              <a:gd name="T28" fmla="*/ 332 w 462"/>
              <a:gd name="T29" fmla="*/ 1135 h 1135"/>
              <a:gd name="T30" fmla="*/ 276 w 462"/>
              <a:gd name="T31" fmla="*/ 1062 h 1135"/>
              <a:gd name="T32" fmla="*/ 177 w 462"/>
              <a:gd name="T33" fmla="*/ 908 h 1135"/>
              <a:gd name="T34" fmla="*/ 94 w 462"/>
              <a:gd name="T35" fmla="*/ 745 h 1135"/>
              <a:gd name="T36" fmla="*/ 27 w 462"/>
              <a:gd name="T37" fmla="*/ 573 h 1135"/>
              <a:gd name="T38" fmla="*/ 0 w 462"/>
              <a:gd name="T39" fmla="*/ 483 h 1135"/>
              <a:gd name="T40" fmla="*/ 36 w 462"/>
              <a:gd name="T41" fmla="*/ 417 h 1135"/>
              <a:gd name="T42" fmla="*/ 65 w 462"/>
              <a:gd name="T43" fmla="*/ 348 h 1135"/>
              <a:gd name="T44" fmla="*/ 68 w 462"/>
              <a:gd name="T45" fmla="*/ 341 h 1135"/>
              <a:gd name="T46" fmla="*/ 71 w 462"/>
              <a:gd name="T47" fmla="*/ 333 h 1135"/>
              <a:gd name="T48" fmla="*/ 81 w 462"/>
              <a:gd name="T49" fmla="*/ 303 h 1135"/>
              <a:gd name="T50" fmla="*/ 90 w 462"/>
              <a:gd name="T51" fmla="*/ 273 h 1135"/>
              <a:gd name="T52" fmla="*/ 94 w 462"/>
              <a:gd name="T53" fmla="*/ 263 h 1135"/>
              <a:gd name="T54" fmla="*/ 97 w 462"/>
              <a:gd name="T55" fmla="*/ 252 h 1135"/>
              <a:gd name="T56" fmla="*/ 100 w 462"/>
              <a:gd name="T57" fmla="*/ 242 h 1135"/>
              <a:gd name="T58" fmla="*/ 102 w 462"/>
              <a:gd name="T59" fmla="*/ 232 h 1135"/>
              <a:gd name="T60" fmla="*/ 105 w 462"/>
              <a:gd name="T61" fmla="*/ 223 h 1135"/>
              <a:gd name="T62" fmla="*/ 106 w 462"/>
              <a:gd name="T63" fmla="*/ 214 h 1135"/>
              <a:gd name="T64" fmla="*/ 110 w 462"/>
              <a:gd name="T65" fmla="*/ 201 h 1135"/>
              <a:gd name="T66" fmla="*/ 112 w 462"/>
              <a:gd name="T67" fmla="*/ 189 h 1135"/>
              <a:gd name="T68" fmla="*/ 112 w 462"/>
              <a:gd name="T69" fmla="*/ 182 h 1135"/>
              <a:gd name="T70" fmla="*/ 114 w 462"/>
              <a:gd name="T71" fmla="*/ 177 h 1135"/>
              <a:gd name="T72" fmla="*/ 116 w 462"/>
              <a:gd name="T73" fmla="*/ 166 h 1135"/>
              <a:gd name="T74" fmla="*/ 119 w 462"/>
              <a:gd name="T75" fmla="*/ 153 h 1135"/>
              <a:gd name="T76" fmla="*/ 125 w 462"/>
              <a:gd name="T77" fmla="*/ 109 h 1135"/>
              <a:gd name="T78" fmla="*/ 129 w 462"/>
              <a:gd name="T79" fmla="*/ 64 h 1135"/>
              <a:gd name="T80" fmla="*/ 131 w 462"/>
              <a:gd name="T81" fmla="*/ 53 h 1135"/>
              <a:gd name="T82" fmla="*/ 131 w 462"/>
              <a:gd name="T83" fmla="*/ 41 h 1135"/>
              <a:gd name="T84" fmla="*/ 131 w 462"/>
              <a:gd name="T85" fmla="*/ 39 h 1135"/>
              <a:gd name="T86" fmla="*/ 131 w 462"/>
              <a:gd name="T87" fmla="*/ 35 h 1135"/>
              <a:gd name="T88" fmla="*/ 132 w 462"/>
              <a:gd name="T89" fmla="*/ 26 h 1135"/>
              <a:gd name="T90" fmla="*/ 132 w 462"/>
              <a:gd name="T91" fmla="*/ 17 h 1135"/>
              <a:gd name="T92" fmla="*/ 132 w 462"/>
              <a:gd name="T93" fmla="*/ 7 h 1135"/>
              <a:gd name="T94" fmla="*/ 132 w 462"/>
              <a:gd name="T95" fmla="*/ 0 h 1135"/>
              <a:gd name="T96" fmla="*/ 133 w 462"/>
              <a:gd name="T97" fmla="*/ 68 h 1135"/>
              <a:gd name="T98" fmla="*/ 145 w 462"/>
              <a:gd name="T99" fmla="*/ 204 h 1135"/>
              <a:gd name="T100" fmla="*/ 168 w 462"/>
              <a:gd name="T101" fmla="*/ 335 h 1135"/>
              <a:gd name="T102" fmla="*/ 201 w 462"/>
              <a:gd name="T103" fmla="*/ 464 h 1135"/>
              <a:gd name="T104" fmla="*/ 243 w 462"/>
              <a:gd name="T105" fmla="*/ 587 h 1135"/>
              <a:gd name="T106" fmla="*/ 295 w 462"/>
              <a:gd name="T107" fmla="*/ 706 h 1135"/>
              <a:gd name="T108" fmla="*/ 355 w 462"/>
              <a:gd name="T109" fmla="*/ 820 h 1135"/>
              <a:gd name="T110" fmla="*/ 425 w 462"/>
              <a:gd name="T111" fmla="*/ 929 h 1135"/>
              <a:gd name="T112" fmla="*/ 462 w 462"/>
              <a:gd name="T113" fmla="*/ 981 h 1135"/>
              <a:gd name="T114" fmla="*/ 462 w 462"/>
              <a:gd name="T115" fmla="*/ 981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2" h="1135">
                <a:moveTo>
                  <a:pt x="462" y="981"/>
                </a:moveTo>
                <a:lnTo>
                  <a:pt x="460" y="985"/>
                </a:lnTo>
                <a:lnTo>
                  <a:pt x="457" y="989"/>
                </a:lnTo>
                <a:lnTo>
                  <a:pt x="443" y="1007"/>
                </a:lnTo>
                <a:lnTo>
                  <a:pt x="427" y="1025"/>
                </a:lnTo>
                <a:lnTo>
                  <a:pt x="418" y="1037"/>
                </a:lnTo>
                <a:lnTo>
                  <a:pt x="409" y="1048"/>
                </a:lnTo>
                <a:lnTo>
                  <a:pt x="408" y="1050"/>
                </a:lnTo>
                <a:lnTo>
                  <a:pt x="408" y="1050"/>
                </a:lnTo>
                <a:lnTo>
                  <a:pt x="396" y="1064"/>
                </a:lnTo>
                <a:lnTo>
                  <a:pt x="383" y="1078"/>
                </a:lnTo>
                <a:lnTo>
                  <a:pt x="369" y="1095"/>
                </a:lnTo>
                <a:lnTo>
                  <a:pt x="355" y="1110"/>
                </a:lnTo>
                <a:lnTo>
                  <a:pt x="343" y="1123"/>
                </a:lnTo>
                <a:lnTo>
                  <a:pt x="332" y="1135"/>
                </a:lnTo>
                <a:lnTo>
                  <a:pt x="276" y="1062"/>
                </a:lnTo>
                <a:lnTo>
                  <a:pt x="177" y="908"/>
                </a:lnTo>
                <a:lnTo>
                  <a:pt x="94" y="745"/>
                </a:lnTo>
                <a:lnTo>
                  <a:pt x="27" y="573"/>
                </a:lnTo>
                <a:lnTo>
                  <a:pt x="0" y="483"/>
                </a:lnTo>
                <a:lnTo>
                  <a:pt x="36" y="417"/>
                </a:lnTo>
                <a:lnTo>
                  <a:pt x="65" y="348"/>
                </a:lnTo>
                <a:lnTo>
                  <a:pt x="68" y="341"/>
                </a:lnTo>
                <a:lnTo>
                  <a:pt x="71" y="333"/>
                </a:lnTo>
                <a:lnTo>
                  <a:pt x="81" y="303"/>
                </a:lnTo>
                <a:lnTo>
                  <a:pt x="90" y="273"/>
                </a:lnTo>
                <a:lnTo>
                  <a:pt x="94" y="263"/>
                </a:lnTo>
                <a:lnTo>
                  <a:pt x="97" y="252"/>
                </a:lnTo>
                <a:lnTo>
                  <a:pt x="100" y="242"/>
                </a:lnTo>
                <a:lnTo>
                  <a:pt x="102" y="232"/>
                </a:lnTo>
                <a:lnTo>
                  <a:pt x="105" y="223"/>
                </a:lnTo>
                <a:lnTo>
                  <a:pt x="106" y="214"/>
                </a:lnTo>
                <a:lnTo>
                  <a:pt x="110" y="201"/>
                </a:lnTo>
                <a:lnTo>
                  <a:pt x="112" y="189"/>
                </a:lnTo>
                <a:lnTo>
                  <a:pt x="112" y="182"/>
                </a:lnTo>
                <a:lnTo>
                  <a:pt x="114" y="177"/>
                </a:lnTo>
                <a:lnTo>
                  <a:pt x="116" y="166"/>
                </a:lnTo>
                <a:lnTo>
                  <a:pt x="119" y="153"/>
                </a:lnTo>
                <a:lnTo>
                  <a:pt x="125" y="109"/>
                </a:lnTo>
                <a:lnTo>
                  <a:pt x="129" y="64"/>
                </a:lnTo>
                <a:lnTo>
                  <a:pt x="131" y="53"/>
                </a:lnTo>
                <a:lnTo>
                  <a:pt x="131" y="41"/>
                </a:lnTo>
                <a:lnTo>
                  <a:pt x="131" y="39"/>
                </a:lnTo>
                <a:lnTo>
                  <a:pt x="131" y="35"/>
                </a:lnTo>
                <a:lnTo>
                  <a:pt x="132" y="26"/>
                </a:lnTo>
                <a:lnTo>
                  <a:pt x="132" y="17"/>
                </a:lnTo>
                <a:lnTo>
                  <a:pt x="132" y="7"/>
                </a:lnTo>
                <a:lnTo>
                  <a:pt x="132" y="0"/>
                </a:lnTo>
                <a:lnTo>
                  <a:pt x="133" y="68"/>
                </a:lnTo>
                <a:lnTo>
                  <a:pt x="145" y="204"/>
                </a:lnTo>
                <a:lnTo>
                  <a:pt x="168" y="335"/>
                </a:lnTo>
                <a:lnTo>
                  <a:pt x="201" y="464"/>
                </a:lnTo>
                <a:lnTo>
                  <a:pt x="243" y="587"/>
                </a:lnTo>
                <a:lnTo>
                  <a:pt x="295" y="706"/>
                </a:lnTo>
                <a:lnTo>
                  <a:pt x="355" y="820"/>
                </a:lnTo>
                <a:lnTo>
                  <a:pt x="425" y="929"/>
                </a:lnTo>
                <a:lnTo>
                  <a:pt x="462" y="981"/>
                </a:lnTo>
                <a:lnTo>
                  <a:pt x="462" y="981"/>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72" name="Freeform 590">
            <a:extLst>
              <a:ext uri="{FF2B5EF4-FFF2-40B4-BE49-F238E27FC236}">
                <a16:creationId xmlns:a16="http://schemas.microsoft.com/office/drawing/2014/main" id="{07F16F78-852E-C709-3AC0-0881181DA8F6}"/>
              </a:ext>
            </a:extLst>
          </p:cNvPr>
          <p:cNvSpPr>
            <a:spLocks/>
          </p:cNvSpPr>
          <p:nvPr/>
        </p:nvSpPr>
        <p:spPr bwMode="auto">
          <a:xfrm>
            <a:off x="7225984" y="5244412"/>
            <a:ext cx="160270" cy="392385"/>
          </a:xfrm>
          <a:custGeom>
            <a:avLst/>
            <a:gdLst>
              <a:gd name="T0" fmla="*/ 132 w 462"/>
              <a:gd name="T1" fmla="*/ 0 h 1135"/>
              <a:gd name="T2" fmla="*/ 132 w 462"/>
              <a:gd name="T3" fmla="*/ 7 h 1135"/>
              <a:gd name="T4" fmla="*/ 132 w 462"/>
              <a:gd name="T5" fmla="*/ 17 h 1135"/>
              <a:gd name="T6" fmla="*/ 132 w 462"/>
              <a:gd name="T7" fmla="*/ 26 h 1135"/>
              <a:gd name="T8" fmla="*/ 131 w 462"/>
              <a:gd name="T9" fmla="*/ 35 h 1135"/>
              <a:gd name="T10" fmla="*/ 131 w 462"/>
              <a:gd name="T11" fmla="*/ 39 h 1135"/>
              <a:gd name="T12" fmla="*/ 131 w 462"/>
              <a:gd name="T13" fmla="*/ 41 h 1135"/>
              <a:gd name="T14" fmla="*/ 131 w 462"/>
              <a:gd name="T15" fmla="*/ 53 h 1135"/>
              <a:gd name="T16" fmla="*/ 129 w 462"/>
              <a:gd name="T17" fmla="*/ 64 h 1135"/>
              <a:gd name="T18" fmla="*/ 125 w 462"/>
              <a:gd name="T19" fmla="*/ 109 h 1135"/>
              <a:gd name="T20" fmla="*/ 119 w 462"/>
              <a:gd name="T21" fmla="*/ 153 h 1135"/>
              <a:gd name="T22" fmla="*/ 116 w 462"/>
              <a:gd name="T23" fmla="*/ 166 h 1135"/>
              <a:gd name="T24" fmla="*/ 114 w 462"/>
              <a:gd name="T25" fmla="*/ 177 h 1135"/>
              <a:gd name="T26" fmla="*/ 112 w 462"/>
              <a:gd name="T27" fmla="*/ 182 h 1135"/>
              <a:gd name="T28" fmla="*/ 112 w 462"/>
              <a:gd name="T29" fmla="*/ 189 h 1135"/>
              <a:gd name="T30" fmla="*/ 110 w 462"/>
              <a:gd name="T31" fmla="*/ 201 h 1135"/>
              <a:gd name="T32" fmla="*/ 106 w 462"/>
              <a:gd name="T33" fmla="*/ 214 h 1135"/>
              <a:gd name="T34" fmla="*/ 105 w 462"/>
              <a:gd name="T35" fmla="*/ 223 h 1135"/>
              <a:gd name="T36" fmla="*/ 102 w 462"/>
              <a:gd name="T37" fmla="*/ 232 h 1135"/>
              <a:gd name="T38" fmla="*/ 100 w 462"/>
              <a:gd name="T39" fmla="*/ 242 h 1135"/>
              <a:gd name="T40" fmla="*/ 97 w 462"/>
              <a:gd name="T41" fmla="*/ 252 h 1135"/>
              <a:gd name="T42" fmla="*/ 94 w 462"/>
              <a:gd name="T43" fmla="*/ 263 h 1135"/>
              <a:gd name="T44" fmla="*/ 90 w 462"/>
              <a:gd name="T45" fmla="*/ 273 h 1135"/>
              <a:gd name="T46" fmla="*/ 81 w 462"/>
              <a:gd name="T47" fmla="*/ 303 h 1135"/>
              <a:gd name="T48" fmla="*/ 71 w 462"/>
              <a:gd name="T49" fmla="*/ 333 h 1135"/>
              <a:gd name="T50" fmla="*/ 65 w 462"/>
              <a:gd name="T51" fmla="*/ 348 h 1135"/>
              <a:gd name="T52" fmla="*/ 36 w 462"/>
              <a:gd name="T53" fmla="*/ 417 h 1135"/>
              <a:gd name="T54" fmla="*/ 0 w 462"/>
              <a:gd name="T55" fmla="*/ 483 h 1135"/>
              <a:gd name="T56" fmla="*/ 27 w 462"/>
              <a:gd name="T57" fmla="*/ 573 h 1135"/>
              <a:gd name="T58" fmla="*/ 94 w 462"/>
              <a:gd name="T59" fmla="*/ 745 h 1135"/>
              <a:gd name="T60" fmla="*/ 177 w 462"/>
              <a:gd name="T61" fmla="*/ 908 h 1135"/>
              <a:gd name="T62" fmla="*/ 276 w 462"/>
              <a:gd name="T63" fmla="*/ 1062 h 1135"/>
              <a:gd name="T64" fmla="*/ 332 w 462"/>
              <a:gd name="T65" fmla="*/ 1135 h 1135"/>
              <a:gd name="T66" fmla="*/ 343 w 462"/>
              <a:gd name="T67" fmla="*/ 1123 h 1135"/>
              <a:gd name="T68" fmla="*/ 355 w 462"/>
              <a:gd name="T69" fmla="*/ 1110 h 1135"/>
              <a:gd name="T70" fmla="*/ 369 w 462"/>
              <a:gd name="T71" fmla="*/ 1095 h 1135"/>
              <a:gd name="T72" fmla="*/ 383 w 462"/>
              <a:gd name="T73" fmla="*/ 1078 h 1135"/>
              <a:gd name="T74" fmla="*/ 396 w 462"/>
              <a:gd name="T75" fmla="*/ 1064 h 1135"/>
              <a:gd name="T76" fmla="*/ 408 w 462"/>
              <a:gd name="T77" fmla="*/ 1050 h 1135"/>
              <a:gd name="T78" fmla="*/ 408 w 462"/>
              <a:gd name="T79" fmla="*/ 1050 h 1135"/>
              <a:gd name="T80" fmla="*/ 409 w 462"/>
              <a:gd name="T81" fmla="*/ 1048 h 1135"/>
              <a:gd name="T82" fmla="*/ 418 w 462"/>
              <a:gd name="T83" fmla="*/ 1037 h 1135"/>
              <a:gd name="T84" fmla="*/ 427 w 462"/>
              <a:gd name="T85" fmla="*/ 1025 h 1135"/>
              <a:gd name="T86" fmla="*/ 443 w 462"/>
              <a:gd name="T87" fmla="*/ 1007 h 1135"/>
              <a:gd name="T88" fmla="*/ 457 w 462"/>
              <a:gd name="T89" fmla="*/ 989 h 1135"/>
              <a:gd name="T90" fmla="*/ 460 w 462"/>
              <a:gd name="T91" fmla="*/ 985 h 1135"/>
              <a:gd name="T92" fmla="*/ 462 w 462"/>
              <a:gd name="T93" fmla="*/ 981 h 1135"/>
              <a:gd name="T94" fmla="*/ 425 w 462"/>
              <a:gd name="T95" fmla="*/ 929 h 1135"/>
              <a:gd name="T96" fmla="*/ 355 w 462"/>
              <a:gd name="T97" fmla="*/ 820 h 1135"/>
              <a:gd name="T98" fmla="*/ 295 w 462"/>
              <a:gd name="T99" fmla="*/ 706 h 1135"/>
              <a:gd name="T100" fmla="*/ 243 w 462"/>
              <a:gd name="T101" fmla="*/ 587 h 1135"/>
              <a:gd name="T102" fmla="*/ 201 w 462"/>
              <a:gd name="T103" fmla="*/ 464 h 1135"/>
              <a:gd name="T104" fmla="*/ 168 w 462"/>
              <a:gd name="T105" fmla="*/ 335 h 1135"/>
              <a:gd name="T106" fmla="*/ 145 w 462"/>
              <a:gd name="T107" fmla="*/ 204 h 1135"/>
              <a:gd name="T108" fmla="*/ 133 w 462"/>
              <a:gd name="T109" fmla="*/ 68 h 1135"/>
              <a:gd name="T110" fmla="*/ 132 w 462"/>
              <a:gd name="T111" fmla="*/ 0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2" h="1135">
                <a:moveTo>
                  <a:pt x="132" y="0"/>
                </a:moveTo>
                <a:lnTo>
                  <a:pt x="132" y="7"/>
                </a:lnTo>
                <a:lnTo>
                  <a:pt x="132" y="17"/>
                </a:lnTo>
                <a:lnTo>
                  <a:pt x="132" y="26"/>
                </a:lnTo>
                <a:lnTo>
                  <a:pt x="131" y="35"/>
                </a:lnTo>
                <a:lnTo>
                  <a:pt x="131" y="39"/>
                </a:lnTo>
                <a:lnTo>
                  <a:pt x="131" y="41"/>
                </a:lnTo>
                <a:lnTo>
                  <a:pt x="131" y="53"/>
                </a:lnTo>
                <a:lnTo>
                  <a:pt x="129" y="64"/>
                </a:lnTo>
                <a:lnTo>
                  <a:pt x="125" y="109"/>
                </a:lnTo>
                <a:lnTo>
                  <a:pt x="119" y="153"/>
                </a:lnTo>
                <a:lnTo>
                  <a:pt x="116" y="166"/>
                </a:lnTo>
                <a:lnTo>
                  <a:pt x="114" y="177"/>
                </a:lnTo>
                <a:lnTo>
                  <a:pt x="112" y="182"/>
                </a:lnTo>
                <a:lnTo>
                  <a:pt x="112" y="189"/>
                </a:lnTo>
                <a:lnTo>
                  <a:pt x="110" y="201"/>
                </a:lnTo>
                <a:lnTo>
                  <a:pt x="106" y="214"/>
                </a:lnTo>
                <a:lnTo>
                  <a:pt x="105" y="223"/>
                </a:lnTo>
                <a:lnTo>
                  <a:pt x="102" y="232"/>
                </a:lnTo>
                <a:lnTo>
                  <a:pt x="100" y="242"/>
                </a:lnTo>
                <a:lnTo>
                  <a:pt x="97" y="252"/>
                </a:lnTo>
                <a:lnTo>
                  <a:pt x="94" y="263"/>
                </a:lnTo>
                <a:lnTo>
                  <a:pt x="90" y="273"/>
                </a:lnTo>
                <a:lnTo>
                  <a:pt x="81" y="303"/>
                </a:lnTo>
                <a:lnTo>
                  <a:pt x="71" y="333"/>
                </a:lnTo>
                <a:lnTo>
                  <a:pt x="65" y="348"/>
                </a:lnTo>
                <a:lnTo>
                  <a:pt x="36" y="417"/>
                </a:lnTo>
                <a:lnTo>
                  <a:pt x="0" y="483"/>
                </a:lnTo>
                <a:lnTo>
                  <a:pt x="27" y="573"/>
                </a:lnTo>
                <a:lnTo>
                  <a:pt x="94" y="745"/>
                </a:lnTo>
                <a:lnTo>
                  <a:pt x="177" y="908"/>
                </a:lnTo>
                <a:lnTo>
                  <a:pt x="276" y="1062"/>
                </a:lnTo>
                <a:lnTo>
                  <a:pt x="332" y="1135"/>
                </a:lnTo>
                <a:lnTo>
                  <a:pt x="343" y="1123"/>
                </a:lnTo>
                <a:lnTo>
                  <a:pt x="355" y="1110"/>
                </a:lnTo>
                <a:lnTo>
                  <a:pt x="369" y="1095"/>
                </a:lnTo>
                <a:lnTo>
                  <a:pt x="383" y="1078"/>
                </a:lnTo>
                <a:lnTo>
                  <a:pt x="396" y="1064"/>
                </a:lnTo>
                <a:lnTo>
                  <a:pt x="408" y="1050"/>
                </a:lnTo>
                <a:lnTo>
                  <a:pt x="408" y="1050"/>
                </a:lnTo>
                <a:lnTo>
                  <a:pt x="409" y="1048"/>
                </a:lnTo>
                <a:lnTo>
                  <a:pt x="418" y="1037"/>
                </a:lnTo>
                <a:lnTo>
                  <a:pt x="427" y="1025"/>
                </a:lnTo>
                <a:lnTo>
                  <a:pt x="443" y="1007"/>
                </a:lnTo>
                <a:lnTo>
                  <a:pt x="457" y="989"/>
                </a:lnTo>
                <a:lnTo>
                  <a:pt x="460" y="985"/>
                </a:lnTo>
                <a:lnTo>
                  <a:pt x="462" y="981"/>
                </a:lnTo>
                <a:lnTo>
                  <a:pt x="425" y="929"/>
                </a:lnTo>
                <a:lnTo>
                  <a:pt x="355" y="820"/>
                </a:lnTo>
                <a:lnTo>
                  <a:pt x="295" y="706"/>
                </a:lnTo>
                <a:lnTo>
                  <a:pt x="243" y="587"/>
                </a:lnTo>
                <a:lnTo>
                  <a:pt x="201" y="464"/>
                </a:lnTo>
                <a:lnTo>
                  <a:pt x="168" y="335"/>
                </a:lnTo>
                <a:lnTo>
                  <a:pt x="145" y="204"/>
                </a:lnTo>
                <a:lnTo>
                  <a:pt x="133" y="68"/>
                </a:lnTo>
                <a:lnTo>
                  <a:pt x="132" y="0"/>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73" name="Freeform: Shape 139">
            <a:extLst>
              <a:ext uri="{FF2B5EF4-FFF2-40B4-BE49-F238E27FC236}">
                <a16:creationId xmlns:a16="http://schemas.microsoft.com/office/drawing/2014/main" id="{69420D3E-4AED-FE59-F98C-90DBCCB631F5}"/>
              </a:ext>
            </a:extLst>
          </p:cNvPr>
          <p:cNvSpPr>
            <a:spLocks/>
          </p:cNvSpPr>
          <p:nvPr/>
        </p:nvSpPr>
        <p:spPr bwMode="auto">
          <a:xfrm>
            <a:off x="7271579" y="5240266"/>
            <a:ext cx="3941813" cy="571998"/>
          </a:xfrm>
          <a:custGeom>
            <a:avLst/>
            <a:gdLst>
              <a:gd name="connsiteX0" fmla="*/ 0 w 3941813"/>
              <a:gd name="connsiteY0" fmla="*/ 0 h 571998"/>
              <a:gd name="connsiteX1" fmla="*/ 228336 w 3941813"/>
              <a:gd name="connsiteY1" fmla="*/ 0 h 571998"/>
              <a:gd name="connsiteX2" fmla="*/ 228336 w 3941813"/>
              <a:gd name="connsiteY2" fmla="*/ 1035 h 571998"/>
              <a:gd name="connsiteX3" fmla="*/ 228336 w 3941813"/>
              <a:gd name="connsiteY3" fmla="*/ 2070 h 571998"/>
              <a:gd name="connsiteX4" fmla="*/ 228336 w 3941813"/>
              <a:gd name="connsiteY4" fmla="*/ 3450 h 571998"/>
              <a:gd name="connsiteX5" fmla="*/ 228336 w 3941813"/>
              <a:gd name="connsiteY5" fmla="*/ 4485 h 571998"/>
              <a:gd name="connsiteX6" fmla="*/ 228336 w 3941813"/>
              <a:gd name="connsiteY6" fmla="*/ 6555 h 571998"/>
              <a:gd name="connsiteX7" fmla="*/ 228336 w 3941813"/>
              <a:gd name="connsiteY7" fmla="*/ 8625 h 571998"/>
              <a:gd name="connsiteX8" fmla="*/ 228336 w 3941813"/>
              <a:gd name="connsiteY8" fmla="*/ 13110 h 571998"/>
              <a:gd name="connsiteX9" fmla="*/ 228681 w 3941813"/>
              <a:gd name="connsiteY9" fmla="*/ 17595 h 571998"/>
              <a:gd name="connsiteX10" fmla="*/ 228681 w 3941813"/>
              <a:gd name="connsiteY10" fmla="*/ 21045 h 571998"/>
              <a:gd name="connsiteX11" fmla="*/ 229372 w 3941813"/>
              <a:gd name="connsiteY11" fmla="*/ 24495 h 571998"/>
              <a:gd name="connsiteX12" fmla="*/ 229561 w 3941813"/>
              <a:gd name="connsiteY12" fmla="*/ 29949 h 571998"/>
              <a:gd name="connsiteX13" fmla="*/ 230860 w 3941813"/>
              <a:gd name="connsiteY13" fmla="*/ 43059 h 571998"/>
              <a:gd name="connsiteX14" fmla="*/ 231099 w 3941813"/>
              <a:gd name="connsiteY14" fmla="*/ 44849 h 571998"/>
              <a:gd name="connsiteX15" fmla="*/ 231445 w 3941813"/>
              <a:gd name="connsiteY15" fmla="*/ 47954 h 571998"/>
              <a:gd name="connsiteX16" fmla="*/ 231790 w 3941813"/>
              <a:gd name="connsiteY16" fmla="*/ 51059 h 571998"/>
              <a:gd name="connsiteX17" fmla="*/ 232439 w 3941813"/>
              <a:gd name="connsiteY17" fmla="*/ 55431 h 571998"/>
              <a:gd name="connsiteX18" fmla="*/ 237460 w 3941813"/>
              <a:gd name="connsiteY18" fmla="*/ 78594 h 571998"/>
              <a:gd name="connsiteX19" fmla="*/ 239935 w 3941813"/>
              <a:gd name="connsiteY19" fmla="*/ 88754 h 571998"/>
              <a:gd name="connsiteX20" fmla="*/ 249062 w 3941813"/>
              <a:gd name="connsiteY20" fmla="*/ 117988 h 571998"/>
              <a:gd name="connsiteX21" fmla="*/ 258766 w 3941813"/>
              <a:gd name="connsiteY21" fmla="*/ 141560 h 571998"/>
              <a:gd name="connsiteX22" fmla="*/ 260462 w 3941813"/>
              <a:gd name="connsiteY22" fmla="*/ 145242 h 571998"/>
              <a:gd name="connsiteX23" fmla="*/ 261844 w 3941813"/>
              <a:gd name="connsiteY23" fmla="*/ 148347 h 571998"/>
              <a:gd name="connsiteX24" fmla="*/ 263571 w 3941813"/>
              <a:gd name="connsiteY24" fmla="*/ 152142 h 571998"/>
              <a:gd name="connsiteX25" fmla="*/ 265643 w 3941813"/>
              <a:gd name="connsiteY25" fmla="*/ 155592 h 571998"/>
              <a:gd name="connsiteX26" fmla="*/ 267371 w 3941813"/>
              <a:gd name="connsiteY26" fmla="*/ 158697 h 571998"/>
              <a:gd name="connsiteX27" fmla="*/ 269060 w 3941813"/>
              <a:gd name="connsiteY27" fmla="*/ 162072 h 571998"/>
              <a:gd name="connsiteX28" fmla="*/ 276558 w 3941813"/>
              <a:gd name="connsiteY28" fmla="*/ 175613 h 571998"/>
              <a:gd name="connsiteX29" fmla="*/ 277043 w 3941813"/>
              <a:gd name="connsiteY29" fmla="*/ 176291 h 571998"/>
              <a:gd name="connsiteX30" fmla="*/ 278368 w 3941813"/>
              <a:gd name="connsiteY30" fmla="*/ 178791 h 571998"/>
              <a:gd name="connsiteX31" fmla="*/ 295536 w 3941813"/>
              <a:gd name="connsiteY31" fmla="*/ 204348 h 571998"/>
              <a:gd name="connsiteX32" fmla="*/ 296042 w 3941813"/>
              <a:gd name="connsiteY32" fmla="*/ 204926 h 571998"/>
              <a:gd name="connsiteX33" fmla="*/ 298303 w 3941813"/>
              <a:gd name="connsiteY33" fmla="*/ 207936 h 571998"/>
              <a:gd name="connsiteX34" fmla="*/ 316635 w 3941813"/>
              <a:gd name="connsiteY34" fmla="*/ 230146 h 571998"/>
              <a:gd name="connsiteX35" fmla="*/ 318158 w 3941813"/>
              <a:gd name="connsiteY35" fmla="*/ 231823 h 571998"/>
              <a:gd name="connsiteX36" fmla="*/ 341295 w 3941813"/>
              <a:gd name="connsiteY36" fmla="*/ 254260 h 571998"/>
              <a:gd name="connsiteX37" fmla="*/ 364855 w 3941813"/>
              <a:gd name="connsiteY37" fmla="*/ 274566 h 571998"/>
              <a:gd name="connsiteX38" fmla="*/ 383255 w 3941813"/>
              <a:gd name="connsiteY38" fmla="*/ 287072 h 571998"/>
              <a:gd name="connsiteX39" fmla="*/ 390494 w 3941813"/>
              <a:gd name="connsiteY39" fmla="*/ 291862 h 571998"/>
              <a:gd name="connsiteX40" fmla="*/ 396550 w 3941813"/>
              <a:gd name="connsiteY40" fmla="*/ 295622 h 571998"/>
              <a:gd name="connsiteX41" fmla="*/ 409034 w 3941813"/>
              <a:gd name="connsiteY41" fmla="*/ 302598 h 571998"/>
              <a:gd name="connsiteX42" fmla="*/ 419364 w 3941813"/>
              <a:gd name="connsiteY42" fmla="*/ 308079 h 571998"/>
              <a:gd name="connsiteX43" fmla="*/ 431109 w 3941813"/>
              <a:gd name="connsiteY43" fmla="*/ 313598 h 571998"/>
              <a:gd name="connsiteX44" fmla="*/ 433413 w 3941813"/>
              <a:gd name="connsiteY44" fmla="*/ 314749 h 571998"/>
              <a:gd name="connsiteX45" fmla="*/ 445124 w 3941813"/>
              <a:gd name="connsiteY45" fmla="*/ 319611 h 571998"/>
              <a:gd name="connsiteX46" fmla="*/ 450799 w 3941813"/>
              <a:gd name="connsiteY46" fmla="*/ 321878 h 571998"/>
              <a:gd name="connsiteX47" fmla="*/ 462312 w 3941813"/>
              <a:gd name="connsiteY47" fmla="*/ 325820 h 571998"/>
              <a:gd name="connsiteX48" fmla="*/ 480775 w 3941813"/>
              <a:gd name="connsiteY48" fmla="*/ 331449 h 571998"/>
              <a:gd name="connsiteX49" fmla="*/ 490525 w 3941813"/>
              <a:gd name="connsiteY49" fmla="*/ 333953 h 571998"/>
              <a:gd name="connsiteX50" fmla="*/ 499752 w 3941813"/>
              <a:gd name="connsiteY50" fmla="*/ 335946 h 571998"/>
              <a:gd name="connsiteX51" fmla="*/ 520232 w 3941813"/>
              <a:gd name="connsiteY51" fmla="*/ 340163 h 571998"/>
              <a:gd name="connsiteX52" fmla="*/ 554124 w 3941813"/>
              <a:gd name="connsiteY52" fmla="*/ 343209 h 571998"/>
              <a:gd name="connsiteX53" fmla="*/ 555122 w 3941813"/>
              <a:gd name="connsiteY53" fmla="*/ 343268 h 571998"/>
              <a:gd name="connsiteX54" fmla="*/ 555467 w 3941813"/>
              <a:gd name="connsiteY54" fmla="*/ 343294 h 571998"/>
              <a:gd name="connsiteX55" fmla="*/ 572739 w 3941813"/>
              <a:gd name="connsiteY55" fmla="*/ 343958 h 571998"/>
              <a:gd name="connsiteX56" fmla="*/ 3862707 w 3941813"/>
              <a:gd name="connsiteY56" fmla="*/ 343958 h 571998"/>
              <a:gd name="connsiteX57" fmla="*/ 3941813 w 3941813"/>
              <a:gd name="connsiteY57" fmla="*/ 343958 h 571998"/>
              <a:gd name="connsiteX58" fmla="*/ 3941813 w 3941813"/>
              <a:gd name="connsiteY58" fmla="*/ 388462 h 571998"/>
              <a:gd name="connsiteX59" fmla="*/ 3940777 w 3941813"/>
              <a:gd name="connsiteY59" fmla="*/ 407437 h 571998"/>
              <a:gd name="connsiteX60" fmla="*/ 3933868 w 3941813"/>
              <a:gd name="connsiteY60" fmla="*/ 442971 h 571998"/>
              <a:gd name="connsiteX61" fmla="*/ 3920050 w 3941813"/>
              <a:gd name="connsiteY61" fmla="*/ 476090 h 571998"/>
              <a:gd name="connsiteX62" fmla="*/ 3900015 w 3941813"/>
              <a:gd name="connsiteY62" fmla="*/ 505415 h 571998"/>
              <a:gd name="connsiteX63" fmla="*/ 3875143 w 3941813"/>
              <a:gd name="connsiteY63" fmla="*/ 530254 h 571998"/>
              <a:gd name="connsiteX64" fmla="*/ 3846126 w 3941813"/>
              <a:gd name="connsiteY64" fmla="*/ 549919 h 571998"/>
              <a:gd name="connsiteX65" fmla="*/ 3812964 w 3941813"/>
              <a:gd name="connsiteY65" fmla="*/ 563718 h 571998"/>
              <a:gd name="connsiteX66" fmla="*/ 3777038 w 3941813"/>
              <a:gd name="connsiteY66" fmla="*/ 570963 h 571998"/>
              <a:gd name="connsiteX67" fmla="*/ 3758385 w 3941813"/>
              <a:gd name="connsiteY67" fmla="*/ 571998 h 571998"/>
              <a:gd name="connsiteX68" fmla="*/ 572739 w 3941813"/>
              <a:gd name="connsiteY68" fmla="*/ 571998 h 571998"/>
              <a:gd name="connsiteX69" fmla="*/ 543032 w 3941813"/>
              <a:gd name="connsiteY69" fmla="*/ 571308 h 571998"/>
              <a:gd name="connsiteX70" fmla="*/ 485343 w 3941813"/>
              <a:gd name="connsiteY70" fmla="*/ 565788 h 571998"/>
              <a:gd name="connsiteX71" fmla="*/ 429382 w 3941813"/>
              <a:gd name="connsiteY71" fmla="*/ 554059 h 571998"/>
              <a:gd name="connsiteX72" fmla="*/ 375493 w 3941813"/>
              <a:gd name="connsiteY72" fmla="*/ 537499 h 571998"/>
              <a:gd name="connsiteX73" fmla="*/ 324023 w 3941813"/>
              <a:gd name="connsiteY73" fmla="*/ 515419 h 571998"/>
              <a:gd name="connsiteX74" fmla="*/ 275661 w 3941813"/>
              <a:gd name="connsiteY74" fmla="*/ 489200 h 571998"/>
              <a:gd name="connsiteX75" fmla="*/ 229718 w 3941813"/>
              <a:gd name="connsiteY75" fmla="*/ 458495 h 571998"/>
              <a:gd name="connsiteX76" fmla="*/ 187574 w 3941813"/>
              <a:gd name="connsiteY76" fmla="*/ 423306 h 571998"/>
              <a:gd name="connsiteX77" fmla="*/ 148539 w 3941813"/>
              <a:gd name="connsiteY77" fmla="*/ 384667 h 571998"/>
              <a:gd name="connsiteX78" fmla="*/ 113650 w 3941813"/>
              <a:gd name="connsiteY78" fmla="*/ 342233 h 571998"/>
              <a:gd name="connsiteX79" fmla="*/ 82906 w 3941813"/>
              <a:gd name="connsiteY79" fmla="*/ 296349 h 571998"/>
              <a:gd name="connsiteX80" fmla="*/ 56307 w 3941813"/>
              <a:gd name="connsiteY80" fmla="*/ 248050 h 571998"/>
              <a:gd name="connsiteX81" fmla="*/ 34544 w 3941813"/>
              <a:gd name="connsiteY81" fmla="*/ 196646 h 571998"/>
              <a:gd name="connsiteX82" fmla="*/ 17963 w 3941813"/>
              <a:gd name="connsiteY82" fmla="*/ 143172 h 571998"/>
              <a:gd name="connsiteX83" fmla="*/ 6218 w 3941813"/>
              <a:gd name="connsiteY83" fmla="*/ 87283 h 571998"/>
              <a:gd name="connsiteX84" fmla="*/ 346 w 3941813"/>
              <a:gd name="connsiteY84" fmla="*/ 29669 h 57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941813" h="571998">
                <a:moveTo>
                  <a:pt x="0" y="0"/>
                </a:moveTo>
                <a:lnTo>
                  <a:pt x="228336" y="0"/>
                </a:lnTo>
                <a:lnTo>
                  <a:pt x="228336" y="1035"/>
                </a:lnTo>
                <a:lnTo>
                  <a:pt x="228336" y="2070"/>
                </a:lnTo>
                <a:lnTo>
                  <a:pt x="228336" y="3450"/>
                </a:lnTo>
                <a:lnTo>
                  <a:pt x="228336" y="4485"/>
                </a:lnTo>
                <a:lnTo>
                  <a:pt x="228336" y="6555"/>
                </a:lnTo>
                <a:lnTo>
                  <a:pt x="228336" y="8625"/>
                </a:lnTo>
                <a:lnTo>
                  <a:pt x="228336" y="13110"/>
                </a:lnTo>
                <a:lnTo>
                  <a:pt x="228681" y="17595"/>
                </a:lnTo>
                <a:lnTo>
                  <a:pt x="228681" y="21045"/>
                </a:lnTo>
                <a:lnTo>
                  <a:pt x="229372" y="24495"/>
                </a:lnTo>
                <a:lnTo>
                  <a:pt x="229561" y="29949"/>
                </a:lnTo>
                <a:lnTo>
                  <a:pt x="230860" y="43059"/>
                </a:lnTo>
                <a:lnTo>
                  <a:pt x="231099" y="44849"/>
                </a:lnTo>
                <a:lnTo>
                  <a:pt x="231445" y="47954"/>
                </a:lnTo>
                <a:lnTo>
                  <a:pt x="231790" y="51059"/>
                </a:lnTo>
                <a:lnTo>
                  <a:pt x="232439" y="55431"/>
                </a:lnTo>
                <a:lnTo>
                  <a:pt x="237460" y="78594"/>
                </a:lnTo>
                <a:lnTo>
                  <a:pt x="239935" y="88754"/>
                </a:lnTo>
                <a:lnTo>
                  <a:pt x="249062" y="117988"/>
                </a:lnTo>
                <a:lnTo>
                  <a:pt x="258766" y="141560"/>
                </a:lnTo>
                <a:lnTo>
                  <a:pt x="260462" y="145242"/>
                </a:lnTo>
                <a:lnTo>
                  <a:pt x="261844" y="148347"/>
                </a:lnTo>
                <a:lnTo>
                  <a:pt x="263571" y="152142"/>
                </a:lnTo>
                <a:lnTo>
                  <a:pt x="265643" y="155592"/>
                </a:lnTo>
                <a:lnTo>
                  <a:pt x="267371" y="158697"/>
                </a:lnTo>
                <a:lnTo>
                  <a:pt x="269060" y="162072"/>
                </a:lnTo>
                <a:lnTo>
                  <a:pt x="276558" y="175613"/>
                </a:lnTo>
                <a:lnTo>
                  <a:pt x="277043" y="176291"/>
                </a:lnTo>
                <a:lnTo>
                  <a:pt x="278368" y="178791"/>
                </a:lnTo>
                <a:lnTo>
                  <a:pt x="295536" y="204348"/>
                </a:lnTo>
                <a:lnTo>
                  <a:pt x="296042" y="204926"/>
                </a:lnTo>
                <a:lnTo>
                  <a:pt x="298303" y="207936"/>
                </a:lnTo>
                <a:lnTo>
                  <a:pt x="316635" y="230146"/>
                </a:lnTo>
                <a:lnTo>
                  <a:pt x="318158" y="231823"/>
                </a:lnTo>
                <a:lnTo>
                  <a:pt x="341295" y="254260"/>
                </a:lnTo>
                <a:lnTo>
                  <a:pt x="364855" y="274566"/>
                </a:lnTo>
                <a:lnTo>
                  <a:pt x="383255" y="287072"/>
                </a:lnTo>
                <a:lnTo>
                  <a:pt x="390494" y="291862"/>
                </a:lnTo>
                <a:lnTo>
                  <a:pt x="396550" y="295622"/>
                </a:lnTo>
                <a:lnTo>
                  <a:pt x="409034" y="302598"/>
                </a:lnTo>
                <a:lnTo>
                  <a:pt x="419364" y="308079"/>
                </a:lnTo>
                <a:lnTo>
                  <a:pt x="431109" y="313598"/>
                </a:lnTo>
                <a:lnTo>
                  <a:pt x="433413" y="314749"/>
                </a:lnTo>
                <a:lnTo>
                  <a:pt x="445124" y="319611"/>
                </a:lnTo>
                <a:lnTo>
                  <a:pt x="450799" y="321878"/>
                </a:lnTo>
                <a:lnTo>
                  <a:pt x="462312" y="325820"/>
                </a:lnTo>
                <a:lnTo>
                  <a:pt x="480775" y="331449"/>
                </a:lnTo>
                <a:lnTo>
                  <a:pt x="490525" y="333953"/>
                </a:lnTo>
                <a:lnTo>
                  <a:pt x="499752" y="335946"/>
                </a:lnTo>
                <a:lnTo>
                  <a:pt x="520232" y="340163"/>
                </a:lnTo>
                <a:lnTo>
                  <a:pt x="554124" y="343209"/>
                </a:lnTo>
                <a:lnTo>
                  <a:pt x="555122" y="343268"/>
                </a:lnTo>
                <a:lnTo>
                  <a:pt x="555467" y="343294"/>
                </a:lnTo>
                <a:lnTo>
                  <a:pt x="572739" y="343958"/>
                </a:lnTo>
                <a:lnTo>
                  <a:pt x="3862707" y="343958"/>
                </a:lnTo>
                <a:lnTo>
                  <a:pt x="3941813" y="343958"/>
                </a:lnTo>
                <a:lnTo>
                  <a:pt x="3941813" y="388462"/>
                </a:lnTo>
                <a:lnTo>
                  <a:pt x="3940777" y="407437"/>
                </a:lnTo>
                <a:lnTo>
                  <a:pt x="3933868" y="442971"/>
                </a:lnTo>
                <a:lnTo>
                  <a:pt x="3920050" y="476090"/>
                </a:lnTo>
                <a:lnTo>
                  <a:pt x="3900015" y="505415"/>
                </a:lnTo>
                <a:lnTo>
                  <a:pt x="3875143" y="530254"/>
                </a:lnTo>
                <a:lnTo>
                  <a:pt x="3846126" y="549919"/>
                </a:lnTo>
                <a:lnTo>
                  <a:pt x="3812964" y="563718"/>
                </a:lnTo>
                <a:lnTo>
                  <a:pt x="3777038" y="570963"/>
                </a:lnTo>
                <a:lnTo>
                  <a:pt x="3758385" y="571998"/>
                </a:lnTo>
                <a:lnTo>
                  <a:pt x="572739" y="571998"/>
                </a:lnTo>
                <a:lnTo>
                  <a:pt x="543032" y="571308"/>
                </a:lnTo>
                <a:lnTo>
                  <a:pt x="485343" y="565788"/>
                </a:lnTo>
                <a:lnTo>
                  <a:pt x="429382" y="554059"/>
                </a:lnTo>
                <a:lnTo>
                  <a:pt x="375493" y="537499"/>
                </a:lnTo>
                <a:lnTo>
                  <a:pt x="324023" y="515419"/>
                </a:lnTo>
                <a:lnTo>
                  <a:pt x="275661" y="489200"/>
                </a:lnTo>
                <a:lnTo>
                  <a:pt x="229718" y="458495"/>
                </a:lnTo>
                <a:lnTo>
                  <a:pt x="187574" y="423306"/>
                </a:lnTo>
                <a:lnTo>
                  <a:pt x="148539" y="384667"/>
                </a:lnTo>
                <a:lnTo>
                  <a:pt x="113650" y="342233"/>
                </a:lnTo>
                <a:lnTo>
                  <a:pt x="82906" y="296349"/>
                </a:lnTo>
                <a:lnTo>
                  <a:pt x="56307" y="248050"/>
                </a:lnTo>
                <a:lnTo>
                  <a:pt x="34544" y="196646"/>
                </a:lnTo>
                <a:lnTo>
                  <a:pt x="17963" y="143172"/>
                </a:lnTo>
                <a:lnTo>
                  <a:pt x="6218" y="87283"/>
                </a:lnTo>
                <a:lnTo>
                  <a:pt x="346" y="29669"/>
                </a:ln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74" name="Freeform 585">
            <a:extLst>
              <a:ext uri="{FF2B5EF4-FFF2-40B4-BE49-F238E27FC236}">
                <a16:creationId xmlns:a16="http://schemas.microsoft.com/office/drawing/2014/main" id="{53B0CD41-345D-31A0-47B4-87022C2E62D5}"/>
              </a:ext>
            </a:extLst>
          </p:cNvPr>
          <p:cNvSpPr>
            <a:spLocks/>
          </p:cNvSpPr>
          <p:nvPr/>
        </p:nvSpPr>
        <p:spPr bwMode="auto">
          <a:xfrm>
            <a:off x="6582141" y="4894857"/>
            <a:ext cx="689438" cy="6894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191C21"/>
                </a:solidFill>
                <a:effectLst/>
                <a:uLnTx/>
                <a:uFillTx/>
                <a:latin typeface="Arial"/>
                <a:ea typeface="+mn-ea"/>
                <a:cs typeface="+mn-cs"/>
              </a:rPr>
              <a:t>6</a:t>
            </a:r>
          </a:p>
        </p:txBody>
      </p:sp>
    </p:spTree>
    <p:extLst>
      <p:ext uri="{BB962C8B-B14F-4D97-AF65-F5344CB8AC3E}">
        <p14:creationId xmlns:p14="http://schemas.microsoft.com/office/powerpoint/2010/main" val="29179988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CBE8F1-9F8F-6181-3F46-1BE2F0D64BE3}"/>
              </a:ext>
            </a:extLst>
          </p:cNvPr>
          <p:cNvSpPr>
            <a:spLocks noGrp="1"/>
          </p:cNvSpPr>
          <p:nvPr>
            <p:ph type="title"/>
          </p:nvPr>
        </p:nvSpPr>
        <p:spPr/>
        <p:txBody>
          <a:bodyPr/>
          <a:lstStyle/>
          <a:p>
            <a:r>
              <a:rPr lang="en-US" dirty="0"/>
              <a:t>Set Context Slide</a:t>
            </a:r>
          </a:p>
        </p:txBody>
      </p:sp>
    </p:spTree>
    <p:extLst>
      <p:ext uri="{BB962C8B-B14F-4D97-AF65-F5344CB8AC3E}">
        <p14:creationId xmlns:p14="http://schemas.microsoft.com/office/powerpoint/2010/main" val="32121780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D217B-3D31-7DDB-067D-714297FEB859}"/>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2927ECC1-57E0-6A59-D3E9-E5B4686611F6}"/>
              </a:ext>
            </a:extLst>
          </p:cNvPr>
          <p:cNvPicPr>
            <a:picLocks noGrp="1" noChangeAspect="1"/>
          </p:cNvPicPr>
          <p:nvPr>
            <p:ph sz="quarter" idx="11"/>
          </p:nvPr>
        </p:nvPicPr>
        <p:blipFill>
          <a:blip r:embed="rId2">
            <a:alphaModFix amt="17000"/>
          </a:blip>
          <a:stretch>
            <a:fillRect/>
          </a:stretch>
        </p:blipFill>
        <p:spPr>
          <a:xfrm>
            <a:off x="82853" y="102231"/>
            <a:ext cx="12014489" cy="6650698"/>
          </a:xfrm>
        </p:spPr>
      </p:pic>
      <p:sp>
        <p:nvSpPr>
          <p:cNvPr id="2" name="Text Placeholder 1">
            <a:extLst>
              <a:ext uri="{FF2B5EF4-FFF2-40B4-BE49-F238E27FC236}">
                <a16:creationId xmlns:a16="http://schemas.microsoft.com/office/drawing/2014/main" id="{E817F827-8EC9-81A4-3E03-060B84D39767}"/>
              </a:ext>
            </a:extLst>
          </p:cNvPr>
          <p:cNvSpPr>
            <a:spLocks noGrp="1"/>
          </p:cNvSpPr>
          <p:nvPr>
            <p:ph type="body" sz="quarter" idx="10"/>
          </p:nvPr>
        </p:nvSpPr>
        <p:spPr>
          <a:xfrm>
            <a:off x="1234464" y="1743723"/>
            <a:ext cx="9711266" cy="3367714"/>
          </a:xfrm>
        </p:spPr>
        <p:txBody>
          <a:bodyPr anchor="ctr"/>
          <a:lstStyle/>
          <a:p>
            <a:pPr marL="0" indent="0">
              <a:buNone/>
            </a:pPr>
            <a:r>
              <a:rPr lang="en-US" sz="4800" b="1" dirty="0"/>
              <a:t>Why Tools Matter</a:t>
            </a:r>
          </a:p>
        </p:txBody>
      </p:sp>
    </p:spTree>
    <p:extLst>
      <p:ext uri="{BB962C8B-B14F-4D97-AF65-F5344CB8AC3E}">
        <p14:creationId xmlns:p14="http://schemas.microsoft.com/office/powerpoint/2010/main" val="32799786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03ED5A-E704-8BD8-C768-49520D5EF0D8}"/>
              </a:ext>
            </a:extLst>
          </p:cNvPr>
          <p:cNvSpPr>
            <a:spLocks noGrp="1"/>
          </p:cNvSpPr>
          <p:nvPr>
            <p:ph type="title"/>
          </p:nvPr>
        </p:nvSpPr>
        <p:spPr/>
        <p:txBody>
          <a:bodyPr/>
          <a:lstStyle/>
          <a:p>
            <a:r>
              <a:rPr lang="en-US" dirty="0"/>
              <a:t>Why Tools Matter in the Age of AI Agents</a:t>
            </a:r>
          </a:p>
        </p:txBody>
      </p:sp>
      <p:sp>
        <p:nvSpPr>
          <p:cNvPr id="3" name="Freeform: Shape 60">
            <a:extLst>
              <a:ext uri="{FF2B5EF4-FFF2-40B4-BE49-F238E27FC236}">
                <a16:creationId xmlns:a16="http://schemas.microsoft.com/office/drawing/2014/main" id="{3B65C510-66C3-DF91-8ED5-710A00852376}"/>
              </a:ext>
            </a:extLst>
          </p:cNvPr>
          <p:cNvSpPr/>
          <p:nvPr/>
        </p:nvSpPr>
        <p:spPr>
          <a:xfrm>
            <a:off x="3811559" y="981284"/>
            <a:ext cx="4568909" cy="5094880"/>
          </a:xfrm>
          <a:custGeom>
            <a:avLst/>
            <a:gdLst>
              <a:gd name="connsiteX0" fmla="*/ 364288 w 4568909"/>
              <a:gd name="connsiteY0" fmla="*/ 3058190 h 5094880"/>
              <a:gd name="connsiteX1" fmla="*/ 427036 w 4568909"/>
              <a:gd name="connsiteY1" fmla="*/ 3210773 h 5094880"/>
              <a:gd name="connsiteX2" fmla="*/ 346338 w 4568909"/>
              <a:gd name="connsiteY2" fmla="*/ 3474113 h 5094880"/>
              <a:gd name="connsiteX3" fmla="*/ 418522 w 4568909"/>
              <a:gd name="connsiteY3" fmla="*/ 3767206 h 5094880"/>
              <a:gd name="connsiteX4" fmla="*/ 700966 w 4568909"/>
              <a:gd name="connsiteY4" fmla="*/ 3898918 h 5094880"/>
              <a:gd name="connsiteX5" fmla="*/ 1017392 w 4568909"/>
              <a:gd name="connsiteY5" fmla="*/ 3864903 h 5094880"/>
              <a:gd name="connsiteX6" fmla="*/ 1125705 w 4568909"/>
              <a:gd name="connsiteY6" fmla="*/ 3926497 h 5094880"/>
              <a:gd name="connsiteX7" fmla="*/ 1064108 w 4568909"/>
              <a:gd name="connsiteY7" fmla="*/ 4034808 h 5094880"/>
              <a:gd name="connsiteX8" fmla="*/ 849628 w 4568909"/>
              <a:gd name="connsiteY8" fmla="*/ 4079436 h 5094880"/>
              <a:gd name="connsiteX9" fmla="*/ 847481 w 4568909"/>
              <a:gd name="connsiteY9" fmla="*/ 4094313 h 5094880"/>
              <a:gd name="connsiteX10" fmla="*/ 883610 w 4568909"/>
              <a:gd name="connsiteY10" fmla="*/ 4406460 h 5094880"/>
              <a:gd name="connsiteX11" fmla="*/ 1087503 w 4568909"/>
              <a:gd name="connsiteY11" fmla="*/ 4553048 h 5094880"/>
              <a:gd name="connsiteX12" fmla="*/ 1605674 w 4568909"/>
              <a:gd name="connsiteY12" fmla="*/ 4351218 h 5094880"/>
              <a:gd name="connsiteX13" fmla="*/ 1730941 w 4568909"/>
              <a:gd name="connsiteY13" fmla="*/ 4351218 h 5094880"/>
              <a:gd name="connsiteX14" fmla="*/ 1730941 w 4568909"/>
              <a:gd name="connsiteY14" fmla="*/ 4476578 h 5094880"/>
              <a:gd name="connsiteX15" fmla="*/ 1015245 w 4568909"/>
              <a:gd name="connsiteY15" fmla="*/ 4714428 h 5094880"/>
              <a:gd name="connsiteX16" fmla="*/ 722214 w 4568909"/>
              <a:gd name="connsiteY16" fmla="*/ 4478667 h 5094880"/>
              <a:gd name="connsiteX17" fmla="*/ 675498 w 4568909"/>
              <a:gd name="connsiteY17" fmla="*/ 4070912 h 5094880"/>
              <a:gd name="connsiteX18" fmla="*/ 641516 w 4568909"/>
              <a:gd name="connsiteY18" fmla="*/ 4066650 h 5094880"/>
              <a:gd name="connsiteX19" fmla="*/ 278373 w 4568909"/>
              <a:gd name="connsiteY19" fmla="*/ 3873428 h 5094880"/>
              <a:gd name="connsiteX20" fmla="*/ 170060 w 4568909"/>
              <a:gd name="connsiteY20" fmla="*/ 3461410 h 5094880"/>
              <a:gd name="connsiteX21" fmla="*/ 301695 w 4568909"/>
              <a:gd name="connsiteY21" fmla="*/ 3085496 h 5094880"/>
              <a:gd name="connsiteX22" fmla="*/ 364288 w 4568909"/>
              <a:gd name="connsiteY22" fmla="*/ 3058190 h 5094880"/>
              <a:gd name="connsiteX23" fmla="*/ 4277900 w 4568909"/>
              <a:gd name="connsiteY23" fmla="*/ 2230817 h 5094880"/>
              <a:gd name="connsiteX24" fmla="*/ 4352575 w 4568909"/>
              <a:gd name="connsiteY24" fmla="*/ 2293851 h 5094880"/>
              <a:gd name="connsiteX25" fmla="*/ 4507588 w 4568909"/>
              <a:gd name="connsiteY25" fmla="*/ 2665536 h 5094880"/>
              <a:gd name="connsiteX26" fmla="*/ 4556440 w 4568909"/>
              <a:gd name="connsiteY26" fmla="*/ 3071121 h 5094880"/>
              <a:gd name="connsiteX27" fmla="*/ 4401427 w 4568909"/>
              <a:gd name="connsiteY27" fmla="*/ 3432203 h 5094880"/>
              <a:gd name="connsiteX28" fmla="*/ 4101952 w 4568909"/>
              <a:gd name="connsiteY28" fmla="*/ 3631822 h 5094880"/>
              <a:gd name="connsiteX29" fmla="*/ 3912901 w 4568909"/>
              <a:gd name="connsiteY29" fmla="*/ 3595674 h 5094880"/>
              <a:gd name="connsiteX30" fmla="*/ 3815268 w 4568909"/>
              <a:gd name="connsiteY30" fmla="*/ 3750710 h 5094880"/>
              <a:gd name="connsiteX31" fmla="*/ 3080384 w 4568909"/>
              <a:gd name="connsiteY31" fmla="*/ 3778343 h 5094880"/>
              <a:gd name="connsiteX32" fmla="*/ 3048586 w 4568909"/>
              <a:gd name="connsiteY32" fmla="*/ 3657287 h 5094880"/>
              <a:gd name="connsiteX33" fmla="*/ 3169634 w 4568909"/>
              <a:gd name="connsiteY33" fmla="*/ 3625476 h 5094880"/>
              <a:gd name="connsiteX34" fmla="*/ 3689957 w 4568909"/>
              <a:gd name="connsiteY34" fmla="*/ 3625476 h 5094880"/>
              <a:gd name="connsiteX35" fmla="*/ 3668711 w 4568909"/>
              <a:gd name="connsiteY35" fmla="*/ 3058429 h 5094880"/>
              <a:gd name="connsiteX36" fmla="*/ 3821628 w 4568909"/>
              <a:gd name="connsiteY36" fmla="*/ 2969182 h 5094880"/>
              <a:gd name="connsiteX37" fmla="*/ 3946939 w 4568909"/>
              <a:gd name="connsiteY37" fmla="*/ 3393966 h 5094880"/>
              <a:gd name="connsiteX38" fmla="*/ 3959658 w 4568909"/>
              <a:gd name="connsiteY38" fmla="*/ 3410915 h 5094880"/>
              <a:gd name="connsiteX39" fmla="*/ 4182675 w 4568909"/>
              <a:gd name="connsiteY39" fmla="*/ 3413084 h 5094880"/>
              <a:gd name="connsiteX40" fmla="*/ 4373821 w 4568909"/>
              <a:gd name="connsiteY40" fmla="*/ 3083893 h 5094880"/>
              <a:gd name="connsiteX41" fmla="*/ 4333424 w 4568909"/>
              <a:gd name="connsiteY41" fmla="*/ 2707950 h 5094880"/>
              <a:gd name="connsiteX42" fmla="*/ 4182675 w 4568909"/>
              <a:gd name="connsiteY42" fmla="*/ 2340602 h 5094880"/>
              <a:gd name="connsiteX43" fmla="*/ 4244246 w 4568909"/>
              <a:gd name="connsiteY43" fmla="*/ 2232238 h 5094880"/>
              <a:gd name="connsiteX44" fmla="*/ 4277900 w 4568909"/>
              <a:gd name="connsiteY44" fmla="*/ 2230817 h 5094880"/>
              <a:gd name="connsiteX45" fmla="*/ 3617504 w 4568909"/>
              <a:gd name="connsiteY45" fmla="*/ 1274149 h 5094880"/>
              <a:gd name="connsiteX46" fmla="*/ 3702456 w 4568909"/>
              <a:gd name="connsiteY46" fmla="*/ 1358569 h 5094880"/>
              <a:gd name="connsiteX47" fmla="*/ 3560179 w 4568909"/>
              <a:gd name="connsiteY47" fmla="*/ 1666519 h 5094880"/>
              <a:gd name="connsiteX48" fmla="*/ 3033468 w 4568909"/>
              <a:gd name="connsiteY48" fmla="*/ 1936240 h 5094880"/>
              <a:gd name="connsiteX49" fmla="*/ 2691541 w 4568909"/>
              <a:gd name="connsiteY49" fmla="*/ 1942611 h 5094880"/>
              <a:gd name="connsiteX50" fmla="*/ 2553504 w 4568909"/>
              <a:gd name="connsiteY50" fmla="*/ 1615548 h 5094880"/>
              <a:gd name="connsiteX51" fmla="*/ 2723366 w 4568909"/>
              <a:gd name="connsiteY51" fmla="*/ 1568824 h 5094880"/>
              <a:gd name="connsiteX52" fmla="*/ 2761633 w 4568909"/>
              <a:gd name="connsiteY52" fmla="*/ 1751470 h 5094880"/>
              <a:gd name="connsiteX53" fmla="*/ 2850832 w 4568909"/>
              <a:gd name="connsiteY53" fmla="*/ 1804565 h 5094880"/>
              <a:gd name="connsiteX54" fmla="*/ 3003735 w 4568909"/>
              <a:gd name="connsiteY54" fmla="*/ 1757841 h 5094880"/>
              <a:gd name="connsiteX55" fmla="*/ 3137533 w 4568909"/>
              <a:gd name="connsiteY55" fmla="*/ 1708994 h 5094880"/>
              <a:gd name="connsiteX56" fmla="*/ 3396649 w 4568909"/>
              <a:gd name="connsiteY56" fmla="*/ 1575196 h 5094880"/>
              <a:gd name="connsiteX57" fmla="*/ 3526152 w 4568909"/>
              <a:gd name="connsiteY57" fmla="*/ 1358569 h 5094880"/>
              <a:gd name="connsiteX58" fmla="*/ 3617504 w 4568909"/>
              <a:gd name="connsiteY58" fmla="*/ 1274149 h 5094880"/>
              <a:gd name="connsiteX59" fmla="*/ 418294 w 4568909"/>
              <a:gd name="connsiteY59" fmla="*/ 998109 h 5094880"/>
              <a:gd name="connsiteX60" fmla="*/ 480954 w 4568909"/>
              <a:gd name="connsiteY60" fmla="*/ 1023586 h 5094880"/>
              <a:gd name="connsiteX61" fmla="*/ 480954 w 4568909"/>
              <a:gd name="connsiteY61" fmla="*/ 1148887 h 5094880"/>
              <a:gd name="connsiteX62" fmla="*/ 466061 w 4568909"/>
              <a:gd name="connsiteY62" fmla="*/ 1168007 h 5094880"/>
              <a:gd name="connsiteX63" fmla="*/ 449072 w 4568909"/>
              <a:gd name="connsiteY63" fmla="*/ 1191396 h 5094880"/>
              <a:gd name="connsiteX64" fmla="*/ 410866 w 4568909"/>
              <a:gd name="connsiteY64" fmla="*/ 1246621 h 5094880"/>
              <a:gd name="connsiteX65" fmla="*/ 334417 w 4568909"/>
              <a:gd name="connsiteY65" fmla="*/ 1373963 h 5094880"/>
              <a:gd name="connsiteX66" fmla="*/ 213364 w 4568909"/>
              <a:gd name="connsiteY66" fmla="*/ 1656493 h 5094880"/>
              <a:gd name="connsiteX67" fmla="*/ 179386 w 4568909"/>
              <a:gd name="connsiteY67" fmla="*/ 1945241 h 5094880"/>
              <a:gd name="connsiteX68" fmla="*/ 236714 w 4568909"/>
              <a:gd name="connsiteY68" fmla="*/ 2085484 h 5094880"/>
              <a:gd name="connsiteX69" fmla="*/ 425722 w 4568909"/>
              <a:gd name="connsiteY69" fmla="*/ 1949510 h 5094880"/>
              <a:gd name="connsiteX70" fmla="*/ 514931 w 4568909"/>
              <a:gd name="connsiteY70" fmla="*/ 2102469 h 5094880"/>
              <a:gd name="connsiteX71" fmla="*/ 294041 w 4568909"/>
              <a:gd name="connsiteY71" fmla="*/ 2285037 h 5094880"/>
              <a:gd name="connsiteX72" fmla="*/ 183615 w 4568909"/>
              <a:gd name="connsiteY72" fmla="*/ 2569701 h 5094880"/>
              <a:gd name="connsiteX73" fmla="*/ 342911 w 4568909"/>
              <a:gd name="connsiteY73" fmla="*/ 2750226 h 5094880"/>
              <a:gd name="connsiteX74" fmla="*/ 659335 w 4568909"/>
              <a:gd name="connsiteY74" fmla="*/ 2811763 h 5094880"/>
              <a:gd name="connsiteX75" fmla="*/ 657202 w 4568909"/>
              <a:gd name="connsiteY75" fmla="*/ 2985884 h 5094880"/>
              <a:gd name="connsiteX76" fmla="*/ 7366 w 4568909"/>
              <a:gd name="connsiteY76" fmla="*/ 2597267 h 5094880"/>
              <a:gd name="connsiteX77" fmla="*/ 119926 w 4568909"/>
              <a:gd name="connsiteY77" fmla="*/ 2221366 h 5094880"/>
              <a:gd name="connsiteX78" fmla="*/ 34945 w 4568909"/>
              <a:gd name="connsiteY78" fmla="*/ 1628834 h 5094880"/>
              <a:gd name="connsiteX79" fmla="*/ 355635 w 4568909"/>
              <a:gd name="connsiteY79" fmla="*/ 1023586 h 5094880"/>
              <a:gd name="connsiteX80" fmla="*/ 418294 w 4568909"/>
              <a:gd name="connsiteY80" fmla="*/ 998109 h 5094880"/>
              <a:gd name="connsiteX81" fmla="*/ 3915473 w 4568909"/>
              <a:gd name="connsiteY81" fmla="*/ 807576 h 5094880"/>
              <a:gd name="connsiteX82" fmla="*/ 3953016 w 4568909"/>
              <a:gd name="connsiteY82" fmla="*/ 811426 h 5094880"/>
              <a:gd name="connsiteX83" fmla="*/ 4314039 w 4568909"/>
              <a:gd name="connsiteY83" fmla="*/ 1072660 h 5094880"/>
              <a:gd name="connsiteX84" fmla="*/ 4350138 w 4568909"/>
              <a:gd name="connsiteY84" fmla="*/ 1779874 h 5094880"/>
              <a:gd name="connsiteX85" fmla="*/ 4135661 w 4568909"/>
              <a:gd name="connsiteY85" fmla="*/ 2066581 h 5094880"/>
              <a:gd name="connsiteX86" fmla="*/ 3698174 w 4568909"/>
              <a:gd name="connsiteY86" fmla="*/ 2138777 h 5094880"/>
              <a:gd name="connsiteX87" fmla="*/ 3821347 w 4568909"/>
              <a:gd name="connsiteY87" fmla="*/ 2011344 h 5094880"/>
              <a:gd name="connsiteX88" fmla="*/ 3959398 w 4568909"/>
              <a:gd name="connsiteY88" fmla="*/ 1973135 h 5094880"/>
              <a:gd name="connsiteX89" fmla="*/ 4080418 w 4568909"/>
              <a:gd name="connsiteY89" fmla="*/ 1873320 h 5094880"/>
              <a:gd name="connsiteX90" fmla="*/ 4214240 w 4568909"/>
              <a:gd name="connsiteY90" fmla="*/ 1637559 h 5094880"/>
              <a:gd name="connsiteX91" fmla="*/ 4233346 w 4568909"/>
              <a:gd name="connsiteY91" fmla="*/ 1563217 h 5094880"/>
              <a:gd name="connsiteX92" fmla="*/ 4239728 w 4568909"/>
              <a:gd name="connsiteY92" fmla="*/ 1531376 h 5094880"/>
              <a:gd name="connsiteX93" fmla="*/ 4241842 w 4568909"/>
              <a:gd name="connsiteY93" fmla="*/ 1508049 h 5094880"/>
              <a:gd name="connsiteX94" fmla="*/ 4243957 w 4568909"/>
              <a:gd name="connsiteY94" fmla="*/ 1427340 h 5094880"/>
              <a:gd name="connsiteX95" fmla="*/ 4241842 w 4568909"/>
              <a:gd name="connsiteY95" fmla="*/ 1391207 h 5094880"/>
              <a:gd name="connsiteX96" fmla="*/ 4239728 w 4568909"/>
              <a:gd name="connsiteY96" fmla="*/ 1367880 h 5094880"/>
              <a:gd name="connsiteX97" fmla="*/ 4205744 w 4568909"/>
              <a:gd name="connsiteY97" fmla="*/ 1240447 h 5094880"/>
              <a:gd name="connsiteX98" fmla="*/ 4192981 w 4568909"/>
              <a:gd name="connsiteY98" fmla="*/ 1212829 h 5094880"/>
              <a:gd name="connsiteX99" fmla="*/ 4175989 w 4568909"/>
              <a:gd name="connsiteY99" fmla="*/ 1183065 h 5094880"/>
              <a:gd name="connsiteX100" fmla="*/ 4156882 w 4568909"/>
              <a:gd name="connsiteY100" fmla="*/ 1153370 h 5094880"/>
              <a:gd name="connsiteX101" fmla="*/ 4144157 w 4568909"/>
              <a:gd name="connsiteY101" fmla="*/ 1136341 h 5094880"/>
              <a:gd name="connsiteX102" fmla="*/ 3906307 w 4568909"/>
              <a:gd name="connsiteY102" fmla="*/ 981290 h 5094880"/>
              <a:gd name="connsiteX103" fmla="*/ 3915473 w 4568909"/>
              <a:gd name="connsiteY103" fmla="*/ 807576 h 5094880"/>
              <a:gd name="connsiteX104" fmla="*/ 1197932 w 4568909"/>
              <a:gd name="connsiteY104" fmla="*/ 403636 h 5094880"/>
              <a:gd name="connsiteX105" fmla="*/ 1264953 w 4568909"/>
              <a:gd name="connsiteY105" fmla="*/ 411804 h 5094880"/>
              <a:gd name="connsiteX106" fmla="*/ 1220356 w 4568909"/>
              <a:gd name="connsiteY106" fmla="*/ 571060 h 5094880"/>
              <a:gd name="connsiteX107" fmla="*/ 874224 w 4568909"/>
              <a:gd name="connsiteY107" fmla="*/ 762216 h 5094880"/>
              <a:gd name="connsiteX108" fmla="*/ 1039848 w 4568909"/>
              <a:gd name="connsiteY108" fmla="*/ 1386603 h 5094880"/>
              <a:gd name="connsiteX109" fmla="*/ 1668449 w 4568909"/>
              <a:gd name="connsiteY109" fmla="*/ 1409935 h 5094880"/>
              <a:gd name="connsiteX110" fmla="*/ 1785239 w 4568909"/>
              <a:gd name="connsiteY110" fmla="*/ 1409935 h 5094880"/>
              <a:gd name="connsiteX111" fmla="*/ 1785239 w 4568909"/>
              <a:gd name="connsiteY111" fmla="*/ 1526780 h 5094880"/>
              <a:gd name="connsiteX112" fmla="*/ 1290430 w 4568909"/>
              <a:gd name="connsiteY112" fmla="*/ 1660577 h 5094880"/>
              <a:gd name="connsiteX113" fmla="*/ 644825 w 4568909"/>
              <a:gd name="connsiteY113" fmla="*/ 1080789 h 5094880"/>
              <a:gd name="connsiteX114" fmla="*/ 797739 w 4568909"/>
              <a:gd name="connsiteY114" fmla="*/ 598707 h 5094880"/>
              <a:gd name="connsiteX115" fmla="*/ 1197932 w 4568909"/>
              <a:gd name="connsiteY115" fmla="*/ 403636 h 5094880"/>
              <a:gd name="connsiteX116" fmla="*/ 3286497 w 4568909"/>
              <a:gd name="connsiteY116" fmla="*/ 276675 h 5094880"/>
              <a:gd name="connsiteX117" fmla="*/ 3319746 w 4568909"/>
              <a:gd name="connsiteY117" fmla="*/ 286636 h 5094880"/>
              <a:gd name="connsiteX118" fmla="*/ 3631939 w 4568909"/>
              <a:gd name="connsiteY118" fmla="*/ 634933 h 5094880"/>
              <a:gd name="connsiteX119" fmla="*/ 3544864 w 4568909"/>
              <a:gd name="connsiteY119" fmla="*/ 1102156 h 5094880"/>
              <a:gd name="connsiteX120" fmla="*/ 3391962 w 4568909"/>
              <a:gd name="connsiteY120" fmla="*/ 1012951 h 5094880"/>
              <a:gd name="connsiteX121" fmla="*/ 3468413 w 4568909"/>
              <a:gd name="connsiteY121" fmla="*/ 826062 h 5094880"/>
              <a:gd name="connsiteX122" fmla="*/ 3470542 w 4568909"/>
              <a:gd name="connsiteY122" fmla="*/ 811180 h 5094880"/>
              <a:gd name="connsiteX123" fmla="*/ 3472672 w 4568909"/>
              <a:gd name="connsiteY123" fmla="*/ 796341 h 5094880"/>
              <a:gd name="connsiteX124" fmla="*/ 3472672 w 4568909"/>
              <a:gd name="connsiteY124" fmla="*/ 749619 h 5094880"/>
              <a:gd name="connsiteX125" fmla="*/ 3470542 w 4568909"/>
              <a:gd name="connsiteY125" fmla="*/ 728378 h 5094880"/>
              <a:gd name="connsiteX126" fmla="*/ 3470542 w 4568909"/>
              <a:gd name="connsiteY126" fmla="*/ 724138 h 5094880"/>
              <a:gd name="connsiteX127" fmla="*/ 3470542 w 4568909"/>
              <a:gd name="connsiteY127" fmla="*/ 722018 h 5094880"/>
              <a:gd name="connsiteX128" fmla="*/ 3462048 w 4568909"/>
              <a:gd name="connsiteY128" fmla="*/ 681656 h 5094880"/>
              <a:gd name="connsiteX129" fmla="*/ 3455683 w 4568909"/>
              <a:gd name="connsiteY129" fmla="*/ 662534 h 5094880"/>
              <a:gd name="connsiteX130" fmla="*/ 3449294 w 4568909"/>
              <a:gd name="connsiteY130" fmla="*/ 647652 h 5094880"/>
              <a:gd name="connsiteX131" fmla="*/ 3432305 w 4568909"/>
              <a:gd name="connsiteY131" fmla="*/ 613692 h 5094880"/>
              <a:gd name="connsiteX132" fmla="*/ 3411080 w 4568909"/>
              <a:gd name="connsiteY132" fmla="*/ 579732 h 5094880"/>
              <a:gd name="connsiteX133" fmla="*/ 3400456 w 4568909"/>
              <a:gd name="connsiteY133" fmla="*/ 566969 h 5094880"/>
              <a:gd name="connsiteX134" fmla="*/ 3387703 w 4568909"/>
              <a:gd name="connsiteY134" fmla="*/ 554251 h 5094880"/>
              <a:gd name="connsiteX135" fmla="*/ 3228435 w 4568909"/>
              <a:gd name="connsiteY135" fmla="*/ 437445 h 5094880"/>
              <a:gd name="connsiteX136" fmla="*/ 3198692 w 4568909"/>
              <a:gd name="connsiteY136" fmla="*/ 318476 h 5094880"/>
              <a:gd name="connsiteX137" fmla="*/ 3286497 w 4568909"/>
              <a:gd name="connsiteY137" fmla="*/ 276675 h 5094880"/>
              <a:gd name="connsiteX138" fmla="*/ 2753580 w 4568909"/>
              <a:gd name="connsiteY138" fmla="*/ 2208 h 5094880"/>
              <a:gd name="connsiteX139" fmla="*/ 3032365 w 4568909"/>
              <a:gd name="connsiteY139" fmla="*/ 59829 h 5094880"/>
              <a:gd name="connsiteX140" fmla="*/ 2985561 w 4568909"/>
              <a:gd name="connsiteY140" fmla="*/ 229797 h 5094880"/>
              <a:gd name="connsiteX141" fmla="*/ 2484419 w 4568909"/>
              <a:gd name="connsiteY141" fmla="*/ 212609 h 5094880"/>
              <a:gd name="connsiteX142" fmla="*/ 2250835 w 4568909"/>
              <a:gd name="connsiteY142" fmla="*/ 592888 h 5094880"/>
              <a:gd name="connsiteX143" fmla="*/ 2250835 w 4568909"/>
              <a:gd name="connsiteY143" fmla="*/ 595037 h 5094880"/>
              <a:gd name="connsiteX144" fmla="*/ 2329425 w 4568909"/>
              <a:gd name="connsiteY144" fmla="*/ 798903 h 5094880"/>
              <a:gd name="connsiteX145" fmla="*/ 2947359 w 4568909"/>
              <a:gd name="connsiteY145" fmla="*/ 949534 h 5094880"/>
              <a:gd name="connsiteX146" fmla="*/ 2994163 w 4568909"/>
              <a:gd name="connsiteY146" fmla="*/ 1119502 h 5094880"/>
              <a:gd name="connsiteX147" fmla="*/ 2495063 w 4568909"/>
              <a:gd name="connsiteY147" fmla="*/ 1113057 h 5094880"/>
              <a:gd name="connsiteX148" fmla="*/ 2274164 w 4568909"/>
              <a:gd name="connsiteY148" fmla="*/ 989878 h 5094880"/>
              <a:gd name="connsiteX149" fmla="*/ 2308137 w 4568909"/>
              <a:gd name="connsiteY149" fmla="*/ 1716299 h 5094880"/>
              <a:gd name="connsiteX150" fmla="*/ 2325197 w 4568909"/>
              <a:gd name="connsiteY150" fmla="*/ 2113289 h 5094880"/>
              <a:gd name="connsiteX151" fmla="*/ 2325197 w 4568909"/>
              <a:gd name="connsiteY151" fmla="*/ 2145277 h 5094880"/>
              <a:gd name="connsiteX152" fmla="*/ 2325197 w 4568909"/>
              <a:gd name="connsiteY152" fmla="*/ 2149574 h 5094880"/>
              <a:gd name="connsiteX153" fmla="*/ 2344297 w 4568909"/>
              <a:gd name="connsiteY153" fmla="*/ 2671891 h 5094880"/>
              <a:gd name="connsiteX154" fmla="*/ 2427116 w 4568909"/>
              <a:gd name="connsiteY154" fmla="*/ 2909894 h 5094880"/>
              <a:gd name="connsiteX155" fmla="*/ 2633143 w 4568909"/>
              <a:gd name="connsiteY155" fmla="*/ 2992729 h 5094880"/>
              <a:gd name="connsiteX156" fmla="*/ 2803009 w 4568909"/>
              <a:gd name="connsiteY156" fmla="*/ 2863105 h 5094880"/>
              <a:gd name="connsiteX157" fmla="*/ 2945318 w 4568909"/>
              <a:gd name="connsiteY157" fmla="*/ 2584758 h 5094880"/>
              <a:gd name="connsiteX158" fmla="*/ 3406071 w 4568909"/>
              <a:gd name="connsiteY158" fmla="*/ 2274901 h 5094880"/>
              <a:gd name="connsiteX159" fmla="*/ 3811709 w 4568909"/>
              <a:gd name="connsiteY159" fmla="*/ 2621044 h 5094880"/>
              <a:gd name="connsiteX160" fmla="*/ 3750178 w 4568909"/>
              <a:gd name="connsiteY160" fmla="*/ 2729183 h 5094880"/>
              <a:gd name="connsiteX161" fmla="*/ 3641842 w 4568909"/>
              <a:gd name="connsiteY161" fmla="*/ 2667594 h 5094880"/>
              <a:gd name="connsiteX162" fmla="*/ 3491077 w 4568909"/>
              <a:gd name="connsiteY162" fmla="*/ 2470173 h 5094880"/>
              <a:gd name="connsiteX163" fmla="*/ 3227748 w 4568909"/>
              <a:gd name="connsiteY163" fmla="*/ 2504071 h 5094880"/>
              <a:gd name="connsiteX164" fmla="*/ 3074795 w 4568909"/>
              <a:gd name="connsiteY164" fmla="*/ 2716531 h 5094880"/>
              <a:gd name="connsiteX165" fmla="*/ 2926217 w 4568909"/>
              <a:gd name="connsiteY165" fmla="*/ 3005381 h 5094880"/>
              <a:gd name="connsiteX166" fmla="*/ 2410057 w 4568909"/>
              <a:gd name="connsiteY166" fmla="*/ 3115670 h 5094880"/>
              <a:gd name="connsiteX167" fmla="*/ 2323010 w 4568909"/>
              <a:gd name="connsiteY167" fmla="*/ 3054080 h 5094880"/>
              <a:gd name="connsiteX168" fmla="*/ 2323010 w 4568909"/>
              <a:gd name="connsiteY168" fmla="*/ 3315477 h 5094880"/>
              <a:gd name="connsiteX169" fmla="*/ 2325197 w 4568909"/>
              <a:gd name="connsiteY169" fmla="*/ 3922778 h 5094880"/>
              <a:gd name="connsiteX170" fmla="*/ 2327238 w 4568909"/>
              <a:gd name="connsiteY170" fmla="*/ 3941876 h 5094880"/>
              <a:gd name="connsiteX171" fmla="*/ 2325197 w 4568909"/>
              <a:gd name="connsiteY171" fmla="*/ 3956676 h 5094880"/>
              <a:gd name="connsiteX172" fmla="*/ 2325197 w 4568909"/>
              <a:gd name="connsiteY172" fmla="*/ 3963122 h 5094880"/>
              <a:gd name="connsiteX173" fmla="*/ 2747748 w 4568909"/>
              <a:gd name="connsiteY173" fmla="*/ 4022563 h 5094880"/>
              <a:gd name="connsiteX174" fmla="*/ 3064151 w 4568909"/>
              <a:gd name="connsiteY174" fmla="*/ 4268921 h 5094880"/>
              <a:gd name="connsiteX175" fmla="*/ 3157614 w 4568909"/>
              <a:gd name="connsiteY175" fmla="*/ 4455838 h 5094880"/>
              <a:gd name="connsiteX176" fmla="*/ 3204418 w 4568909"/>
              <a:gd name="connsiteY176" fmla="*/ 4527931 h 5094880"/>
              <a:gd name="connsiteX177" fmla="*/ 3251077 w 4568909"/>
              <a:gd name="connsiteY177" fmla="*/ 4559919 h 5094880"/>
              <a:gd name="connsiteX178" fmla="*/ 3527091 w 4568909"/>
              <a:gd name="connsiteY178" fmla="*/ 4409049 h 5094880"/>
              <a:gd name="connsiteX179" fmla="*/ 3586581 w 4568909"/>
              <a:gd name="connsiteY179" fmla="*/ 4245526 h 5094880"/>
              <a:gd name="connsiteX180" fmla="*/ 3580311 w 4568909"/>
              <a:gd name="connsiteY180" fmla="*/ 4154336 h 5094880"/>
              <a:gd name="connsiteX181" fmla="*/ 3539923 w 4568909"/>
              <a:gd name="connsiteY181" fmla="*/ 4145742 h 5094880"/>
              <a:gd name="connsiteX182" fmla="*/ 3431587 w 4568909"/>
              <a:gd name="connsiteY182" fmla="*/ 4084152 h 5094880"/>
              <a:gd name="connsiteX183" fmla="*/ 3493118 w 4568909"/>
              <a:gd name="connsiteY183" fmla="*/ 3975774 h 5094880"/>
              <a:gd name="connsiteX184" fmla="*/ 3760822 w 4568909"/>
              <a:gd name="connsiteY184" fmla="*/ 4128793 h 5094880"/>
              <a:gd name="connsiteX185" fmla="*/ 3728890 w 4568909"/>
              <a:gd name="connsiteY185" fmla="*/ 4402842 h 5094880"/>
              <a:gd name="connsiteX186" fmla="*/ 3380700 w 4568909"/>
              <a:gd name="connsiteY186" fmla="*/ 4733945 h 5094880"/>
              <a:gd name="connsiteX187" fmla="*/ 3134285 w 4568909"/>
              <a:gd name="connsiteY187" fmla="*/ 4695750 h 5094880"/>
              <a:gd name="connsiteX188" fmla="*/ 2994163 w 4568909"/>
              <a:gd name="connsiteY188" fmla="*/ 4513130 h 5094880"/>
              <a:gd name="connsiteX189" fmla="*/ 2879413 w 4568909"/>
              <a:gd name="connsiteY189" fmla="*/ 4311413 h 5094880"/>
              <a:gd name="connsiteX190" fmla="*/ 2718003 w 4568909"/>
              <a:gd name="connsiteY190" fmla="*/ 4196828 h 5094880"/>
              <a:gd name="connsiteX191" fmla="*/ 2329425 w 4568909"/>
              <a:gd name="connsiteY191" fmla="*/ 4137387 h 5094880"/>
              <a:gd name="connsiteX192" fmla="*/ 2329425 w 4568909"/>
              <a:gd name="connsiteY192" fmla="*/ 4143593 h 5094880"/>
              <a:gd name="connsiteX193" fmla="*/ 2335695 w 4568909"/>
              <a:gd name="connsiteY193" fmla="*/ 4254120 h 5094880"/>
              <a:gd name="connsiteX194" fmla="*/ 2346339 w 4568909"/>
              <a:gd name="connsiteY194" fmla="*/ 4547267 h 5094880"/>
              <a:gd name="connsiteX195" fmla="*/ 2348526 w 4568909"/>
              <a:gd name="connsiteY195" fmla="*/ 4555622 h 5094880"/>
              <a:gd name="connsiteX196" fmla="*/ 2596983 w 4568909"/>
              <a:gd name="connsiteY196" fmla="*/ 4901765 h 5094880"/>
              <a:gd name="connsiteX197" fmla="*/ 2945318 w 4568909"/>
              <a:gd name="connsiteY197" fmla="*/ 4795535 h 5094880"/>
              <a:gd name="connsiteX198" fmla="*/ 3070567 w 4568909"/>
              <a:gd name="connsiteY198" fmla="*/ 4795535 h 5094880"/>
              <a:gd name="connsiteX199" fmla="*/ 3070567 w 4568909"/>
              <a:gd name="connsiteY199" fmla="*/ 4920862 h 5094880"/>
              <a:gd name="connsiteX200" fmla="*/ 2545950 w 4568909"/>
              <a:gd name="connsiteY200" fmla="*/ 5071733 h 5094880"/>
              <a:gd name="connsiteX201" fmla="*/ 2269935 w 4568909"/>
              <a:gd name="connsiteY201" fmla="*/ 4842324 h 5094880"/>
              <a:gd name="connsiteX202" fmla="*/ 2259291 w 4568909"/>
              <a:gd name="connsiteY202" fmla="*/ 4861421 h 5094880"/>
              <a:gd name="connsiteX203" fmla="*/ 1928016 w 4568909"/>
              <a:gd name="connsiteY203" fmla="*/ 5086533 h 5094880"/>
              <a:gd name="connsiteX204" fmla="*/ 1513921 w 4568909"/>
              <a:gd name="connsiteY204" fmla="*/ 4978155 h 5094880"/>
              <a:gd name="connsiteX205" fmla="*/ 1513921 w 4568909"/>
              <a:gd name="connsiteY205" fmla="*/ 4853066 h 5094880"/>
              <a:gd name="connsiteX206" fmla="*/ 1639170 w 4568909"/>
              <a:gd name="connsiteY206" fmla="*/ 4853066 h 5094880"/>
              <a:gd name="connsiteX207" fmla="*/ 1976861 w 4568909"/>
              <a:gd name="connsiteY207" fmla="*/ 4886964 h 5094880"/>
              <a:gd name="connsiteX208" fmla="*/ 2165829 w 4568909"/>
              <a:gd name="connsiteY208" fmla="*/ 4649200 h 5094880"/>
              <a:gd name="connsiteX209" fmla="*/ 2170057 w 4568909"/>
              <a:gd name="connsiteY209" fmla="*/ 4629864 h 5094880"/>
              <a:gd name="connsiteX210" fmla="*/ 2170057 w 4568909"/>
              <a:gd name="connsiteY210" fmla="*/ 4627954 h 5094880"/>
              <a:gd name="connsiteX211" fmla="*/ 2170057 w 4568909"/>
              <a:gd name="connsiteY211" fmla="*/ 4625806 h 5094880"/>
              <a:gd name="connsiteX212" fmla="*/ 2174431 w 4568909"/>
              <a:gd name="connsiteY212" fmla="*/ 4572571 h 5094880"/>
              <a:gd name="connsiteX213" fmla="*/ 2174431 w 4568909"/>
              <a:gd name="connsiteY213" fmla="*/ 4562068 h 5094880"/>
              <a:gd name="connsiteX214" fmla="*/ 2155185 w 4568909"/>
              <a:gd name="connsiteY214" fmla="*/ 4152187 h 5094880"/>
              <a:gd name="connsiteX215" fmla="*/ 2157372 w 4568909"/>
              <a:gd name="connsiteY215" fmla="*/ 3956676 h 5094880"/>
              <a:gd name="connsiteX216" fmla="*/ 2157372 w 4568909"/>
              <a:gd name="connsiteY216" fmla="*/ 3778353 h 5094880"/>
              <a:gd name="connsiteX217" fmla="*/ 2123398 w 4568909"/>
              <a:gd name="connsiteY217" fmla="*/ 3816548 h 5094880"/>
              <a:gd name="connsiteX218" fmla="*/ 1671102 w 4568909"/>
              <a:gd name="connsiteY218" fmla="*/ 3920630 h 5094880"/>
              <a:gd name="connsiteX219" fmla="*/ 1405586 w 4568909"/>
              <a:gd name="connsiteY219" fmla="*/ 3551093 h 5094880"/>
              <a:gd name="connsiteX220" fmla="*/ 1106096 w 4568909"/>
              <a:gd name="connsiteY220" fmla="*/ 3279192 h 5094880"/>
              <a:gd name="connsiteX221" fmla="*/ 851224 w 4568909"/>
              <a:gd name="connsiteY221" fmla="*/ 3444863 h 5094880"/>
              <a:gd name="connsiteX222" fmla="*/ 743035 w 4568909"/>
              <a:gd name="connsiteY222" fmla="*/ 3506452 h 5094880"/>
              <a:gd name="connsiteX223" fmla="*/ 681358 w 4568909"/>
              <a:gd name="connsiteY223" fmla="*/ 3398313 h 5094880"/>
              <a:gd name="connsiteX224" fmla="*/ 1048794 w 4568909"/>
              <a:gd name="connsiteY224" fmla="*/ 3103017 h 5094880"/>
              <a:gd name="connsiteX225" fmla="*/ 1454432 w 4568909"/>
              <a:gd name="connsiteY225" fmla="*/ 3300438 h 5094880"/>
              <a:gd name="connsiteX226" fmla="*/ 1573411 w 4568909"/>
              <a:gd name="connsiteY226" fmla="*/ 3495949 h 5094880"/>
              <a:gd name="connsiteX227" fmla="*/ 1671102 w 4568909"/>
              <a:gd name="connsiteY227" fmla="*/ 3699815 h 5094880"/>
              <a:gd name="connsiteX228" fmla="*/ 1832512 w 4568909"/>
              <a:gd name="connsiteY228" fmla="*/ 3771908 h 5094880"/>
              <a:gd name="connsiteX229" fmla="*/ 1989547 w 4568909"/>
              <a:gd name="connsiteY229" fmla="*/ 3699815 h 5094880"/>
              <a:gd name="connsiteX230" fmla="*/ 2153143 w 4568909"/>
              <a:gd name="connsiteY230" fmla="*/ 3302586 h 5094880"/>
              <a:gd name="connsiteX231" fmla="*/ 2155185 w 4568909"/>
              <a:gd name="connsiteY231" fmla="*/ 3285637 h 5094880"/>
              <a:gd name="connsiteX232" fmla="*/ 2153143 w 4568909"/>
              <a:gd name="connsiteY232" fmla="*/ 2667594 h 5094880"/>
              <a:gd name="connsiteX233" fmla="*/ 1749693 w 4568909"/>
              <a:gd name="connsiteY233" fmla="*/ 2716531 h 5094880"/>
              <a:gd name="connsiteX234" fmla="*/ 1605197 w 4568909"/>
              <a:gd name="connsiteY234" fmla="*/ 2440333 h 5094880"/>
              <a:gd name="connsiteX235" fmla="*/ 1592512 w 4568909"/>
              <a:gd name="connsiteY235" fmla="*/ 2272753 h 5094880"/>
              <a:gd name="connsiteX236" fmla="*/ 1505464 w 4568909"/>
              <a:gd name="connsiteY236" fmla="*/ 2196124 h 5094880"/>
              <a:gd name="connsiteX237" fmla="*/ 1017008 w 4568909"/>
              <a:gd name="connsiteY237" fmla="*/ 2346994 h 5094880"/>
              <a:gd name="connsiteX238" fmla="*/ 908673 w 4568909"/>
              <a:gd name="connsiteY238" fmla="*/ 2408584 h 5094880"/>
              <a:gd name="connsiteX239" fmla="*/ 846996 w 4568909"/>
              <a:gd name="connsiteY239" fmla="*/ 2300205 h 5094880"/>
              <a:gd name="connsiteX240" fmla="*/ 1065853 w 4568909"/>
              <a:gd name="connsiteY240" fmla="*/ 2022098 h 5094880"/>
              <a:gd name="connsiteX241" fmla="*/ 1471345 w 4568909"/>
              <a:gd name="connsiteY241" fmla="*/ 2000852 h 5094880"/>
              <a:gd name="connsiteX242" fmla="*/ 1745318 w 4568909"/>
              <a:gd name="connsiteY242" fmla="*/ 2185620 h 5094880"/>
              <a:gd name="connsiteX243" fmla="*/ 1781479 w 4568909"/>
              <a:gd name="connsiteY243" fmla="*/ 2370389 h 5094880"/>
              <a:gd name="connsiteX244" fmla="*/ 1792123 w 4568909"/>
              <a:gd name="connsiteY244" fmla="*/ 2519111 h 5094880"/>
              <a:gd name="connsiteX245" fmla="*/ 1966217 w 4568909"/>
              <a:gd name="connsiteY245" fmla="*/ 2582849 h 5094880"/>
              <a:gd name="connsiteX246" fmla="*/ 2127627 w 4568909"/>
              <a:gd name="connsiteY246" fmla="*/ 2398080 h 5094880"/>
              <a:gd name="connsiteX247" fmla="*/ 2155185 w 4568909"/>
              <a:gd name="connsiteY247" fmla="*/ 2170820 h 5094880"/>
              <a:gd name="connsiteX248" fmla="*/ 2155185 w 4568909"/>
              <a:gd name="connsiteY248" fmla="*/ 2153871 h 5094880"/>
              <a:gd name="connsiteX249" fmla="*/ 2155185 w 4568909"/>
              <a:gd name="connsiteY249" fmla="*/ 2151722 h 5094880"/>
              <a:gd name="connsiteX250" fmla="*/ 2148915 w 4568909"/>
              <a:gd name="connsiteY250" fmla="*/ 2015652 h 5094880"/>
              <a:gd name="connsiteX251" fmla="*/ 2129814 w 4568909"/>
              <a:gd name="connsiteY251" fmla="*/ 1605772 h 5094880"/>
              <a:gd name="connsiteX252" fmla="*/ 2102110 w 4568909"/>
              <a:gd name="connsiteY252" fmla="*/ 1000620 h 5094880"/>
              <a:gd name="connsiteX253" fmla="*/ 2002378 w 4568909"/>
              <a:gd name="connsiteY253" fmla="*/ 1081307 h 5094880"/>
              <a:gd name="connsiteX254" fmla="*/ 1471345 w 4568909"/>
              <a:gd name="connsiteY254" fmla="*/ 1134303 h 5094880"/>
              <a:gd name="connsiteX255" fmla="*/ 1384298 w 4568909"/>
              <a:gd name="connsiteY255" fmla="*/ 1047409 h 5094880"/>
              <a:gd name="connsiteX256" fmla="*/ 1471345 w 4568909"/>
              <a:gd name="connsiteY256" fmla="*/ 960276 h 5094880"/>
              <a:gd name="connsiteX257" fmla="*/ 1764419 w 4568909"/>
              <a:gd name="connsiteY257" fmla="*/ 977225 h 5094880"/>
              <a:gd name="connsiteX258" fmla="*/ 1938660 w 4568909"/>
              <a:gd name="connsiteY258" fmla="*/ 915636 h 5094880"/>
              <a:gd name="connsiteX259" fmla="*/ 1985318 w 4568909"/>
              <a:gd name="connsiteY259" fmla="*/ 873144 h 5094880"/>
              <a:gd name="connsiteX260" fmla="*/ 2019292 w 4568909"/>
              <a:gd name="connsiteY260" fmla="*/ 828504 h 5094880"/>
              <a:gd name="connsiteX261" fmla="*/ 2068137 w 4568909"/>
              <a:gd name="connsiteY261" fmla="*/ 707473 h 5094880"/>
              <a:gd name="connsiteX262" fmla="*/ 2078781 w 4568909"/>
              <a:gd name="connsiteY262" fmla="*/ 601243 h 5094880"/>
              <a:gd name="connsiteX263" fmla="*/ 2076740 w 4568909"/>
              <a:gd name="connsiteY263" fmla="*/ 569494 h 5094880"/>
              <a:gd name="connsiteX264" fmla="*/ 2049036 w 4568909"/>
              <a:gd name="connsiteY264" fmla="*/ 444166 h 5094880"/>
              <a:gd name="connsiteX265" fmla="*/ 1989547 w 4568909"/>
              <a:gd name="connsiteY265" fmla="*/ 337936 h 5094880"/>
              <a:gd name="connsiteX266" fmla="*/ 1872755 w 4568909"/>
              <a:gd name="connsiteY266" fmla="*/ 246746 h 5094880"/>
              <a:gd name="connsiteX267" fmla="*/ 1492633 w 4568909"/>
              <a:gd name="connsiteY267" fmla="*/ 251043 h 5094880"/>
              <a:gd name="connsiteX268" fmla="*/ 1384298 w 4568909"/>
              <a:gd name="connsiteY268" fmla="*/ 189453 h 5094880"/>
              <a:gd name="connsiteX269" fmla="*/ 1445975 w 4568909"/>
              <a:gd name="connsiteY269" fmla="*/ 81075 h 5094880"/>
              <a:gd name="connsiteX270" fmla="*/ 1998149 w 4568909"/>
              <a:gd name="connsiteY270" fmla="*/ 112824 h 5094880"/>
              <a:gd name="connsiteX271" fmla="*/ 2155185 w 4568909"/>
              <a:gd name="connsiteY271" fmla="*/ 270140 h 5094880"/>
              <a:gd name="connsiteX272" fmla="*/ 2471734 w 4568909"/>
              <a:gd name="connsiteY272" fmla="*/ 32137 h 5094880"/>
              <a:gd name="connsiteX273" fmla="*/ 2753580 w 4568909"/>
              <a:gd name="connsiteY273" fmla="*/ 2208 h 509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Lst>
            <a:rect l="l" t="t" r="r" b="b"/>
            <a:pathLst>
              <a:path w="4568909" h="5094880">
                <a:moveTo>
                  <a:pt x="364288" y="3058190"/>
                </a:moveTo>
                <a:cubicBezTo>
                  <a:pt x="428202" y="3061876"/>
                  <a:pt x="484339" y="3147090"/>
                  <a:pt x="427036" y="3210773"/>
                </a:cubicBezTo>
                <a:cubicBezTo>
                  <a:pt x="361145" y="3282981"/>
                  <a:pt x="346338" y="3380678"/>
                  <a:pt x="346338" y="3474113"/>
                </a:cubicBezTo>
                <a:cubicBezTo>
                  <a:pt x="346338" y="3567632"/>
                  <a:pt x="352705" y="3692909"/>
                  <a:pt x="418522" y="3767206"/>
                </a:cubicBezTo>
                <a:cubicBezTo>
                  <a:pt x="486486" y="3843676"/>
                  <a:pt x="603239" y="3881869"/>
                  <a:pt x="700966" y="3898918"/>
                </a:cubicBezTo>
                <a:cubicBezTo>
                  <a:pt x="809279" y="3915883"/>
                  <a:pt x="917592" y="3903180"/>
                  <a:pt x="1017392" y="3864903"/>
                </a:cubicBezTo>
                <a:cubicBezTo>
                  <a:pt x="1061961" y="3847938"/>
                  <a:pt x="1112971" y="3884042"/>
                  <a:pt x="1125705" y="3926497"/>
                </a:cubicBezTo>
                <a:cubicBezTo>
                  <a:pt x="1138439" y="3975387"/>
                  <a:pt x="1108751" y="4017843"/>
                  <a:pt x="1064108" y="4034808"/>
                </a:cubicBezTo>
                <a:cubicBezTo>
                  <a:pt x="994071" y="4060298"/>
                  <a:pt x="921812" y="4075174"/>
                  <a:pt x="849628" y="4079436"/>
                </a:cubicBezTo>
                <a:cubicBezTo>
                  <a:pt x="849628" y="4083699"/>
                  <a:pt x="847481" y="4090050"/>
                  <a:pt x="847481" y="4094313"/>
                </a:cubicBezTo>
                <a:cubicBezTo>
                  <a:pt x="830527" y="4198362"/>
                  <a:pt x="826233" y="4313025"/>
                  <a:pt x="883610" y="4406460"/>
                </a:cubicBezTo>
                <a:cubicBezTo>
                  <a:pt x="930326" y="4478667"/>
                  <a:pt x="1006805" y="4529647"/>
                  <a:pt x="1087503" y="4553048"/>
                </a:cubicBezTo>
                <a:cubicBezTo>
                  <a:pt x="1284954" y="4610379"/>
                  <a:pt x="1480333" y="4499895"/>
                  <a:pt x="1605674" y="4351218"/>
                </a:cubicBezTo>
                <a:cubicBezTo>
                  <a:pt x="1637509" y="4315114"/>
                  <a:pt x="1699106" y="4319376"/>
                  <a:pt x="1730941" y="4351218"/>
                </a:cubicBezTo>
                <a:cubicBezTo>
                  <a:pt x="1767071" y="4387321"/>
                  <a:pt x="1760704" y="4440474"/>
                  <a:pt x="1730941" y="4476578"/>
                </a:cubicBezTo>
                <a:cubicBezTo>
                  <a:pt x="1561105" y="4680414"/>
                  <a:pt x="1278587" y="4807863"/>
                  <a:pt x="1015245" y="4714428"/>
                </a:cubicBezTo>
                <a:cubicBezTo>
                  <a:pt x="894197" y="4671973"/>
                  <a:pt x="785884" y="4591241"/>
                  <a:pt x="722214" y="4478667"/>
                </a:cubicBezTo>
                <a:cubicBezTo>
                  <a:pt x="654250" y="4353391"/>
                  <a:pt x="654250" y="4208975"/>
                  <a:pt x="675498" y="4070912"/>
                </a:cubicBezTo>
                <a:cubicBezTo>
                  <a:pt x="662764" y="4070912"/>
                  <a:pt x="652103" y="4068823"/>
                  <a:pt x="641516" y="4066650"/>
                </a:cubicBezTo>
                <a:cubicBezTo>
                  <a:pt x="509807" y="4041160"/>
                  <a:pt x="363292" y="3979566"/>
                  <a:pt x="278373" y="3873428"/>
                </a:cubicBezTo>
                <a:cubicBezTo>
                  <a:pt x="189161" y="3762943"/>
                  <a:pt x="167913" y="3599474"/>
                  <a:pt x="170060" y="3461410"/>
                </a:cubicBezTo>
                <a:cubicBezTo>
                  <a:pt x="172133" y="3323347"/>
                  <a:pt x="208262" y="3189545"/>
                  <a:pt x="301695" y="3085496"/>
                </a:cubicBezTo>
                <a:cubicBezTo>
                  <a:pt x="320814" y="3064791"/>
                  <a:pt x="342983" y="3056961"/>
                  <a:pt x="364288" y="3058190"/>
                </a:cubicBezTo>
                <a:close/>
                <a:moveTo>
                  <a:pt x="4277900" y="2230817"/>
                </a:moveTo>
                <a:cubicBezTo>
                  <a:pt x="4312344" y="2235697"/>
                  <a:pt x="4346179" y="2258787"/>
                  <a:pt x="4352575" y="2293851"/>
                </a:cubicBezTo>
                <a:cubicBezTo>
                  <a:pt x="4378013" y="2429768"/>
                  <a:pt x="4454471" y="2542310"/>
                  <a:pt x="4507588" y="2665536"/>
                </a:cubicBezTo>
                <a:cubicBezTo>
                  <a:pt x="4564968" y="2797196"/>
                  <a:pt x="4584046" y="2928857"/>
                  <a:pt x="4556440" y="3071121"/>
                </a:cubicBezTo>
                <a:cubicBezTo>
                  <a:pt x="4533098" y="3198524"/>
                  <a:pt x="4475718" y="3328096"/>
                  <a:pt x="4401427" y="3432203"/>
                </a:cubicBezTo>
                <a:cubicBezTo>
                  <a:pt x="4329160" y="3531972"/>
                  <a:pt x="4231527" y="3616961"/>
                  <a:pt x="4101952" y="3631822"/>
                </a:cubicBezTo>
                <a:cubicBezTo>
                  <a:pt x="4034021" y="3640337"/>
                  <a:pt x="3968186" y="3625476"/>
                  <a:pt x="3912901" y="3595674"/>
                </a:cubicBezTo>
                <a:cubicBezTo>
                  <a:pt x="3891727" y="3650941"/>
                  <a:pt x="3859857" y="3704038"/>
                  <a:pt x="3815268" y="3750710"/>
                </a:cubicBezTo>
                <a:cubicBezTo>
                  <a:pt x="3619858" y="3956756"/>
                  <a:pt x="3297041" y="3933380"/>
                  <a:pt x="3080384" y="3778343"/>
                </a:cubicBezTo>
                <a:cubicBezTo>
                  <a:pt x="3042154" y="3750790"/>
                  <a:pt x="3023076" y="3701870"/>
                  <a:pt x="3048586" y="3657287"/>
                </a:cubicBezTo>
                <a:cubicBezTo>
                  <a:pt x="3071929" y="3619050"/>
                  <a:pt x="3131404" y="3597843"/>
                  <a:pt x="3169634" y="3625476"/>
                </a:cubicBezTo>
                <a:cubicBezTo>
                  <a:pt x="3322551" y="3733760"/>
                  <a:pt x="3545495" y="3776255"/>
                  <a:pt x="3689957" y="3625476"/>
                </a:cubicBezTo>
                <a:cubicBezTo>
                  <a:pt x="3840706" y="3468271"/>
                  <a:pt x="3757888" y="3221900"/>
                  <a:pt x="3668711" y="3058429"/>
                </a:cubicBezTo>
                <a:cubicBezTo>
                  <a:pt x="3615594" y="2958579"/>
                  <a:pt x="3766416" y="2869413"/>
                  <a:pt x="3821628" y="2969182"/>
                </a:cubicBezTo>
                <a:cubicBezTo>
                  <a:pt x="3891727" y="3096666"/>
                  <a:pt x="3944771" y="3247445"/>
                  <a:pt x="3946939" y="3393966"/>
                </a:cubicBezTo>
                <a:cubicBezTo>
                  <a:pt x="3951131" y="3398223"/>
                  <a:pt x="3955394" y="3404569"/>
                  <a:pt x="3959658" y="3410915"/>
                </a:cubicBezTo>
                <a:cubicBezTo>
                  <a:pt x="4008511" y="3487389"/>
                  <a:pt x="4121031" y="3461925"/>
                  <a:pt x="4182675" y="3413084"/>
                </a:cubicBezTo>
                <a:cubicBezTo>
                  <a:pt x="4280380" y="3336610"/>
                  <a:pt x="4341951" y="3200693"/>
                  <a:pt x="4373821" y="3083893"/>
                </a:cubicBezTo>
                <a:cubicBezTo>
                  <a:pt x="4407787" y="2952233"/>
                  <a:pt x="4390804" y="2829007"/>
                  <a:pt x="4333424" y="2707950"/>
                </a:cubicBezTo>
                <a:cubicBezTo>
                  <a:pt x="4278212" y="2589062"/>
                  <a:pt x="4206017" y="2472263"/>
                  <a:pt x="4182675" y="2340602"/>
                </a:cubicBezTo>
                <a:cubicBezTo>
                  <a:pt x="4174147" y="2293851"/>
                  <a:pt x="4195394" y="2245010"/>
                  <a:pt x="4244246" y="2232238"/>
                </a:cubicBezTo>
                <a:cubicBezTo>
                  <a:pt x="4254870" y="2229587"/>
                  <a:pt x="4266419" y="2229190"/>
                  <a:pt x="4277900" y="2230817"/>
                </a:cubicBezTo>
                <a:close/>
                <a:moveTo>
                  <a:pt x="3617504" y="1274149"/>
                </a:moveTo>
                <a:cubicBezTo>
                  <a:pt x="3661573" y="1274149"/>
                  <a:pt x="3704576" y="1302289"/>
                  <a:pt x="3702456" y="1358569"/>
                </a:cubicBezTo>
                <a:cubicBezTo>
                  <a:pt x="3698216" y="1479625"/>
                  <a:pt x="3647230" y="1583691"/>
                  <a:pt x="3560179" y="1666519"/>
                </a:cubicBezTo>
                <a:cubicBezTo>
                  <a:pt x="3415755" y="1804565"/>
                  <a:pt x="3218252" y="1870402"/>
                  <a:pt x="3033468" y="1936240"/>
                </a:cubicBezTo>
                <a:cubicBezTo>
                  <a:pt x="2925164" y="1974468"/>
                  <a:pt x="2795606" y="2010572"/>
                  <a:pt x="2691541" y="1942611"/>
                </a:cubicBezTo>
                <a:cubicBezTo>
                  <a:pt x="2576850" y="1866155"/>
                  <a:pt x="2591716" y="1732356"/>
                  <a:pt x="2553504" y="1615548"/>
                </a:cubicBezTo>
                <a:cubicBezTo>
                  <a:pt x="2517384" y="1507235"/>
                  <a:pt x="2687301" y="1462635"/>
                  <a:pt x="2723366" y="1568824"/>
                </a:cubicBezTo>
                <a:cubicBezTo>
                  <a:pt x="2742527" y="1628290"/>
                  <a:pt x="2742527" y="1692004"/>
                  <a:pt x="2761633" y="1751470"/>
                </a:cubicBezTo>
                <a:cubicBezTo>
                  <a:pt x="2776500" y="1798193"/>
                  <a:pt x="2804085" y="1808812"/>
                  <a:pt x="2850832" y="1804565"/>
                </a:cubicBezTo>
                <a:cubicBezTo>
                  <a:pt x="2901763" y="1800317"/>
                  <a:pt x="2954897" y="1779079"/>
                  <a:pt x="3003735" y="1757841"/>
                </a:cubicBezTo>
                <a:cubicBezTo>
                  <a:pt x="3048335" y="1742975"/>
                  <a:pt x="3092934" y="1725985"/>
                  <a:pt x="3137533" y="1708994"/>
                </a:cubicBezTo>
                <a:cubicBezTo>
                  <a:pt x="3224584" y="1677137"/>
                  <a:pt x="3324409" y="1630414"/>
                  <a:pt x="3396649" y="1575196"/>
                </a:cubicBezTo>
                <a:cubicBezTo>
                  <a:pt x="3473073" y="1515730"/>
                  <a:pt x="3521912" y="1445645"/>
                  <a:pt x="3526152" y="1358569"/>
                </a:cubicBezTo>
                <a:cubicBezTo>
                  <a:pt x="3528299" y="1302289"/>
                  <a:pt x="3573435" y="1274149"/>
                  <a:pt x="3617504" y="1274149"/>
                </a:cubicBezTo>
                <a:close/>
                <a:moveTo>
                  <a:pt x="418294" y="998109"/>
                </a:moveTo>
                <a:cubicBezTo>
                  <a:pt x="441654" y="998642"/>
                  <a:pt x="465013" y="1007668"/>
                  <a:pt x="480954" y="1023586"/>
                </a:cubicBezTo>
                <a:cubicBezTo>
                  <a:pt x="517064" y="1059691"/>
                  <a:pt x="510666" y="1112782"/>
                  <a:pt x="480954" y="1148887"/>
                </a:cubicBezTo>
                <a:cubicBezTo>
                  <a:pt x="478821" y="1151022"/>
                  <a:pt x="466061" y="1168007"/>
                  <a:pt x="466061" y="1168007"/>
                </a:cubicBezTo>
                <a:cubicBezTo>
                  <a:pt x="459700" y="1176453"/>
                  <a:pt x="455471" y="1182857"/>
                  <a:pt x="449072" y="1191396"/>
                </a:cubicBezTo>
                <a:cubicBezTo>
                  <a:pt x="436349" y="1208381"/>
                  <a:pt x="423589" y="1227501"/>
                  <a:pt x="410866" y="1246621"/>
                </a:cubicBezTo>
                <a:cubicBezTo>
                  <a:pt x="383250" y="1289037"/>
                  <a:pt x="357767" y="1331547"/>
                  <a:pt x="334417" y="1373963"/>
                </a:cubicBezTo>
                <a:cubicBezTo>
                  <a:pt x="285547" y="1463159"/>
                  <a:pt x="243075" y="1558758"/>
                  <a:pt x="213364" y="1656493"/>
                </a:cubicBezTo>
                <a:cubicBezTo>
                  <a:pt x="183615" y="1751999"/>
                  <a:pt x="164493" y="1845464"/>
                  <a:pt x="179386" y="1945241"/>
                </a:cubicBezTo>
                <a:cubicBezTo>
                  <a:pt x="185748" y="1996289"/>
                  <a:pt x="204869" y="2042975"/>
                  <a:pt x="236714" y="2085484"/>
                </a:cubicBezTo>
                <a:cubicBezTo>
                  <a:pt x="294041" y="2032394"/>
                  <a:pt x="355635" y="1985615"/>
                  <a:pt x="425722" y="1949510"/>
                </a:cubicBezTo>
                <a:cubicBezTo>
                  <a:pt x="527654" y="1898555"/>
                  <a:pt x="614731" y="2051514"/>
                  <a:pt x="514931" y="2102469"/>
                </a:cubicBezTo>
                <a:cubicBezTo>
                  <a:pt x="429988" y="2147021"/>
                  <a:pt x="353502" y="2208650"/>
                  <a:pt x="294041" y="2285037"/>
                </a:cubicBezTo>
                <a:cubicBezTo>
                  <a:pt x="234581" y="2363651"/>
                  <a:pt x="179386" y="2469832"/>
                  <a:pt x="183615" y="2569701"/>
                </a:cubicBezTo>
                <a:cubicBezTo>
                  <a:pt x="187881" y="2661031"/>
                  <a:pt x="264330" y="2718298"/>
                  <a:pt x="342911" y="2750226"/>
                </a:cubicBezTo>
                <a:cubicBezTo>
                  <a:pt x="440578" y="2790508"/>
                  <a:pt x="553137" y="2807493"/>
                  <a:pt x="659335" y="2811763"/>
                </a:cubicBezTo>
                <a:cubicBezTo>
                  <a:pt x="771894" y="2816032"/>
                  <a:pt x="771894" y="2992288"/>
                  <a:pt x="657202" y="2985884"/>
                </a:cubicBezTo>
                <a:cubicBezTo>
                  <a:pt x="408734" y="2973169"/>
                  <a:pt x="41344" y="2898824"/>
                  <a:pt x="7366" y="2597267"/>
                </a:cubicBezTo>
                <a:cubicBezTo>
                  <a:pt x="-7526" y="2465562"/>
                  <a:pt x="47705" y="2329681"/>
                  <a:pt x="119926" y="2221366"/>
                </a:cubicBezTo>
                <a:cubicBezTo>
                  <a:pt x="-22382" y="2064230"/>
                  <a:pt x="-20250" y="1828479"/>
                  <a:pt x="34945" y="1628834"/>
                </a:cubicBezTo>
                <a:cubicBezTo>
                  <a:pt x="96538" y="1410068"/>
                  <a:pt x="213364" y="1199842"/>
                  <a:pt x="355635" y="1023586"/>
                </a:cubicBezTo>
                <a:cubicBezTo>
                  <a:pt x="371575" y="1005534"/>
                  <a:pt x="394935" y="997575"/>
                  <a:pt x="418294" y="998109"/>
                </a:cubicBezTo>
                <a:close/>
                <a:moveTo>
                  <a:pt x="3915473" y="807576"/>
                </a:moveTo>
                <a:cubicBezTo>
                  <a:pt x="3926904" y="806115"/>
                  <a:pt x="3939479" y="807177"/>
                  <a:pt x="3953016" y="811426"/>
                </a:cubicBezTo>
                <a:cubicBezTo>
                  <a:pt x="4099563" y="858149"/>
                  <a:pt x="4226965" y="943081"/>
                  <a:pt x="4314039" y="1072660"/>
                </a:cubicBezTo>
                <a:cubicBezTo>
                  <a:pt x="4452090" y="1280802"/>
                  <a:pt x="4447823" y="1556849"/>
                  <a:pt x="4350138" y="1779874"/>
                </a:cubicBezTo>
                <a:cubicBezTo>
                  <a:pt x="4303429" y="1890279"/>
                  <a:pt x="4229079" y="1992239"/>
                  <a:pt x="4135661" y="2066581"/>
                </a:cubicBezTo>
                <a:cubicBezTo>
                  <a:pt x="4020984" y="2160027"/>
                  <a:pt x="3823462" y="2272578"/>
                  <a:pt x="3698174" y="2138777"/>
                </a:cubicBezTo>
                <a:cubicBezTo>
                  <a:pt x="3621710" y="2055921"/>
                  <a:pt x="3744883" y="1930634"/>
                  <a:pt x="3821347" y="2011344"/>
                </a:cubicBezTo>
                <a:cubicBezTo>
                  <a:pt x="3851064" y="2043185"/>
                  <a:pt x="3927528" y="1992239"/>
                  <a:pt x="3959398" y="1973135"/>
                </a:cubicBezTo>
                <a:cubicBezTo>
                  <a:pt x="4008221" y="1943370"/>
                  <a:pt x="4037976" y="1917898"/>
                  <a:pt x="4080418" y="1873320"/>
                </a:cubicBezTo>
                <a:cubicBezTo>
                  <a:pt x="4139890" y="1807493"/>
                  <a:pt x="4188752" y="1722491"/>
                  <a:pt x="4214240" y="1637559"/>
                </a:cubicBezTo>
                <a:cubicBezTo>
                  <a:pt x="4222736" y="1612086"/>
                  <a:pt x="4229079" y="1588690"/>
                  <a:pt x="4233346" y="1563217"/>
                </a:cubicBezTo>
                <a:cubicBezTo>
                  <a:pt x="4235461" y="1552627"/>
                  <a:pt x="4237575" y="1541967"/>
                  <a:pt x="4239728" y="1531376"/>
                </a:cubicBezTo>
                <a:cubicBezTo>
                  <a:pt x="4239728" y="1531376"/>
                  <a:pt x="4241842" y="1512272"/>
                  <a:pt x="4241842" y="1508049"/>
                </a:cubicBezTo>
                <a:cubicBezTo>
                  <a:pt x="4243957" y="1480431"/>
                  <a:pt x="4243957" y="1454958"/>
                  <a:pt x="4243957" y="1427340"/>
                </a:cubicBezTo>
                <a:cubicBezTo>
                  <a:pt x="4243957" y="1414603"/>
                  <a:pt x="4241842" y="1403943"/>
                  <a:pt x="4241842" y="1391207"/>
                </a:cubicBezTo>
                <a:cubicBezTo>
                  <a:pt x="4241842" y="1386985"/>
                  <a:pt x="4239728" y="1369957"/>
                  <a:pt x="4239728" y="1367880"/>
                </a:cubicBezTo>
                <a:cubicBezTo>
                  <a:pt x="4233346" y="1325379"/>
                  <a:pt x="4222736" y="1280802"/>
                  <a:pt x="4205744" y="1240447"/>
                </a:cubicBezTo>
                <a:cubicBezTo>
                  <a:pt x="4205744" y="1240447"/>
                  <a:pt x="4195134" y="1217051"/>
                  <a:pt x="4192981" y="1212829"/>
                </a:cubicBezTo>
                <a:cubicBezTo>
                  <a:pt x="4186638" y="1202169"/>
                  <a:pt x="4182370" y="1193725"/>
                  <a:pt x="4175989" y="1183065"/>
                </a:cubicBezTo>
                <a:cubicBezTo>
                  <a:pt x="4169645" y="1172474"/>
                  <a:pt x="4163264" y="1163960"/>
                  <a:pt x="4156882" y="1153370"/>
                </a:cubicBezTo>
                <a:cubicBezTo>
                  <a:pt x="4148386" y="1140633"/>
                  <a:pt x="4150539" y="1142710"/>
                  <a:pt x="4144157" y="1136341"/>
                </a:cubicBezTo>
                <a:cubicBezTo>
                  <a:pt x="4080418" y="1057778"/>
                  <a:pt x="4001878" y="1011055"/>
                  <a:pt x="3906307" y="981290"/>
                </a:cubicBezTo>
                <a:cubicBezTo>
                  <a:pt x="3811515" y="951612"/>
                  <a:pt x="3835457" y="817797"/>
                  <a:pt x="3915473" y="807576"/>
                </a:cubicBezTo>
                <a:close/>
                <a:moveTo>
                  <a:pt x="1197932" y="403636"/>
                </a:moveTo>
                <a:cubicBezTo>
                  <a:pt x="1220026" y="404373"/>
                  <a:pt x="1242390" y="407027"/>
                  <a:pt x="1264953" y="411804"/>
                </a:cubicBezTo>
                <a:cubicBezTo>
                  <a:pt x="1369033" y="433071"/>
                  <a:pt x="1324435" y="592327"/>
                  <a:pt x="1220356" y="571060"/>
                </a:cubicBezTo>
                <a:cubicBezTo>
                  <a:pt x="1084445" y="541348"/>
                  <a:pt x="948534" y="662385"/>
                  <a:pt x="874224" y="762216"/>
                </a:cubicBezTo>
                <a:cubicBezTo>
                  <a:pt x="714899" y="976705"/>
                  <a:pt x="840218" y="1252806"/>
                  <a:pt x="1039848" y="1386603"/>
                </a:cubicBezTo>
                <a:cubicBezTo>
                  <a:pt x="1222474" y="1509766"/>
                  <a:pt x="1483704" y="1560745"/>
                  <a:pt x="1668449" y="1409935"/>
                </a:cubicBezTo>
                <a:cubicBezTo>
                  <a:pt x="1702455" y="1382349"/>
                  <a:pt x="1751289" y="1375969"/>
                  <a:pt x="1785239" y="1409935"/>
                </a:cubicBezTo>
                <a:cubicBezTo>
                  <a:pt x="1815008" y="1439708"/>
                  <a:pt x="1819245" y="1499133"/>
                  <a:pt x="1785239" y="1526780"/>
                </a:cubicBezTo>
                <a:cubicBezTo>
                  <a:pt x="1642973" y="1643563"/>
                  <a:pt x="1470938" y="1686036"/>
                  <a:pt x="1290430" y="1660577"/>
                </a:cubicBezTo>
                <a:cubicBezTo>
                  <a:pt x="993132" y="1618104"/>
                  <a:pt x="693715" y="1388729"/>
                  <a:pt x="644825" y="1080789"/>
                </a:cubicBezTo>
                <a:cubicBezTo>
                  <a:pt x="615112" y="898140"/>
                  <a:pt x="672476" y="732504"/>
                  <a:pt x="797739" y="598707"/>
                </a:cubicBezTo>
                <a:cubicBezTo>
                  <a:pt x="901832" y="487217"/>
                  <a:pt x="1043272" y="398475"/>
                  <a:pt x="1197932" y="403636"/>
                </a:cubicBezTo>
                <a:close/>
                <a:moveTo>
                  <a:pt x="3286497" y="276675"/>
                </a:moveTo>
                <a:cubicBezTo>
                  <a:pt x="3297846" y="278005"/>
                  <a:pt x="3309128" y="281326"/>
                  <a:pt x="3319746" y="286636"/>
                </a:cubicBezTo>
                <a:cubicBezTo>
                  <a:pt x="3462048" y="360959"/>
                  <a:pt x="3587337" y="477765"/>
                  <a:pt x="3631939" y="634933"/>
                </a:cubicBezTo>
                <a:cubicBezTo>
                  <a:pt x="3678671" y="796341"/>
                  <a:pt x="3627704" y="961989"/>
                  <a:pt x="3544864" y="1102156"/>
                </a:cubicBezTo>
                <a:cubicBezTo>
                  <a:pt x="3485402" y="1199840"/>
                  <a:pt x="3332500" y="1110635"/>
                  <a:pt x="3391962" y="1012951"/>
                </a:cubicBezTo>
                <a:cubicBezTo>
                  <a:pt x="3430199" y="951347"/>
                  <a:pt x="3453553" y="898265"/>
                  <a:pt x="3468413" y="826062"/>
                </a:cubicBezTo>
                <a:cubicBezTo>
                  <a:pt x="3468413" y="826062"/>
                  <a:pt x="3470542" y="815463"/>
                  <a:pt x="3470542" y="811180"/>
                </a:cubicBezTo>
                <a:cubicBezTo>
                  <a:pt x="3470542" y="806941"/>
                  <a:pt x="3472672" y="798461"/>
                  <a:pt x="3472672" y="796341"/>
                </a:cubicBezTo>
                <a:cubicBezTo>
                  <a:pt x="3472672" y="781459"/>
                  <a:pt x="3472672" y="766621"/>
                  <a:pt x="3472672" y="749619"/>
                </a:cubicBezTo>
                <a:cubicBezTo>
                  <a:pt x="3472672" y="743216"/>
                  <a:pt x="3470542" y="734737"/>
                  <a:pt x="3470542" y="728378"/>
                </a:cubicBezTo>
                <a:cubicBezTo>
                  <a:pt x="3470542" y="726258"/>
                  <a:pt x="3470542" y="724138"/>
                  <a:pt x="3470542" y="724138"/>
                </a:cubicBezTo>
                <a:cubicBezTo>
                  <a:pt x="3470542" y="724138"/>
                  <a:pt x="3470542" y="724138"/>
                  <a:pt x="3470542" y="722018"/>
                </a:cubicBezTo>
                <a:cubicBezTo>
                  <a:pt x="3468413" y="709256"/>
                  <a:pt x="3466283" y="694374"/>
                  <a:pt x="3462048" y="681656"/>
                </a:cubicBezTo>
                <a:cubicBezTo>
                  <a:pt x="3459918" y="675296"/>
                  <a:pt x="3457789" y="668893"/>
                  <a:pt x="3455683" y="662534"/>
                </a:cubicBezTo>
                <a:cubicBezTo>
                  <a:pt x="3453553" y="660414"/>
                  <a:pt x="3451424" y="651935"/>
                  <a:pt x="3449294" y="647652"/>
                </a:cubicBezTo>
                <a:cubicBezTo>
                  <a:pt x="3445059" y="634933"/>
                  <a:pt x="3438694" y="624291"/>
                  <a:pt x="3432305" y="613692"/>
                </a:cubicBezTo>
                <a:cubicBezTo>
                  <a:pt x="3425940" y="600929"/>
                  <a:pt x="3419575" y="590331"/>
                  <a:pt x="3411080" y="579732"/>
                </a:cubicBezTo>
                <a:cubicBezTo>
                  <a:pt x="3408951" y="577569"/>
                  <a:pt x="3400456" y="566969"/>
                  <a:pt x="3400456" y="566969"/>
                </a:cubicBezTo>
                <a:cubicBezTo>
                  <a:pt x="3396197" y="562730"/>
                  <a:pt x="3391962" y="558490"/>
                  <a:pt x="3387703" y="554251"/>
                </a:cubicBezTo>
                <a:cubicBezTo>
                  <a:pt x="3338865" y="501126"/>
                  <a:pt x="3292133" y="471405"/>
                  <a:pt x="3228435" y="437445"/>
                </a:cubicBezTo>
                <a:cubicBezTo>
                  <a:pt x="3185962" y="414084"/>
                  <a:pt x="3173209" y="356719"/>
                  <a:pt x="3198692" y="318476"/>
                </a:cubicBezTo>
                <a:cubicBezTo>
                  <a:pt x="3217805" y="286614"/>
                  <a:pt x="3252451" y="272686"/>
                  <a:pt x="3286497" y="276675"/>
                </a:cubicBezTo>
                <a:close/>
                <a:moveTo>
                  <a:pt x="2753580" y="2208"/>
                </a:moveTo>
                <a:cubicBezTo>
                  <a:pt x="2848611" y="8862"/>
                  <a:pt x="2943131" y="30108"/>
                  <a:pt x="3032365" y="59829"/>
                </a:cubicBezTo>
                <a:cubicBezTo>
                  <a:pt x="3138513" y="95875"/>
                  <a:pt x="3093896" y="265843"/>
                  <a:pt x="2985561" y="229797"/>
                </a:cubicBezTo>
                <a:cubicBezTo>
                  <a:pt x="2826338" y="174414"/>
                  <a:pt x="2645828" y="148871"/>
                  <a:pt x="2484419" y="212609"/>
                </a:cubicBezTo>
                <a:cubicBezTo>
                  <a:pt x="2323010" y="274198"/>
                  <a:pt x="2238003" y="435572"/>
                  <a:pt x="2250835" y="592888"/>
                </a:cubicBezTo>
                <a:cubicBezTo>
                  <a:pt x="2250835" y="592888"/>
                  <a:pt x="2250835" y="595037"/>
                  <a:pt x="2250835" y="595037"/>
                </a:cubicBezTo>
                <a:cubicBezTo>
                  <a:pt x="2255063" y="664981"/>
                  <a:pt x="2282621" y="737313"/>
                  <a:pt x="2329425" y="798903"/>
                </a:cubicBezTo>
                <a:cubicBezTo>
                  <a:pt x="2471734" y="979374"/>
                  <a:pt x="2741333" y="1007065"/>
                  <a:pt x="2947359" y="949534"/>
                </a:cubicBezTo>
                <a:cubicBezTo>
                  <a:pt x="3055694" y="917784"/>
                  <a:pt x="3102353" y="1089901"/>
                  <a:pt x="2994163" y="1119502"/>
                </a:cubicBezTo>
                <a:cubicBezTo>
                  <a:pt x="2832754" y="1164142"/>
                  <a:pt x="2654285" y="1166291"/>
                  <a:pt x="2495063" y="1113057"/>
                </a:cubicBezTo>
                <a:cubicBezTo>
                  <a:pt x="2414285" y="1085604"/>
                  <a:pt x="2337882" y="1043112"/>
                  <a:pt x="2274164" y="989878"/>
                </a:cubicBezTo>
                <a:cubicBezTo>
                  <a:pt x="2286849" y="1232177"/>
                  <a:pt x="2297493" y="1474238"/>
                  <a:pt x="2308137" y="1716299"/>
                </a:cubicBezTo>
                <a:cubicBezTo>
                  <a:pt x="2312366" y="1847833"/>
                  <a:pt x="2320822" y="1981754"/>
                  <a:pt x="2325197" y="2113289"/>
                </a:cubicBezTo>
                <a:cubicBezTo>
                  <a:pt x="2325197" y="2124031"/>
                  <a:pt x="2325197" y="2134534"/>
                  <a:pt x="2325197" y="2145277"/>
                </a:cubicBezTo>
                <a:cubicBezTo>
                  <a:pt x="2325197" y="2145277"/>
                  <a:pt x="2325197" y="2147425"/>
                  <a:pt x="2325197" y="2149574"/>
                </a:cubicBezTo>
                <a:cubicBezTo>
                  <a:pt x="2327238" y="2323600"/>
                  <a:pt x="2337882" y="2497865"/>
                  <a:pt x="2344297" y="2671891"/>
                </a:cubicBezTo>
                <a:cubicBezTo>
                  <a:pt x="2346339" y="2759023"/>
                  <a:pt x="2363398" y="2846156"/>
                  <a:pt x="2427116" y="2909894"/>
                </a:cubicBezTo>
                <a:cubicBezTo>
                  <a:pt x="2482232" y="2965038"/>
                  <a:pt x="2556594" y="2998936"/>
                  <a:pt x="2633143" y="2992729"/>
                </a:cubicBezTo>
                <a:cubicBezTo>
                  <a:pt x="2720190" y="2986284"/>
                  <a:pt x="2764808" y="2935198"/>
                  <a:pt x="2803009" y="2863105"/>
                </a:cubicBezTo>
                <a:cubicBezTo>
                  <a:pt x="2851855" y="2771675"/>
                  <a:pt x="2894285" y="2676188"/>
                  <a:pt x="2945318" y="2584758"/>
                </a:cubicBezTo>
                <a:cubicBezTo>
                  <a:pt x="3040822" y="2410732"/>
                  <a:pt x="3193775" y="2264159"/>
                  <a:pt x="3406071" y="2274901"/>
                </a:cubicBezTo>
                <a:cubicBezTo>
                  <a:pt x="3601454" y="2285405"/>
                  <a:pt x="3771320" y="2427681"/>
                  <a:pt x="3811709" y="2621044"/>
                </a:cubicBezTo>
                <a:cubicBezTo>
                  <a:pt x="3822353" y="2667594"/>
                  <a:pt x="3799023" y="2716531"/>
                  <a:pt x="3750178" y="2729183"/>
                </a:cubicBezTo>
                <a:cubicBezTo>
                  <a:pt x="3705560" y="2742074"/>
                  <a:pt x="3652486" y="2714383"/>
                  <a:pt x="3641842" y="2667594"/>
                </a:cubicBezTo>
                <a:cubicBezTo>
                  <a:pt x="3624783" y="2582849"/>
                  <a:pt x="3571709" y="2506220"/>
                  <a:pt x="3491077" y="2470173"/>
                </a:cubicBezTo>
                <a:cubicBezTo>
                  <a:pt x="3406071" y="2434127"/>
                  <a:pt x="3299923" y="2446779"/>
                  <a:pt x="3227748" y="2504071"/>
                </a:cubicBezTo>
                <a:cubicBezTo>
                  <a:pt x="3157614" y="2557306"/>
                  <a:pt x="3115184" y="2640141"/>
                  <a:pt x="3074795" y="2716531"/>
                </a:cubicBezTo>
                <a:cubicBezTo>
                  <a:pt x="3025950" y="2812019"/>
                  <a:pt x="2983519" y="2916100"/>
                  <a:pt x="2926217" y="3005381"/>
                </a:cubicBezTo>
                <a:cubicBezTo>
                  <a:pt x="2813653" y="3179407"/>
                  <a:pt x="2586339" y="3211396"/>
                  <a:pt x="2410057" y="3115670"/>
                </a:cubicBezTo>
                <a:cubicBezTo>
                  <a:pt x="2378271" y="3098720"/>
                  <a:pt x="2348526" y="3077474"/>
                  <a:pt x="2323010" y="3054080"/>
                </a:cubicBezTo>
                <a:cubicBezTo>
                  <a:pt x="2323010" y="3141212"/>
                  <a:pt x="2323010" y="3228345"/>
                  <a:pt x="2323010" y="3315477"/>
                </a:cubicBezTo>
                <a:cubicBezTo>
                  <a:pt x="2323010" y="3517195"/>
                  <a:pt x="2325197" y="3721061"/>
                  <a:pt x="2325197" y="3922778"/>
                </a:cubicBezTo>
                <a:cubicBezTo>
                  <a:pt x="2327238" y="3929224"/>
                  <a:pt x="2327238" y="3935430"/>
                  <a:pt x="2327238" y="3941876"/>
                </a:cubicBezTo>
                <a:cubicBezTo>
                  <a:pt x="2325197" y="3946173"/>
                  <a:pt x="2325197" y="3952618"/>
                  <a:pt x="2325197" y="3956676"/>
                </a:cubicBezTo>
                <a:cubicBezTo>
                  <a:pt x="2325197" y="3958825"/>
                  <a:pt x="2325197" y="3960973"/>
                  <a:pt x="2325197" y="3963122"/>
                </a:cubicBezTo>
                <a:cubicBezTo>
                  <a:pt x="2467359" y="3963122"/>
                  <a:pt x="2613896" y="3971716"/>
                  <a:pt x="2747748" y="4022563"/>
                </a:cubicBezTo>
                <a:cubicBezTo>
                  <a:pt x="2877371" y="4071500"/>
                  <a:pt x="2985561" y="4154336"/>
                  <a:pt x="3064151" y="4268921"/>
                </a:cubicBezTo>
                <a:cubicBezTo>
                  <a:pt x="3102353" y="4328362"/>
                  <a:pt x="3125828" y="4394248"/>
                  <a:pt x="3157614" y="4455838"/>
                </a:cubicBezTo>
                <a:cubicBezTo>
                  <a:pt x="3172487" y="4483529"/>
                  <a:pt x="3185172" y="4508833"/>
                  <a:pt x="3204418" y="4527931"/>
                </a:cubicBezTo>
                <a:cubicBezTo>
                  <a:pt x="3221332" y="4545119"/>
                  <a:pt x="3234018" y="4553474"/>
                  <a:pt x="3251077" y="4559919"/>
                </a:cubicBezTo>
                <a:cubicBezTo>
                  <a:pt x="3359412" y="4600263"/>
                  <a:pt x="3471976" y="4500478"/>
                  <a:pt x="3527091" y="4409049"/>
                </a:cubicBezTo>
                <a:cubicBezTo>
                  <a:pt x="3556836" y="4360350"/>
                  <a:pt x="3580311" y="4296612"/>
                  <a:pt x="3586581" y="4245526"/>
                </a:cubicBezTo>
                <a:cubicBezTo>
                  <a:pt x="3588768" y="4218074"/>
                  <a:pt x="3590810" y="4181788"/>
                  <a:pt x="3580311" y="4154336"/>
                </a:cubicBezTo>
                <a:cubicBezTo>
                  <a:pt x="3571709" y="4128793"/>
                  <a:pt x="3561065" y="4137387"/>
                  <a:pt x="3539923" y="4145742"/>
                </a:cubicBezTo>
                <a:cubicBezTo>
                  <a:pt x="3495305" y="4164839"/>
                  <a:pt x="3442231" y="4124496"/>
                  <a:pt x="3431587" y="4084152"/>
                </a:cubicBezTo>
                <a:cubicBezTo>
                  <a:pt x="3418902" y="4033305"/>
                  <a:pt x="3448647" y="3995110"/>
                  <a:pt x="3493118" y="3975774"/>
                </a:cubicBezTo>
                <a:cubicBezTo>
                  <a:pt x="3614285" y="3924927"/>
                  <a:pt x="3733118" y="4007762"/>
                  <a:pt x="3760822" y="4128793"/>
                </a:cubicBezTo>
                <a:cubicBezTo>
                  <a:pt x="3777735" y="4220222"/>
                  <a:pt x="3762863" y="4315710"/>
                  <a:pt x="3728890" y="4402842"/>
                </a:cubicBezTo>
                <a:cubicBezTo>
                  <a:pt x="3667359" y="4551325"/>
                  <a:pt x="3544151" y="4700047"/>
                  <a:pt x="3380700" y="4733945"/>
                </a:cubicBezTo>
                <a:cubicBezTo>
                  <a:pt x="3297736" y="4751133"/>
                  <a:pt x="3206460" y="4744688"/>
                  <a:pt x="3134285" y="4695750"/>
                </a:cubicBezTo>
                <a:cubicBezTo>
                  <a:pt x="3068380" y="4651110"/>
                  <a:pt x="3025950" y="4583314"/>
                  <a:pt x="2994163" y="4513130"/>
                </a:cubicBezTo>
                <a:cubicBezTo>
                  <a:pt x="2962231" y="4441037"/>
                  <a:pt x="2932487" y="4370854"/>
                  <a:pt x="2879413" y="4311413"/>
                </a:cubicBezTo>
                <a:cubicBezTo>
                  <a:pt x="2832754" y="4260566"/>
                  <a:pt x="2781721" y="4224280"/>
                  <a:pt x="2718003" y="4196828"/>
                </a:cubicBezTo>
                <a:cubicBezTo>
                  <a:pt x="2601211" y="4145742"/>
                  <a:pt x="2461090" y="4137387"/>
                  <a:pt x="2329425" y="4137387"/>
                </a:cubicBezTo>
                <a:cubicBezTo>
                  <a:pt x="2329425" y="4139296"/>
                  <a:pt x="2329425" y="4141445"/>
                  <a:pt x="2329425" y="4143593"/>
                </a:cubicBezTo>
                <a:cubicBezTo>
                  <a:pt x="2331466" y="4179640"/>
                  <a:pt x="2333654" y="4218074"/>
                  <a:pt x="2335695" y="4254120"/>
                </a:cubicBezTo>
                <a:cubicBezTo>
                  <a:pt x="2340069" y="4351756"/>
                  <a:pt x="2348526" y="4449392"/>
                  <a:pt x="2346339" y="4547267"/>
                </a:cubicBezTo>
                <a:cubicBezTo>
                  <a:pt x="2348526" y="4549177"/>
                  <a:pt x="2348526" y="4553474"/>
                  <a:pt x="2348526" y="4555622"/>
                </a:cubicBezTo>
                <a:cubicBezTo>
                  <a:pt x="2376084" y="4695750"/>
                  <a:pt x="2448259" y="4857124"/>
                  <a:pt x="2596983" y="4901765"/>
                </a:cubicBezTo>
                <a:cubicBezTo>
                  <a:pt x="2724419" y="4939960"/>
                  <a:pt x="2862499" y="4897468"/>
                  <a:pt x="2945318" y="4795535"/>
                </a:cubicBezTo>
                <a:cubicBezTo>
                  <a:pt x="2977104" y="4759488"/>
                  <a:pt x="3038781" y="4763785"/>
                  <a:pt x="3070567" y="4795535"/>
                </a:cubicBezTo>
                <a:cubicBezTo>
                  <a:pt x="3106727" y="4831820"/>
                  <a:pt x="3100312" y="4884816"/>
                  <a:pt x="3070567" y="4920862"/>
                </a:cubicBezTo>
                <a:cubicBezTo>
                  <a:pt x="2949546" y="5071733"/>
                  <a:pt x="2728647" y="5131174"/>
                  <a:pt x="2545950" y="5071733"/>
                </a:cubicBezTo>
                <a:cubicBezTo>
                  <a:pt x="2424929" y="5031389"/>
                  <a:pt x="2333654" y="4946405"/>
                  <a:pt x="2269935" y="4842324"/>
                </a:cubicBezTo>
                <a:cubicBezTo>
                  <a:pt x="2265707" y="4848769"/>
                  <a:pt x="2263520" y="4854976"/>
                  <a:pt x="2259291" y="4861421"/>
                </a:cubicBezTo>
                <a:cubicBezTo>
                  <a:pt x="2184929" y="4976245"/>
                  <a:pt x="2063909" y="5063139"/>
                  <a:pt x="1928016" y="5086533"/>
                </a:cubicBezTo>
                <a:cubicBezTo>
                  <a:pt x="1777250" y="5114224"/>
                  <a:pt x="1632755" y="5071733"/>
                  <a:pt x="1513921" y="4978155"/>
                </a:cubicBezTo>
                <a:cubicBezTo>
                  <a:pt x="1475720" y="4948554"/>
                  <a:pt x="1484176" y="4882667"/>
                  <a:pt x="1513921" y="4853066"/>
                </a:cubicBezTo>
                <a:cubicBezTo>
                  <a:pt x="1552123" y="4816781"/>
                  <a:pt x="1600969" y="4823226"/>
                  <a:pt x="1639170" y="4853066"/>
                </a:cubicBezTo>
                <a:cubicBezTo>
                  <a:pt x="1732633" y="4925159"/>
                  <a:pt x="1870713" y="4939960"/>
                  <a:pt x="1976861" y="4886964"/>
                </a:cubicBezTo>
                <a:cubicBezTo>
                  <a:pt x="2074553" y="4840175"/>
                  <a:pt x="2136084" y="4751133"/>
                  <a:pt x="2165829" y="4649200"/>
                </a:cubicBezTo>
                <a:cubicBezTo>
                  <a:pt x="2168016" y="4642755"/>
                  <a:pt x="2168016" y="4636309"/>
                  <a:pt x="2170057" y="4629864"/>
                </a:cubicBezTo>
                <a:cubicBezTo>
                  <a:pt x="2170057" y="4629864"/>
                  <a:pt x="2170057" y="4627954"/>
                  <a:pt x="2170057" y="4627954"/>
                </a:cubicBezTo>
                <a:cubicBezTo>
                  <a:pt x="2170057" y="4625806"/>
                  <a:pt x="2170057" y="4625806"/>
                  <a:pt x="2170057" y="4625806"/>
                </a:cubicBezTo>
                <a:cubicBezTo>
                  <a:pt x="2172244" y="4606708"/>
                  <a:pt x="2174431" y="4589520"/>
                  <a:pt x="2174431" y="4572571"/>
                </a:cubicBezTo>
                <a:cubicBezTo>
                  <a:pt x="2174431" y="4568513"/>
                  <a:pt x="2174431" y="4566365"/>
                  <a:pt x="2174431" y="4562068"/>
                </a:cubicBezTo>
                <a:cubicBezTo>
                  <a:pt x="2153143" y="4428146"/>
                  <a:pt x="2153143" y="4288018"/>
                  <a:pt x="2155185" y="4152187"/>
                </a:cubicBezTo>
                <a:cubicBezTo>
                  <a:pt x="2153143" y="4086301"/>
                  <a:pt x="2150956" y="4020414"/>
                  <a:pt x="2157372" y="3956676"/>
                </a:cubicBezTo>
                <a:cubicBezTo>
                  <a:pt x="2157372" y="3897235"/>
                  <a:pt x="2157372" y="3837794"/>
                  <a:pt x="2157372" y="3778353"/>
                </a:cubicBezTo>
                <a:cubicBezTo>
                  <a:pt x="2146728" y="3791005"/>
                  <a:pt x="2136084" y="3803896"/>
                  <a:pt x="2123398" y="3816548"/>
                </a:cubicBezTo>
                <a:cubicBezTo>
                  <a:pt x="2008648" y="3931372"/>
                  <a:pt x="1826096" y="3986516"/>
                  <a:pt x="1671102" y="3920630"/>
                </a:cubicBezTo>
                <a:cubicBezTo>
                  <a:pt x="1513921" y="3854743"/>
                  <a:pt x="1471345" y="3691221"/>
                  <a:pt x="1405586" y="3551093"/>
                </a:cubicBezTo>
                <a:cubicBezTo>
                  <a:pt x="1348283" y="3430062"/>
                  <a:pt x="1246364" y="3300438"/>
                  <a:pt x="1106096" y="3279192"/>
                </a:cubicBezTo>
                <a:cubicBezTo>
                  <a:pt x="993533" y="3262243"/>
                  <a:pt x="870471" y="3330278"/>
                  <a:pt x="851224" y="3444863"/>
                </a:cubicBezTo>
                <a:cubicBezTo>
                  <a:pt x="842767" y="3491652"/>
                  <a:pt x="785465" y="3517195"/>
                  <a:pt x="743035" y="3506452"/>
                </a:cubicBezTo>
                <a:cubicBezTo>
                  <a:pt x="694189" y="3493800"/>
                  <a:pt x="672901" y="3444863"/>
                  <a:pt x="681358" y="3398313"/>
                </a:cubicBezTo>
                <a:cubicBezTo>
                  <a:pt x="709061" y="3224048"/>
                  <a:pt x="880969" y="3115670"/>
                  <a:pt x="1048794" y="3103017"/>
                </a:cubicBezTo>
                <a:cubicBezTo>
                  <a:pt x="1205975" y="3090365"/>
                  <a:pt x="1356740" y="3181556"/>
                  <a:pt x="1454432" y="3300438"/>
                </a:cubicBezTo>
                <a:cubicBezTo>
                  <a:pt x="1503277" y="3360118"/>
                  <a:pt x="1543666" y="3425765"/>
                  <a:pt x="1573411" y="3495949"/>
                </a:cubicBezTo>
                <a:cubicBezTo>
                  <a:pt x="1603156" y="3563984"/>
                  <a:pt x="1626485" y="3638225"/>
                  <a:pt x="1671102" y="3699815"/>
                </a:cubicBezTo>
                <a:cubicBezTo>
                  <a:pt x="1709304" y="3754959"/>
                  <a:pt x="1766606" y="3778353"/>
                  <a:pt x="1832512" y="3771908"/>
                </a:cubicBezTo>
                <a:cubicBezTo>
                  <a:pt x="1898271" y="3765701"/>
                  <a:pt x="1942888" y="3744455"/>
                  <a:pt x="1989547" y="3699815"/>
                </a:cubicBezTo>
                <a:cubicBezTo>
                  <a:pt x="2097882" y="3600030"/>
                  <a:pt x="2150956" y="3449160"/>
                  <a:pt x="2153143" y="3302586"/>
                </a:cubicBezTo>
                <a:cubicBezTo>
                  <a:pt x="2153143" y="3296380"/>
                  <a:pt x="2155185" y="3292083"/>
                  <a:pt x="2155185" y="3285637"/>
                </a:cubicBezTo>
                <a:cubicBezTo>
                  <a:pt x="2155185" y="3079623"/>
                  <a:pt x="2153143" y="2873608"/>
                  <a:pt x="2153143" y="2667594"/>
                </a:cubicBezTo>
                <a:cubicBezTo>
                  <a:pt x="2042621" y="2761172"/>
                  <a:pt x="1889814" y="2799367"/>
                  <a:pt x="1749693" y="2716531"/>
                </a:cubicBezTo>
                <a:cubicBezTo>
                  <a:pt x="1647627" y="2657090"/>
                  <a:pt x="1607384" y="2553009"/>
                  <a:pt x="1605197" y="2440333"/>
                </a:cubicBezTo>
                <a:cubicBezTo>
                  <a:pt x="1603156" y="2387338"/>
                  <a:pt x="1613654" y="2323600"/>
                  <a:pt x="1592512" y="2272753"/>
                </a:cubicBezTo>
                <a:cubicBezTo>
                  <a:pt x="1577639" y="2234558"/>
                  <a:pt x="1539438" y="2213312"/>
                  <a:pt x="1505464" y="2196124"/>
                </a:cubicBezTo>
                <a:cubicBezTo>
                  <a:pt x="1341868" y="2119734"/>
                  <a:pt x="1050981" y="2119734"/>
                  <a:pt x="1017008" y="2346994"/>
                </a:cubicBezTo>
                <a:cubicBezTo>
                  <a:pt x="1010592" y="2393783"/>
                  <a:pt x="951103" y="2419326"/>
                  <a:pt x="908673" y="2408584"/>
                </a:cubicBezTo>
                <a:cubicBezTo>
                  <a:pt x="859827" y="2395932"/>
                  <a:pt x="840726" y="2346994"/>
                  <a:pt x="846996" y="2300205"/>
                </a:cubicBezTo>
                <a:cubicBezTo>
                  <a:pt x="866097" y="2179175"/>
                  <a:pt x="957518" y="2075093"/>
                  <a:pt x="1065853" y="2022098"/>
                </a:cubicBezTo>
                <a:cubicBezTo>
                  <a:pt x="1191103" y="1962657"/>
                  <a:pt x="1337639" y="1964805"/>
                  <a:pt x="1471345" y="2000852"/>
                </a:cubicBezTo>
                <a:cubicBezTo>
                  <a:pt x="1579681" y="2030692"/>
                  <a:pt x="1692244" y="2083687"/>
                  <a:pt x="1745318" y="2185620"/>
                </a:cubicBezTo>
                <a:cubicBezTo>
                  <a:pt x="1775063" y="2242913"/>
                  <a:pt x="1781479" y="2306651"/>
                  <a:pt x="1781479" y="2370389"/>
                </a:cubicBezTo>
                <a:cubicBezTo>
                  <a:pt x="1781479" y="2419326"/>
                  <a:pt x="1773022" y="2474470"/>
                  <a:pt x="1792123" y="2519111"/>
                </a:cubicBezTo>
                <a:cubicBezTo>
                  <a:pt x="1819681" y="2582849"/>
                  <a:pt x="1906728" y="2601946"/>
                  <a:pt x="1966217" y="2582849"/>
                </a:cubicBezTo>
                <a:cubicBezTo>
                  <a:pt x="2046995" y="2557306"/>
                  <a:pt x="2102110" y="2476619"/>
                  <a:pt x="2127627" y="2398080"/>
                </a:cubicBezTo>
                <a:cubicBezTo>
                  <a:pt x="2150956" y="2325748"/>
                  <a:pt x="2155185" y="2247210"/>
                  <a:pt x="2155185" y="2170820"/>
                </a:cubicBezTo>
                <a:cubicBezTo>
                  <a:pt x="2155185" y="2164374"/>
                  <a:pt x="2155185" y="2160077"/>
                  <a:pt x="2155185" y="2153871"/>
                </a:cubicBezTo>
                <a:cubicBezTo>
                  <a:pt x="2155185" y="2153871"/>
                  <a:pt x="2155185" y="2151722"/>
                  <a:pt x="2155185" y="2151722"/>
                </a:cubicBezTo>
                <a:cubicBezTo>
                  <a:pt x="2153143" y="2107082"/>
                  <a:pt x="2150956" y="2060293"/>
                  <a:pt x="2148915" y="2015652"/>
                </a:cubicBezTo>
                <a:cubicBezTo>
                  <a:pt x="2142499" y="1879821"/>
                  <a:pt x="2136084" y="1741842"/>
                  <a:pt x="2129814" y="1605772"/>
                </a:cubicBezTo>
                <a:cubicBezTo>
                  <a:pt x="2121211" y="1404055"/>
                  <a:pt x="2110713" y="1202337"/>
                  <a:pt x="2102110" y="1000620"/>
                </a:cubicBezTo>
                <a:cubicBezTo>
                  <a:pt x="2072366" y="1032370"/>
                  <a:pt x="2040580" y="1060061"/>
                  <a:pt x="2002378" y="1081307"/>
                </a:cubicBezTo>
                <a:cubicBezTo>
                  <a:pt x="1840968" y="1176795"/>
                  <a:pt x="1649814" y="1157697"/>
                  <a:pt x="1471345" y="1134303"/>
                </a:cubicBezTo>
                <a:cubicBezTo>
                  <a:pt x="1424687" y="1130244"/>
                  <a:pt x="1384298" y="1100404"/>
                  <a:pt x="1384298" y="1047409"/>
                </a:cubicBezTo>
                <a:cubicBezTo>
                  <a:pt x="1384298" y="1004917"/>
                  <a:pt x="1424687" y="953831"/>
                  <a:pt x="1471345" y="960276"/>
                </a:cubicBezTo>
                <a:cubicBezTo>
                  <a:pt x="1569037" y="970780"/>
                  <a:pt x="1666728" y="985819"/>
                  <a:pt x="1764419" y="977225"/>
                </a:cubicBezTo>
                <a:cubicBezTo>
                  <a:pt x="1832512" y="970780"/>
                  <a:pt x="1885586" y="951683"/>
                  <a:pt x="1938660" y="915636"/>
                </a:cubicBezTo>
                <a:cubicBezTo>
                  <a:pt x="1949304" y="907042"/>
                  <a:pt x="1970446" y="890093"/>
                  <a:pt x="1985318" y="873144"/>
                </a:cubicBezTo>
                <a:cubicBezTo>
                  <a:pt x="2002378" y="854047"/>
                  <a:pt x="2004419" y="851898"/>
                  <a:pt x="2019292" y="828504"/>
                </a:cubicBezTo>
                <a:cubicBezTo>
                  <a:pt x="2044808" y="786012"/>
                  <a:pt x="2055452" y="758559"/>
                  <a:pt x="2068137" y="707473"/>
                </a:cubicBezTo>
                <a:cubicBezTo>
                  <a:pt x="2076740" y="673575"/>
                  <a:pt x="2078781" y="639677"/>
                  <a:pt x="2078781" y="601243"/>
                </a:cubicBezTo>
                <a:cubicBezTo>
                  <a:pt x="2076740" y="590739"/>
                  <a:pt x="2076740" y="579997"/>
                  <a:pt x="2076740" y="569494"/>
                </a:cubicBezTo>
                <a:cubicBezTo>
                  <a:pt x="2074553" y="531299"/>
                  <a:pt x="2066096" y="490955"/>
                  <a:pt x="2049036" y="444166"/>
                </a:cubicBezTo>
                <a:cubicBezTo>
                  <a:pt x="2038392" y="416475"/>
                  <a:pt x="2008648" y="359182"/>
                  <a:pt x="1989547" y="337936"/>
                </a:cubicBezTo>
                <a:cubicBezTo>
                  <a:pt x="1957761" y="299741"/>
                  <a:pt x="1919559" y="265843"/>
                  <a:pt x="1872755" y="246746"/>
                </a:cubicBezTo>
                <a:cubicBezTo>
                  <a:pt x="1753921" y="195660"/>
                  <a:pt x="1613654" y="225500"/>
                  <a:pt x="1492633" y="251043"/>
                </a:cubicBezTo>
                <a:cubicBezTo>
                  <a:pt x="1445975" y="261546"/>
                  <a:pt x="1397129" y="238152"/>
                  <a:pt x="1384298" y="189453"/>
                </a:cubicBezTo>
                <a:cubicBezTo>
                  <a:pt x="1371613" y="144813"/>
                  <a:pt x="1399170" y="91578"/>
                  <a:pt x="1445975" y="81075"/>
                </a:cubicBezTo>
                <a:cubicBezTo>
                  <a:pt x="1626485" y="42880"/>
                  <a:pt x="1832512" y="10891"/>
                  <a:pt x="1998149" y="112824"/>
                </a:cubicBezTo>
                <a:cubicBezTo>
                  <a:pt x="2061868" y="153168"/>
                  <a:pt x="2114942" y="206402"/>
                  <a:pt x="2155185" y="270140"/>
                </a:cubicBezTo>
                <a:cubicBezTo>
                  <a:pt x="2227505" y="155316"/>
                  <a:pt x="2337882" y="72481"/>
                  <a:pt x="2471734" y="32137"/>
                </a:cubicBezTo>
                <a:cubicBezTo>
                  <a:pt x="2563010" y="3491"/>
                  <a:pt x="2658550" y="-4446"/>
                  <a:pt x="2753580" y="2208"/>
                </a:cubicBezTo>
                <a:close/>
              </a:path>
            </a:pathLst>
          </a:custGeom>
          <a:solidFill>
            <a:schemeClr val="tx2"/>
          </a:solidFill>
          <a:ln w="12700">
            <a:miter lim="400000"/>
          </a:ln>
        </p:spPr>
        <p:txBody>
          <a:bodyPr wrap="square" lIns="38100" tIns="38100" rIns="38100" bIns="381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4" name="Circle">
            <a:extLst>
              <a:ext uri="{FF2B5EF4-FFF2-40B4-BE49-F238E27FC236}">
                <a16:creationId xmlns:a16="http://schemas.microsoft.com/office/drawing/2014/main" id="{87556578-21C5-F21E-70FB-F2EDEE65FC03}"/>
              </a:ext>
            </a:extLst>
          </p:cNvPr>
          <p:cNvSpPr/>
          <p:nvPr/>
        </p:nvSpPr>
        <p:spPr>
          <a:xfrm>
            <a:off x="6593662" y="1745738"/>
            <a:ext cx="505450" cy="505450"/>
          </a:xfrm>
          <a:prstGeom prst="ellipse">
            <a:avLst/>
          </a:prstGeom>
          <a:solidFill>
            <a:schemeClr val="bg1">
              <a:lumMod val="95000"/>
            </a:schemeClr>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5" name="Circle">
            <a:extLst>
              <a:ext uri="{FF2B5EF4-FFF2-40B4-BE49-F238E27FC236}">
                <a16:creationId xmlns:a16="http://schemas.microsoft.com/office/drawing/2014/main" id="{7618C591-BD31-62B1-953B-441E98A81342}"/>
              </a:ext>
            </a:extLst>
          </p:cNvPr>
          <p:cNvSpPr/>
          <p:nvPr/>
        </p:nvSpPr>
        <p:spPr>
          <a:xfrm>
            <a:off x="6667994" y="1820070"/>
            <a:ext cx="356787" cy="356787"/>
          </a:xfrm>
          <a:prstGeom prst="ellipse">
            <a:avLst/>
          </a:prstGeom>
          <a:solidFill>
            <a:schemeClr val="accent2"/>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6" name="Circle">
            <a:extLst>
              <a:ext uri="{FF2B5EF4-FFF2-40B4-BE49-F238E27FC236}">
                <a16:creationId xmlns:a16="http://schemas.microsoft.com/office/drawing/2014/main" id="{8E1BDB24-A0B5-2309-76F7-13934867AB63}"/>
              </a:ext>
            </a:extLst>
          </p:cNvPr>
          <p:cNvSpPr/>
          <p:nvPr/>
        </p:nvSpPr>
        <p:spPr>
          <a:xfrm>
            <a:off x="4512404" y="3083689"/>
            <a:ext cx="505450" cy="505450"/>
          </a:xfrm>
          <a:prstGeom prst="ellipse">
            <a:avLst/>
          </a:prstGeom>
          <a:solidFill>
            <a:schemeClr val="bg1">
              <a:lumMod val="95000"/>
            </a:schemeClr>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7" name="Circle">
            <a:extLst>
              <a:ext uri="{FF2B5EF4-FFF2-40B4-BE49-F238E27FC236}">
                <a16:creationId xmlns:a16="http://schemas.microsoft.com/office/drawing/2014/main" id="{C7CC62D8-7278-DB2B-69F7-51617BBB0E9D}"/>
              </a:ext>
            </a:extLst>
          </p:cNvPr>
          <p:cNvSpPr/>
          <p:nvPr/>
        </p:nvSpPr>
        <p:spPr>
          <a:xfrm>
            <a:off x="4586736" y="3158021"/>
            <a:ext cx="356787" cy="356787"/>
          </a:xfrm>
          <a:prstGeom prst="ellipse">
            <a:avLst/>
          </a:prstGeom>
          <a:solidFill>
            <a:schemeClr val="accent4"/>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8" name="Circle">
            <a:extLst>
              <a:ext uri="{FF2B5EF4-FFF2-40B4-BE49-F238E27FC236}">
                <a16:creationId xmlns:a16="http://schemas.microsoft.com/office/drawing/2014/main" id="{81120BDD-1E07-9D88-7C21-79DD603DF97B}"/>
              </a:ext>
            </a:extLst>
          </p:cNvPr>
          <p:cNvSpPr/>
          <p:nvPr/>
        </p:nvSpPr>
        <p:spPr>
          <a:xfrm>
            <a:off x="7846665" y="3083689"/>
            <a:ext cx="505450" cy="505450"/>
          </a:xfrm>
          <a:prstGeom prst="ellipse">
            <a:avLst/>
          </a:prstGeom>
          <a:solidFill>
            <a:schemeClr val="bg1">
              <a:lumMod val="95000"/>
            </a:schemeClr>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9" name="Circle">
            <a:extLst>
              <a:ext uri="{FF2B5EF4-FFF2-40B4-BE49-F238E27FC236}">
                <a16:creationId xmlns:a16="http://schemas.microsoft.com/office/drawing/2014/main" id="{012D9E47-B347-767C-E585-549DE10EA508}"/>
              </a:ext>
            </a:extLst>
          </p:cNvPr>
          <p:cNvSpPr/>
          <p:nvPr/>
        </p:nvSpPr>
        <p:spPr>
          <a:xfrm>
            <a:off x="7920997" y="3158021"/>
            <a:ext cx="356787" cy="356787"/>
          </a:xfrm>
          <a:prstGeom prst="ellipse">
            <a:avLst/>
          </a:prstGeom>
          <a:solidFill>
            <a:schemeClr val="accent6"/>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10" name="Circle">
            <a:extLst>
              <a:ext uri="{FF2B5EF4-FFF2-40B4-BE49-F238E27FC236}">
                <a16:creationId xmlns:a16="http://schemas.microsoft.com/office/drawing/2014/main" id="{8A3377D4-3A79-114A-3D2B-95ED849F01EC}"/>
              </a:ext>
            </a:extLst>
          </p:cNvPr>
          <p:cNvSpPr/>
          <p:nvPr/>
        </p:nvSpPr>
        <p:spPr>
          <a:xfrm>
            <a:off x="5170762" y="5632167"/>
            <a:ext cx="505450" cy="505450"/>
          </a:xfrm>
          <a:prstGeom prst="ellipse">
            <a:avLst/>
          </a:prstGeom>
          <a:solidFill>
            <a:schemeClr val="bg1">
              <a:lumMod val="95000"/>
            </a:schemeClr>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11" name="Circle">
            <a:extLst>
              <a:ext uri="{FF2B5EF4-FFF2-40B4-BE49-F238E27FC236}">
                <a16:creationId xmlns:a16="http://schemas.microsoft.com/office/drawing/2014/main" id="{EC672CBA-3356-9782-B053-AAB319C27F53}"/>
              </a:ext>
            </a:extLst>
          </p:cNvPr>
          <p:cNvSpPr/>
          <p:nvPr/>
        </p:nvSpPr>
        <p:spPr>
          <a:xfrm>
            <a:off x="5245094" y="5706499"/>
            <a:ext cx="356787" cy="356787"/>
          </a:xfrm>
          <a:prstGeom prst="ellipse">
            <a:avLst/>
          </a:prstGeom>
          <a:solidFill>
            <a:schemeClr val="accent3"/>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12" name="Circle">
            <a:extLst>
              <a:ext uri="{FF2B5EF4-FFF2-40B4-BE49-F238E27FC236}">
                <a16:creationId xmlns:a16="http://schemas.microsoft.com/office/drawing/2014/main" id="{2DEE4BFD-A88C-A257-C498-919018F23961}"/>
              </a:ext>
            </a:extLst>
          </p:cNvPr>
          <p:cNvSpPr/>
          <p:nvPr/>
        </p:nvSpPr>
        <p:spPr>
          <a:xfrm>
            <a:off x="6699849" y="4464115"/>
            <a:ext cx="505450" cy="505450"/>
          </a:xfrm>
          <a:prstGeom prst="ellipse">
            <a:avLst/>
          </a:prstGeom>
          <a:solidFill>
            <a:srgbClr val="FFFFFF"/>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13" name="Circle">
            <a:extLst>
              <a:ext uri="{FF2B5EF4-FFF2-40B4-BE49-F238E27FC236}">
                <a16:creationId xmlns:a16="http://schemas.microsoft.com/office/drawing/2014/main" id="{C53C2128-2268-D1AE-29DA-65FD4BAA53DD}"/>
              </a:ext>
            </a:extLst>
          </p:cNvPr>
          <p:cNvSpPr/>
          <p:nvPr/>
        </p:nvSpPr>
        <p:spPr>
          <a:xfrm>
            <a:off x="6774181" y="4538447"/>
            <a:ext cx="356787" cy="356787"/>
          </a:xfrm>
          <a:prstGeom prst="ellipse">
            <a:avLst/>
          </a:prstGeom>
          <a:solidFill>
            <a:schemeClr val="accent5"/>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14" name="Circle">
            <a:extLst>
              <a:ext uri="{FF2B5EF4-FFF2-40B4-BE49-F238E27FC236}">
                <a16:creationId xmlns:a16="http://schemas.microsoft.com/office/drawing/2014/main" id="{3DD5EE53-FF4D-0D1D-C82D-A623BDFD1BF1}"/>
              </a:ext>
            </a:extLst>
          </p:cNvPr>
          <p:cNvSpPr/>
          <p:nvPr/>
        </p:nvSpPr>
        <p:spPr>
          <a:xfrm>
            <a:off x="3917759" y="1873162"/>
            <a:ext cx="505450" cy="505450"/>
          </a:xfrm>
          <a:prstGeom prst="ellipse">
            <a:avLst/>
          </a:prstGeom>
          <a:solidFill>
            <a:schemeClr val="bg1">
              <a:lumMod val="95000"/>
            </a:schemeClr>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15" name="Circle">
            <a:extLst>
              <a:ext uri="{FF2B5EF4-FFF2-40B4-BE49-F238E27FC236}">
                <a16:creationId xmlns:a16="http://schemas.microsoft.com/office/drawing/2014/main" id="{7DE9EAF3-2905-BC94-28CF-DDF12F654C26}"/>
              </a:ext>
            </a:extLst>
          </p:cNvPr>
          <p:cNvSpPr/>
          <p:nvPr/>
        </p:nvSpPr>
        <p:spPr>
          <a:xfrm>
            <a:off x="3992091" y="1947494"/>
            <a:ext cx="356787" cy="356787"/>
          </a:xfrm>
          <a:prstGeom prst="ellipse">
            <a:avLst/>
          </a:prstGeom>
          <a:solidFill>
            <a:schemeClr val="accent1"/>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grpSp>
        <p:nvGrpSpPr>
          <p:cNvPr id="16" name="Group 15">
            <a:extLst>
              <a:ext uri="{FF2B5EF4-FFF2-40B4-BE49-F238E27FC236}">
                <a16:creationId xmlns:a16="http://schemas.microsoft.com/office/drawing/2014/main" id="{129C2972-17F2-E2AA-2791-249B6CDCB557}"/>
              </a:ext>
            </a:extLst>
          </p:cNvPr>
          <p:cNvGrpSpPr/>
          <p:nvPr/>
        </p:nvGrpSpPr>
        <p:grpSpPr>
          <a:xfrm>
            <a:off x="8927481" y="2947244"/>
            <a:ext cx="2926080" cy="920821"/>
            <a:chOff x="8921977" y="1466725"/>
            <a:chExt cx="2926080" cy="920821"/>
          </a:xfrm>
        </p:grpSpPr>
        <p:sp>
          <p:nvSpPr>
            <p:cNvPr id="17" name="TextBox 16">
              <a:extLst>
                <a:ext uri="{FF2B5EF4-FFF2-40B4-BE49-F238E27FC236}">
                  <a16:creationId xmlns:a16="http://schemas.microsoft.com/office/drawing/2014/main" id="{3696BB05-A7E6-78C4-55D3-CB8FA595D6F2}"/>
                </a:ext>
              </a:extLst>
            </p:cNvPr>
            <p:cNvSpPr txBox="1"/>
            <p:nvPr/>
          </p:nvSpPr>
          <p:spPr>
            <a:xfrm>
              <a:off x="8921977" y="1466725"/>
              <a:ext cx="2926080" cy="461665"/>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231F20"/>
                  </a:solidFill>
                  <a:effectLst/>
                  <a:uLnTx/>
                  <a:uFillTx/>
                  <a:latin typeface="Arial"/>
                  <a:ea typeface="+mn-ea"/>
                  <a:cs typeface="+mn-cs"/>
                </a:rPr>
                <a:t>Level 2</a:t>
              </a:r>
            </a:p>
          </p:txBody>
        </p:sp>
        <p:sp>
          <p:nvSpPr>
            <p:cNvPr id="18" name="TextBox 17">
              <a:extLst>
                <a:ext uri="{FF2B5EF4-FFF2-40B4-BE49-F238E27FC236}">
                  <a16:creationId xmlns:a16="http://schemas.microsoft.com/office/drawing/2014/main" id="{F913DF24-506C-6A11-2D29-EE2CC8D42B15}"/>
                </a:ext>
              </a:extLst>
            </p:cNvPr>
            <p:cNvSpPr txBox="1"/>
            <p:nvPr/>
          </p:nvSpPr>
          <p:spPr>
            <a:xfrm>
              <a:off x="8921977" y="1925881"/>
              <a:ext cx="2926080" cy="46166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231F20">
                      <a:lumMod val="65000"/>
                      <a:lumOff val="35000"/>
                    </a:srgbClr>
                  </a:solidFill>
                  <a:effectLst/>
                  <a:uLnTx/>
                  <a:uFillTx/>
                  <a:latin typeface="Arial"/>
                  <a:ea typeface="+mn-ea"/>
                  <a:cs typeface="+mn-cs"/>
                </a:rPr>
                <a:t>Recall that level 2 autonomy introduces criteria and decision making about tools.</a:t>
              </a:r>
            </a:p>
          </p:txBody>
        </p:sp>
      </p:grpSp>
      <p:grpSp>
        <p:nvGrpSpPr>
          <p:cNvPr id="19" name="Group 18">
            <a:extLst>
              <a:ext uri="{FF2B5EF4-FFF2-40B4-BE49-F238E27FC236}">
                <a16:creationId xmlns:a16="http://schemas.microsoft.com/office/drawing/2014/main" id="{426E7E67-DFFE-77D6-E1BE-BD264BBD0592}"/>
              </a:ext>
            </a:extLst>
          </p:cNvPr>
          <p:cNvGrpSpPr/>
          <p:nvPr/>
        </p:nvGrpSpPr>
        <p:grpSpPr>
          <a:xfrm>
            <a:off x="8927481" y="4652338"/>
            <a:ext cx="2926080" cy="1659485"/>
            <a:chOff x="8921977" y="4073386"/>
            <a:chExt cx="2926080" cy="1659485"/>
          </a:xfrm>
        </p:grpSpPr>
        <p:sp>
          <p:nvSpPr>
            <p:cNvPr id="20" name="TextBox 19">
              <a:extLst>
                <a:ext uri="{FF2B5EF4-FFF2-40B4-BE49-F238E27FC236}">
                  <a16:creationId xmlns:a16="http://schemas.microsoft.com/office/drawing/2014/main" id="{31FE919C-F550-B95C-C7BF-1E2A301B139C}"/>
                </a:ext>
              </a:extLst>
            </p:cNvPr>
            <p:cNvSpPr txBox="1"/>
            <p:nvPr/>
          </p:nvSpPr>
          <p:spPr>
            <a:xfrm>
              <a:off x="8921977" y="4073386"/>
              <a:ext cx="2926080" cy="461665"/>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231F20"/>
                  </a:solidFill>
                  <a:effectLst/>
                  <a:uLnTx/>
                  <a:uFillTx/>
                  <a:latin typeface="Arial"/>
                  <a:ea typeface="+mn-ea"/>
                  <a:cs typeface="+mn-cs"/>
                </a:rPr>
                <a:t>Level 3</a:t>
              </a:r>
            </a:p>
          </p:txBody>
        </p:sp>
        <p:sp>
          <p:nvSpPr>
            <p:cNvPr id="21" name="TextBox 20">
              <a:extLst>
                <a:ext uri="{FF2B5EF4-FFF2-40B4-BE49-F238E27FC236}">
                  <a16:creationId xmlns:a16="http://schemas.microsoft.com/office/drawing/2014/main" id="{0936CC58-9FD0-4760-306F-C2BAB8CC2CD5}"/>
                </a:ext>
              </a:extLst>
            </p:cNvPr>
            <p:cNvSpPr txBox="1"/>
            <p:nvPr/>
          </p:nvSpPr>
          <p:spPr>
            <a:xfrm>
              <a:off x="8921977" y="4532542"/>
              <a:ext cx="2926080" cy="1200329"/>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231F20">
                      <a:lumMod val="65000"/>
                      <a:lumOff val="35000"/>
                    </a:srgbClr>
                  </a:solidFill>
                  <a:effectLst/>
                  <a:uLnTx/>
                  <a:uFillTx/>
                  <a:latin typeface="Arial"/>
                  <a:ea typeface="+mn-ea"/>
                  <a:cs typeface="+mn-cs"/>
                </a:rPr>
                <a:t>The agent can comprehend how to use different tools to gain knowledge where order is important and multiple tool and communication orchestration is key for solving interconnected challenging problems.</a:t>
              </a:r>
            </a:p>
          </p:txBody>
        </p:sp>
      </p:grpSp>
      <p:grpSp>
        <p:nvGrpSpPr>
          <p:cNvPr id="22" name="Group 21">
            <a:extLst>
              <a:ext uri="{FF2B5EF4-FFF2-40B4-BE49-F238E27FC236}">
                <a16:creationId xmlns:a16="http://schemas.microsoft.com/office/drawing/2014/main" id="{659CE977-74ED-8223-BBD9-90CB6C46CCF6}"/>
              </a:ext>
            </a:extLst>
          </p:cNvPr>
          <p:cNvGrpSpPr/>
          <p:nvPr/>
        </p:nvGrpSpPr>
        <p:grpSpPr>
          <a:xfrm>
            <a:off x="338439" y="2716465"/>
            <a:ext cx="3795256" cy="1629340"/>
            <a:chOff x="332936" y="2396987"/>
            <a:chExt cx="3643088" cy="1629340"/>
          </a:xfrm>
        </p:grpSpPr>
        <p:sp>
          <p:nvSpPr>
            <p:cNvPr id="23" name="TextBox 22">
              <a:extLst>
                <a:ext uri="{FF2B5EF4-FFF2-40B4-BE49-F238E27FC236}">
                  <a16:creationId xmlns:a16="http://schemas.microsoft.com/office/drawing/2014/main" id="{6ACF0BA6-6A70-58FE-7602-8DD401D477E5}"/>
                </a:ext>
              </a:extLst>
            </p:cNvPr>
            <p:cNvSpPr txBox="1"/>
            <p:nvPr/>
          </p:nvSpPr>
          <p:spPr>
            <a:xfrm>
              <a:off x="713508" y="2396987"/>
              <a:ext cx="3262516" cy="830997"/>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231F20"/>
                  </a:solidFill>
                  <a:effectLst/>
                  <a:uLnTx/>
                  <a:uFillTx/>
                  <a:latin typeface="Arial"/>
                  <a:ea typeface="+mn-ea"/>
                  <a:cs typeface="+mn-cs"/>
                </a:rPr>
                <a:t>Potential to Performance</a:t>
              </a:r>
            </a:p>
          </p:txBody>
        </p:sp>
        <p:sp>
          <p:nvSpPr>
            <p:cNvPr id="24" name="TextBox 23">
              <a:extLst>
                <a:ext uri="{FF2B5EF4-FFF2-40B4-BE49-F238E27FC236}">
                  <a16:creationId xmlns:a16="http://schemas.microsoft.com/office/drawing/2014/main" id="{993D9ADA-7148-DDF0-AB70-D0312F7CD7F5}"/>
                </a:ext>
              </a:extLst>
            </p:cNvPr>
            <p:cNvSpPr txBox="1"/>
            <p:nvPr/>
          </p:nvSpPr>
          <p:spPr>
            <a:xfrm>
              <a:off x="332936" y="3195330"/>
              <a:ext cx="2926080" cy="830997"/>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231F20">
                      <a:lumMod val="65000"/>
                      <a:lumOff val="35000"/>
                    </a:srgbClr>
                  </a:solidFill>
                  <a:effectLst/>
                  <a:uLnTx/>
                  <a:uFillTx/>
                  <a:latin typeface="Arial"/>
                  <a:ea typeface="+mn-ea"/>
                  <a:cs typeface="+mn-cs"/>
                </a:rPr>
                <a:t>An AI agent is limited by their understanding of the tools capability, when to use them, and how to use them effectively.</a:t>
              </a:r>
            </a:p>
          </p:txBody>
        </p:sp>
      </p:grpSp>
      <p:grpSp>
        <p:nvGrpSpPr>
          <p:cNvPr id="25" name="Group 24">
            <a:extLst>
              <a:ext uri="{FF2B5EF4-FFF2-40B4-BE49-F238E27FC236}">
                <a16:creationId xmlns:a16="http://schemas.microsoft.com/office/drawing/2014/main" id="{94F5E9F5-6059-57A1-5E0F-A2DEDE4E4163}"/>
              </a:ext>
            </a:extLst>
          </p:cNvPr>
          <p:cNvGrpSpPr/>
          <p:nvPr/>
        </p:nvGrpSpPr>
        <p:grpSpPr>
          <a:xfrm>
            <a:off x="127038" y="4667795"/>
            <a:ext cx="3137482" cy="1459362"/>
            <a:chOff x="121534" y="4667795"/>
            <a:chExt cx="3137482" cy="1459362"/>
          </a:xfrm>
        </p:grpSpPr>
        <p:sp>
          <p:nvSpPr>
            <p:cNvPr id="26" name="TextBox 25">
              <a:extLst>
                <a:ext uri="{FF2B5EF4-FFF2-40B4-BE49-F238E27FC236}">
                  <a16:creationId xmlns:a16="http://schemas.microsoft.com/office/drawing/2014/main" id="{C9199FB6-80BB-0ED7-CA90-3CA44AD70398}"/>
                </a:ext>
              </a:extLst>
            </p:cNvPr>
            <p:cNvSpPr txBox="1"/>
            <p:nvPr/>
          </p:nvSpPr>
          <p:spPr>
            <a:xfrm>
              <a:off x="121534" y="4667795"/>
              <a:ext cx="2926080" cy="461665"/>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231F20"/>
                  </a:solidFill>
                  <a:effectLst/>
                  <a:uLnTx/>
                  <a:uFillTx/>
                  <a:latin typeface="Arial"/>
                  <a:ea typeface="+mn-ea"/>
                  <a:cs typeface="+mn-cs"/>
                </a:rPr>
                <a:t>Adaptation</a:t>
              </a:r>
            </a:p>
          </p:txBody>
        </p:sp>
        <p:sp>
          <p:nvSpPr>
            <p:cNvPr id="27" name="TextBox 26">
              <a:extLst>
                <a:ext uri="{FF2B5EF4-FFF2-40B4-BE49-F238E27FC236}">
                  <a16:creationId xmlns:a16="http://schemas.microsoft.com/office/drawing/2014/main" id="{D4A3C284-85B6-9959-04CB-7C5B15F9D904}"/>
                </a:ext>
              </a:extLst>
            </p:cNvPr>
            <p:cNvSpPr txBox="1"/>
            <p:nvPr/>
          </p:nvSpPr>
          <p:spPr>
            <a:xfrm>
              <a:off x="332936" y="5111494"/>
              <a:ext cx="2926080" cy="1015663"/>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231F20">
                      <a:lumMod val="65000"/>
                      <a:lumOff val="35000"/>
                    </a:srgbClr>
                  </a:solidFill>
                  <a:effectLst/>
                  <a:uLnTx/>
                  <a:uFillTx/>
                  <a:latin typeface="Arial"/>
                  <a:ea typeface="+mn-ea"/>
                  <a:cs typeface="+mn-cs"/>
                </a:rPr>
                <a:t>With tools, AI agents can use the tools to find the missing links, connect the dots, and to improvise. Recall our example of a cab driver improvising on the fly and a train on tracks following the path of automation.</a:t>
              </a:r>
            </a:p>
          </p:txBody>
        </p:sp>
      </p:grpSp>
      <p:grpSp>
        <p:nvGrpSpPr>
          <p:cNvPr id="28" name="Group 27">
            <a:extLst>
              <a:ext uri="{FF2B5EF4-FFF2-40B4-BE49-F238E27FC236}">
                <a16:creationId xmlns:a16="http://schemas.microsoft.com/office/drawing/2014/main" id="{2A0E421D-DD95-8E7B-6AD3-761541A3963B}"/>
              </a:ext>
            </a:extLst>
          </p:cNvPr>
          <p:cNvGrpSpPr/>
          <p:nvPr/>
        </p:nvGrpSpPr>
        <p:grpSpPr>
          <a:xfrm>
            <a:off x="8927481" y="1242150"/>
            <a:ext cx="2926080" cy="1105487"/>
            <a:chOff x="8921977" y="1466725"/>
            <a:chExt cx="2926080" cy="1105487"/>
          </a:xfrm>
        </p:grpSpPr>
        <p:sp>
          <p:nvSpPr>
            <p:cNvPr id="29" name="TextBox 28">
              <a:extLst>
                <a:ext uri="{FF2B5EF4-FFF2-40B4-BE49-F238E27FC236}">
                  <a16:creationId xmlns:a16="http://schemas.microsoft.com/office/drawing/2014/main" id="{29285A49-6B80-7EE0-15A4-FEAC811F7EEE}"/>
                </a:ext>
              </a:extLst>
            </p:cNvPr>
            <p:cNvSpPr txBox="1"/>
            <p:nvPr/>
          </p:nvSpPr>
          <p:spPr>
            <a:xfrm>
              <a:off x="8921977" y="1466725"/>
              <a:ext cx="2926080" cy="461665"/>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231F20"/>
                  </a:solidFill>
                  <a:effectLst/>
                  <a:uLnTx/>
                  <a:uFillTx/>
                  <a:latin typeface="Arial"/>
                  <a:ea typeface="+mn-ea"/>
                  <a:cs typeface="+mn-cs"/>
                </a:rPr>
                <a:t>Level 1 </a:t>
              </a:r>
            </a:p>
          </p:txBody>
        </p:sp>
        <p:sp>
          <p:nvSpPr>
            <p:cNvPr id="30" name="TextBox 29">
              <a:extLst>
                <a:ext uri="{FF2B5EF4-FFF2-40B4-BE49-F238E27FC236}">
                  <a16:creationId xmlns:a16="http://schemas.microsoft.com/office/drawing/2014/main" id="{523745FD-022F-A8CF-F7CB-D65B59398049}"/>
                </a:ext>
              </a:extLst>
            </p:cNvPr>
            <p:cNvSpPr txBox="1"/>
            <p:nvPr/>
          </p:nvSpPr>
          <p:spPr>
            <a:xfrm>
              <a:off x="8921977" y="1925881"/>
              <a:ext cx="2926080" cy="646331"/>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231F20">
                      <a:lumMod val="65000"/>
                      <a:lumOff val="35000"/>
                    </a:srgbClr>
                  </a:solidFill>
                  <a:effectLst/>
                  <a:uLnTx/>
                  <a:uFillTx/>
                  <a:latin typeface="Arial"/>
                  <a:ea typeface="+mn-ea"/>
                  <a:cs typeface="+mn-cs"/>
                </a:rPr>
                <a:t>Recall using predefined rule based automation like a code snippet with an if else or switch statement.</a:t>
              </a:r>
            </a:p>
          </p:txBody>
        </p:sp>
      </p:grpSp>
      <p:grpSp>
        <p:nvGrpSpPr>
          <p:cNvPr id="31" name="Group 30">
            <a:extLst>
              <a:ext uri="{FF2B5EF4-FFF2-40B4-BE49-F238E27FC236}">
                <a16:creationId xmlns:a16="http://schemas.microsoft.com/office/drawing/2014/main" id="{1458C598-FE8A-5FB0-A0EC-A3DC1E3F24F0}"/>
              </a:ext>
            </a:extLst>
          </p:cNvPr>
          <p:cNvGrpSpPr/>
          <p:nvPr/>
        </p:nvGrpSpPr>
        <p:grpSpPr>
          <a:xfrm>
            <a:off x="338440" y="888936"/>
            <a:ext cx="3795255" cy="1274035"/>
            <a:chOff x="332936" y="2274552"/>
            <a:chExt cx="3267406" cy="1274035"/>
          </a:xfrm>
        </p:grpSpPr>
        <p:sp>
          <p:nvSpPr>
            <p:cNvPr id="32" name="TextBox 31">
              <a:extLst>
                <a:ext uri="{FF2B5EF4-FFF2-40B4-BE49-F238E27FC236}">
                  <a16:creationId xmlns:a16="http://schemas.microsoft.com/office/drawing/2014/main" id="{598E79B5-A796-1F40-85DF-994FE743802E}"/>
                </a:ext>
              </a:extLst>
            </p:cNvPr>
            <p:cNvSpPr txBox="1"/>
            <p:nvPr/>
          </p:nvSpPr>
          <p:spPr>
            <a:xfrm>
              <a:off x="674262" y="2274552"/>
              <a:ext cx="2926080" cy="830997"/>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231F20"/>
                  </a:solidFill>
                  <a:effectLst/>
                  <a:uLnTx/>
                  <a:uFillTx/>
                  <a:latin typeface="Arial"/>
                  <a:ea typeface="+mn-ea"/>
                  <a:cs typeface="+mn-cs"/>
                </a:rPr>
                <a:t>Building Blocks of Action</a:t>
              </a:r>
            </a:p>
          </p:txBody>
        </p:sp>
        <p:sp>
          <p:nvSpPr>
            <p:cNvPr id="33" name="TextBox 32">
              <a:extLst>
                <a:ext uri="{FF2B5EF4-FFF2-40B4-BE49-F238E27FC236}">
                  <a16:creationId xmlns:a16="http://schemas.microsoft.com/office/drawing/2014/main" id="{897F70AD-B99B-849D-3E62-3D7D05854B6E}"/>
                </a:ext>
              </a:extLst>
            </p:cNvPr>
            <p:cNvSpPr txBox="1"/>
            <p:nvPr/>
          </p:nvSpPr>
          <p:spPr>
            <a:xfrm>
              <a:off x="332936" y="3086922"/>
              <a:ext cx="2926080" cy="46166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231F20">
                      <a:lumMod val="65000"/>
                      <a:lumOff val="35000"/>
                    </a:srgbClr>
                  </a:solidFill>
                  <a:effectLst/>
                  <a:uLnTx/>
                  <a:uFillTx/>
                  <a:latin typeface="Arial"/>
                  <a:ea typeface="+mn-ea"/>
                  <a:cs typeface="+mn-cs"/>
                </a:rPr>
                <a:t>Tools are the bridge between abstract goals and tangible outcomes. </a:t>
              </a:r>
            </a:p>
          </p:txBody>
        </p:sp>
      </p:grpSp>
      <p:sp>
        <p:nvSpPr>
          <p:cNvPr id="34" name="Circle">
            <a:extLst>
              <a:ext uri="{FF2B5EF4-FFF2-40B4-BE49-F238E27FC236}">
                <a16:creationId xmlns:a16="http://schemas.microsoft.com/office/drawing/2014/main" id="{CA0B7350-DC9D-3D25-647B-AC6349F7ABB2}"/>
              </a:ext>
            </a:extLst>
          </p:cNvPr>
          <p:cNvSpPr/>
          <p:nvPr/>
        </p:nvSpPr>
        <p:spPr>
          <a:xfrm>
            <a:off x="264643" y="4737602"/>
            <a:ext cx="356787" cy="356787"/>
          </a:xfrm>
          <a:prstGeom prst="ellipse">
            <a:avLst/>
          </a:prstGeom>
          <a:solidFill>
            <a:schemeClr val="accent3"/>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35" name="Circle">
            <a:extLst>
              <a:ext uri="{FF2B5EF4-FFF2-40B4-BE49-F238E27FC236}">
                <a16:creationId xmlns:a16="http://schemas.microsoft.com/office/drawing/2014/main" id="{4D5E8FAB-C12C-DA3B-56FF-495D625E9C5C}"/>
              </a:ext>
            </a:extLst>
          </p:cNvPr>
          <p:cNvSpPr/>
          <p:nvPr/>
        </p:nvSpPr>
        <p:spPr>
          <a:xfrm>
            <a:off x="264644" y="1168400"/>
            <a:ext cx="356787" cy="356787"/>
          </a:xfrm>
          <a:prstGeom prst="ellipse">
            <a:avLst/>
          </a:prstGeom>
          <a:solidFill>
            <a:schemeClr val="accent1"/>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36" name="Circle">
            <a:extLst>
              <a:ext uri="{FF2B5EF4-FFF2-40B4-BE49-F238E27FC236}">
                <a16:creationId xmlns:a16="http://schemas.microsoft.com/office/drawing/2014/main" id="{31D82A59-8709-C937-C323-C526E16CF928}"/>
              </a:ext>
            </a:extLst>
          </p:cNvPr>
          <p:cNvSpPr/>
          <p:nvPr/>
        </p:nvSpPr>
        <p:spPr>
          <a:xfrm>
            <a:off x="11071954" y="1294588"/>
            <a:ext cx="356787" cy="356787"/>
          </a:xfrm>
          <a:prstGeom prst="ellipse">
            <a:avLst/>
          </a:prstGeom>
          <a:solidFill>
            <a:schemeClr val="accent2"/>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37" name="Circle">
            <a:extLst>
              <a:ext uri="{FF2B5EF4-FFF2-40B4-BE49-F238E27FC236}">
                <a16:creationId xmlns:a16="http://schemas.microsoft.com/office/drawing/2014/main" id="{22E30614-A5FB-0FCC-2399-2D0072732B21}"/>
              </a:ext>
            </a:extLst>
          </p:cNvPr>
          <p:cNvSpPr/>
          <p:nvPr/>
        </p:nvSpPr>
        <p:spPr>
          <a:xfrm>
            <a:off x="11071954" y="2998429"/>
            <a:ext cx="356787" cy="356787"/>
          </a:xfrm>
          <a:prstGeom prst="ellipse">
            <a:avLst/>
          </a:prstGeom>
          <a:solidFill>
            <a:schemeClr val="accent6"/>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38" name="Circle">
            <a:extLst>
              <a:ext uri="{FF2B5EF4-FFF2-40B4-BE49-F238E27FC236}">
                <a16:creationId xmlns:a16="http://schemas.microsoft.com/office/drawing/2014/main" id="{3A154ACF-D81C-3C75-C58D-0BC97DB803EF}"/>
              </a:ext>
            </a:extLst>
          </p:cNvPr>
          <p:cNvSpPr/>
          <p:nvPr/>
        </p:nvSpPr>
        <p:spPr>
          <a:xfrm>
            <a:off x="264643" y="3002560"/>
            <a:ext cx="356787" cy="356787"/>
          </a:xfrm>
          <a:prstGeom prst="ellipse">
            <a:avLst/>
          </a:prstGeom>
          <a:solidFill>
            <a:schemeClr val="accent4"/>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
        <p:nvSpPr>
          <p:cNvPr id="39" name="Circle">
            <a:extLst>
              <a:ext uri="{FF2B5EF4-FFF2-40B4-BE49-F238E27FC236}">
                <a16:creationId xmlns:a16="http://schemas.microsoft.com/office/drawing/2014/main" id="{8759813C-229A-11AF-0188-44EFC590C655}"/>
              </a:ext>
            </a:extLst>
          </p:cNvPr>
          <p:cNvSpPr/>
          <p:nvPr/>
        </p:nvSpPr>
        <p:spPr>
          <a:xfrm>
            <a:off x="11071954" y="4715072"/>
            <a:ext cx="356787" cy="356787"/>
          </a:xfrm>
          <a:prstGeom prst="ellipse">
            <a:avLst/>
          </a:prstGeom>
          <a:solidFill>
            <a:schemeClr val="accent5"/>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9006786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CF44EC-D515-CA25-4231-13CA173D92B0}"/>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6F732154-3E05-D5BB-88CE-B031B133160F}"/>
              </a:ext>
            </a:extLst>
          </p:cNvPr>
          <p:cNvPicPr>
            <a:picLocks noGrp="1" noChangeAspect="1"/>
          </p:cNvPicPr>
          <p:nvPr>
            <p:ph sz="quarter" idx="11"/>
          </p:nvPr>
        </p:nvPicPr>
        <p:blipFill>
          <a:blip r:embed="rId2">
            <a:alphaModFix amt="17000"/>
          </a:blip>
          <a:stretch>
            <a:fillRect/>
          </a:stretch>
        </p:blipFill>
        <p:spPr>
          <a:xfrm>
            <a:off x="82853" y="102231"/>
            <a:ext cx="12014489" cy="6650698"/>
          </a:xfrm>
        </p:spPr>
      </p:pic>
      <p:sp>
        <p:nvSpPr>
          <p:cNvPr id="2" name="Text Placeholder 1">
            <a:extLst>
              <a:ext uri="{FF2B5EF4-FFF2-40B4-BE49-F238E27FC236}">
                <a16:creationId xmlns:a16="http://schemas.microsoft.com/office/drawing/2014/main" id="{A3042C31-9EC8-74B7-65E7-6AA5A7AA0B51}"/>
              </a:ext>
            </a:extLst>
          </p:cNvPr>
          <p:cNvSpPr>
            <a:spLocks noGrp="1"/>
          </p:cNvSpPr>
          <p:nvPr>
            <p:ph type="body" sz="quarter" idx="10"/>
          </p:nvPr>
        </p:nvSpPr>
        <p:spPr>
          <a:xfrm>
            <a:off x="1234464" y="1743723"/>
            <a:ext cx="9711266" cy="3367714"/>
          </a:xfrm>
        </p:spPr>
        <p:txBody>
          <a:bodyPr anchor="ctr"/>
          <a:lstStyle/>
          <a:p>
            <a:pPr marL="0" indent="0">
              <a:buNone/>
            </a:pPr>
            <a:r>
              <a:rPr lang="en-US" sz="4800" b="1"/>
              <a:t>Tool Paradox</a:t>
            </a:r>
            <a:endParaRPr lang="en-US" sz="4800" b="1" dirty="0"/>
          </a:p>
        </p:txBody>
      </p:sp>
    </p:spTree>
    <p:extLst>
      <p:ext uri="{BB962C8B-B14F-4D97-AF65-F5344CB8AC3E}">
        <p14:creationId xmlns:p14="http://schemas.microsoft.com/office/powerpoint/2010/main" val="26227011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21658-7366-EA2C-568A-A51557A84FDD}"/>
              </a:ext>
            </a:extLst>
          </p:cNvPr>
          <p:cNvSpPr>
            <a:spLocks noGrp="1"/>
          </p:cNvSpPr>
          <p:nvPr>
            <p:ph type="title"/>
          </p:nvPr>
        </p:nvSpPr>
        <p:spPr/>
        <p:txBody>
          <a:bodyPr/>
          <a:lstStyle/>
          <a:p>
            <a:r>
              <a:rPr lang="en-US" dirty="0"/>
              <a:t>The Detective’s Dilemma</a:t>
            </a:r>
          </a:p>
        </p:txBody>
      </p:sp>
      <p:sp>
        <p:nvSpPr>
          <p:cNvPr id="3" name="Arc 2">
            <a:extLst>
              <a:ext uri="{FF2B5EF4-FFF2-40B4-BE49-F238E27FC236}">
                <a16:creationId xmlns:a16="http://schemas.microsoft.com/office/drawing/2014/main" id="{2116D158-2153-4C11-7549-2A759AE0D557}"/>
              </a:ext>
            </a:extLst>
          </p:cNvPr>
          <p:cNvSpPr/>
          <p:nvPr/>
        </p:nvSpPr>
        <p:spPr>
          <a:xfrm>
            <a:off x="3863277" y="1647289"/>
            <a:ext cx="4465447" cy="4465447"/>
          </a:xfrm>
          <a:prstGeom prst="arc">
            <a:avLst>
              <a:gd name="adj1" fmla="val 10728983"/>
              <a:gd name="adj2" fmla="val 0"/>
            </a:avLst>
          </a:prstGeom>
          <a:ln w="28575">
            <a:solidFill>
              <a:schemeClr val="bg2">
                <a:lumMod val="90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 name="Circle">
            <a:extLst>
              <a:ext uri="{FF2B5EF4-FFF2-40B4-BE49-F238E27FC236}">
                <a16:creationId xmlns:a16="http://schemas.microsoft.com/office/drawing/2014/main" id="{09B7282D-F66B-016A-8293-220FE86EECC2}"/>
              </a:ext>
            </a:extLst>
          </p:cNvPr>
          <p:cNvSpPr/>
          <p:nvPr/>
        </p:nvSpPr>
        <p:spPr>
          <a:xfrm>
            <a:off x="7875573" y="3414358"/>
            <a:ext cx="908209" cy="908209"/>
          </a:xfrm>
          <a:prstGeom prst="ellipse">
            <a:avLst/>
          </a:prstGeom>
          <a:solidFill>
            <a:schemeClr val="accent5"/>
          </a:solidFill>
          <a:ln w="38100">
            <a:solidFill>
              <a:schemeClr val="accent5">
                <a:lumMod val="75000"/>
              </a:schemeClr>
            </a:solidFill>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sp>
        <p:nvSpPr>
          <p:cNvPr id="5" name="Circle">
            <a:extLst>
              <a:ext uri="{FF2B5EF4-FFF2-40B4-BE49-F238E27FC236}">
                <a16:creationId xmlns:a16="http://schemas.microsoft.com/office/drawing/2014/main" id="{AC6FB504-A797-338E-3A80-F3C398156958}"/>
              </a:ext>
            </a:extLst>
          </p:cNvPr>
          <p:cNvSpPr/>
          <p:nvPr/>
        </p:nvSpPr>
        <p:spPr>
          <a:xfrm>
            <a:off x="3408218" y="3414358"/>
            <a:ext cx="908209" cy="908209"/>
          </a:xfrm>
          <a:prstGeom prst="ellipse">
            <a:avLst/>
          </a:prstGeom>
          <a:solidFill>
            <a:schemeClr val="accent6"/>
          </a:solidFill>
          <a:ln w="38100">
            <a:solidFill>
              <a:schemeClr val="accent6">
                <a:lumMod val="75000"/>
              </a:schemeClr>
            </a:solidFill>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sp>
        <p:nvSpPr>
          <p:cNvPr id="6" name="Circle">
            <a:extLst>
              <a:ext uri="{FF2B5EF4-FFF2-40B4-BE49-F238E27FC236}">
                <a16:creationId xmlns:a16="http://schemas.microsoft.com/office/drawing/2014/main" id="{A872656D-B102-7C84-42FE-5C530EE671C3}"/>
              </a:ext>
            </a:extLst>
          </p:cNvPr>
          <p:cNvSpPr/>
          <p:nvPr/>
        </p:nvSpPr>
        <p:spPr>
          <a:xfrm>
            <a:off x="4052991" y="1848481"/>
            <a:ext cx="908209" cy="908209"/>
          </a:xfrm>
          <a:prstGeom prst="ellipse">
            <a:avLst/>
          </a:prstGeom>
          <a:solidFill>
            <a:schemeClr val="accent2"/>
          </a:solidFill>
          <a:ln w="38100">
            <a:solidFill>
              <a:schemeClr val="accent2">
                <a:lumMod val="75000"/>
              </a:schemeClr>
            </a:solidFill>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sp>
        <p:nvSpPr>
          <p:cNvPr id="7" name="Circle">
            <a:extLst>
              <a:ext uri="{FF2B5EF4-FFF2-40B4-BE49-F238E27FC236}">
                <a16:creationId xmlns:a16="http://schemas.microsoft.com/office/drawing/2014/main" id="{66325762-2758-0247-9B27-B6319CFDFDC1}"/>
              </a:ext>
            </a:extLst>
          </p:cNvPr>
          <p:cNvSpPr/>
          <p:nvPr/>
        </p:nvSpPr>
        <p:spPr>
          <a:xfrm>
            <a:off x="7184745" y="1848481"/>
            <a:ext cx="908209" cy="908209"/>
          </a:xfrm>
          <a:prstGeom prst="ellipse">
            <a:avLst/>
          </a:prstGeom>
          <a:solidFill>
            <a:schemeClr val="accent4"/>
          </a:solidFill>
          <a:ln w="38100">
            <a:solidFill>
              <a:schemeClr val="accent2"/>
            </a:soli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FB6DB69C-E58C-A428-7A17-CB2869CB9B0E}"/>
              </a:ext>
            </a:extLst>
          </p:cNvPr>
          <p:cNvGrpSpPr/>
          <p:nvPr/>
        </p:nvGrpSpPr>
        <p:grpSpPr>
          <a:xfrm>
            <a:off x="5158316" y="2447199"/>
            <a:ext cx="1868924" cy="4991749"/>
            <a:chOff x="5158316" y="2447199"/>
            <a:chExt cx="1868924" cy="4991749"/>
          </a:xfrm>
        </p:grpSpPr>
        <p:sp>
          <p:nvSpPr>
            <p:cNvPr id="10" name="Shape">
              <a:extLst>
                <a:ext uri="{FF2B5EF4-FFF2-40B4-BE49-F238E27FC236}">
                  <a16:creationId xmlns:a16="http://schemas.microsoft.com/office/drawing/2014/main" id="{634B39E9-8E9F-9775-885A-D30B001D8200}"/>
                </a:ext>
              </a:extLst>
            </p:cNvPr>
            <p:cNvSpPr/>
            <p:nvPr/>
          </p:nvSpPr>
          <p:spPr>
            <a:xfrm>
              <a:off x="5895199" y="4381517"/>
              <a:ext cx="372126" cy="1912676"/>
            </a:xfrm>
            <a:custGeom>
              <a:avLst/>
              <a:gdLst/>
              <a:ahLst/>
              <a:cxnLst>
                <a:cxn ang="0">
                  <a:pos x="wd2" y="hd2"/>
                </a:cxn>
                <a:cxn ang="5400000">
                  <a:pos x="wd2" y="hd2"/>
                </a:cxn>
                <a:cxn ang="10800000">
                  <a:pos x="wd2" y="hd2"/>
                </a:cxn>
                <a:cxn ang="16200000">
                  <a:pos x="wd2" y="hd2"/>
                </a:cxn>
              </a:cxnLst>
              <a:rect l="0" t="0" r="r" b="b"/>
              <a:pathLst>
                <a:path w="21600" h="21600" extrusionOk="0">
                  <a:moveTo>
                    <a:pt x="4010" y="0"/>
                  </a:moveTo>
                  <a:lnTo>
                    <a:pt x="0" y="20482"/>
                  </a:lnTo>
                  <a:lnTo>
                    <a:pt x="107" y="20482"/>
                  </a:lnTo>
                  <a:cubicBezTo>
                    <a:pt x="588" y="21111"/>
                    <a:pt x="5186" y="21600"/>
                    <a:pt x="10800" y="21600"/>
                  </a:cubicBezTo>
                  <a:cubicBezTo>
                    <a:pt x="16441" y="21600"/>
                    <a:pt x="21012" y="21106"/>
                    <a:pt x="21493" y="20482"/>
                  </a:cubicBezTo>
                  <a:lnTo>
                    <a:pt x="21600" y="20482"/>
                  </a:lnTo>
                  <a:lnTo>
                    <a:pt x="17590" y="0"/>
                  </a:lnTo>
                  <a:lnTo>
                    <a:pt x="4010" y="0"/>
                  </a:lnTo>
                  <a:close/>
                </a:path>
              </a:pathLst>
            </a:custGeom>
            <a:solidFill>
              <a:srgbClr val="353536"/>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sp>
          <p:nvSpPr>
            <p:cNvPr id="11" name="Line">
              <a:extLst>
                <a:ext uri="{FF2B5EF4-FFF2-40B4-BE49-F238E27FC236}">
                  <a16:creationId xmlns:a16="http://schemas.microsoft.com/office/drawing/2014/main" id="{4DAB10F1-894C-A46B-80A9-88758F5B2755}"/>
                </a:ext>
              </a:extLst>
            </p:cNvPr>
            <p:cNvSpPr/>
            <p:nvPr/>
          </p:nvSpPr>
          <p:spPr>
            <a:xfrm>
              <a:off x="5757030" y="4243351"/>
              <a:ext cx="641096" cy="23258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11933"/>
                    <a:pt x="16774" y="21600"/>
                    <a:pt x="10800" y="21600"/>
                  </a:cubicBezTo>
                  <a:cubicBezTo>
                    <a:pt x="4826" y="21600"/>
                    <a:pt x="0" y="11933"/>
                    <a:pt x="0" y="0"/>
                  </a:cubicBezTo>
                </a:path>
              </a:pathLst>
            </a:custGeom>
            <a:solidFill>
              <a:srgbClr val="000000"/>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sp>
          <p:nvSpPr>
            <p:cNvPr id="12" name="Shape">
              <a:extLst>
                <a:ext uri="{FF2B5EF4-FFF2-40B4-BE49-F238E27FC236}">
                  <a16:creationId xmlns:a16="http://schemas.microsoft.com/office/drawing/2014/main" id="{34F2CB25-97E9-7E28-CBE4-5B1257744012}"/>
                </a:ext>
              </a:extLst>
            </p:cNvPr>
            <p:cNvSpPr/>
            <p:nvPr/>
          </p:nvSpPr>
          <p:spPr>
            <a:xfrm>
              <a:off x="6171531" y="4565734"/>
              <a:ext cx="46516" cy="154700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6416" y="3595"/>
                    <a:pt x="9196" y="7196"/>
                    <a:pt x="14115" y="10797"/>
                  </a:cubicBezTo>
                  <a:cubicBezTo>
                    <a:pt x="16467" y="14398"/>
                    <a:pt x="20958" y="17999"/>
                    <a:pt x="21600" y="21600"/>
                  </a:cubicBezTo>
                  <a:cubicBezTo>
                    <a:pt x="15184" y="18005"/>
                    <a:pt x="12404" y="14404"/>
                    <a:pt x="7485" y="10803"/>
                  </a:cubicBezTo>
                  <a:cubicBezTo>
                    <a:pt x="5133" y="7202"/>
                    <a:pt x="856" y="3601"/>
                    <a:pt x="0" y="0"/>
                  </a:cubicBezTo>
                  <a:close/>
                </a:path>
              </a:pathLst>
            </a:custGeom>
            <a:solidFill>
              <a:srgbClr val="808184"/>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sp>
          <p:nvSpPr>
            <p:cNvPr id="13" name="Circle">
              <a:extLst>
                <a:ext uri="{FF2B5EF4-FFF2-40B4-BE49-F238E27FC236}">
                  <a16:creationId xmlns:a16="http://schemas.microsoft.com/office/drawing/2014/main" id="{7BA6F202-376C-54DC-7378-C13C36B553F4}"/>
                </a:ext>
              </a:extLst>
            </p:cNvPr>
            <p:cNvSpPr/>
            <p:nvPr/>
          </p:nvSpPr>
          <p:spPr>
            <a:xfrm>
              <a:off x="5250426" y="2585364"/>
              <a:ext cx="1674567" cy="1674567"/>
            </a:xfrm>
            <a:prstGeom prst="ellipse">
              <a:avLst/>
            </a:prstGeom>
            <a:solidFill>
              <a:schemeClr val="accent3">
                <a:lumMod val="20000"/>
                <a:lumOff val="80000"/>
              </a:schemeClr>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231F20"/>
                </a:solidFill>
                <a:effectLst/>
                <a:uLnTx/>
                <a:uFillTx/>
                <a:latin typeface="Arial"/>
                <a:ea typeface="+mn-ea"/>
                <a:cs typeface="+mn-cs"/>
              </a:endParaRPr>
            </a:p>
          </p:txBody>
        </p:sp>
        <p:sp>
          <p:nvSpPr>
            <p:cNvPr id="14" name="Shape">
              <a:extLst>
                <a:ext uri="{FF2B5EF4-FFF2-40B4-BE49-F238E27FC236}">
                  <a16:creationId xmlns:a16="http://schemas.microsoft.com/office/drawing/2014/main" id="{21D633D8-C67C-998A-FD3A-0E639C4E2A9B}"/>
                </a:ext>
              </a:extLst>
            </p:cNvPr>
            <p:cNvSpPr/>
            <p:nvPr/>
          </p:nvSpPr>
          <p:spPr>
            <a:xfrm>
              <a:off x="5158316" y="2447199"/>
              <a:ext cx="1868924" cy="1868924"/>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44" y="21600"/>
                    <a:pt x="0" y="16756"/>
                    <a:pt x="0" y="10800"/>
                  </a:cubicBezTo>
                  <a:cubicBezTo>
                    <a:pt x="0" y="4844"/>
                    <a:pt x="4844" y="0"/>
                    <a:pt x="10800" y="0"/>
                  </a:cubicBezTo>
                  <a:cubicBezTo>
                    <a:pt x="16756" y="0"/>
                    <a:pt x="21600" y="4844"/>
                    <a:pt x="21600" y="10800"/>
                  </a:cubicBezTo>
                  <a:cubicBezTo>
                    <a:pt x="21600" y="16756"/>
                    <a:pt x="16751" y="21600"/>
                    <a:pt x="10800" y="21600"/>
                  </a:cubicBezTo>
                  <a:close/>
                  <a:moveTo>
                    <a:pt x="10800" y="2246"/>
                  </a:moveTo>
                  <a:cubicBezTo>
                    <a:pt x="6084" y="2246"/>
                    <a:pt x="2246" y="6084"/>
                    <a:pt x="2246" y="10800"/>
                  </a:cubicBezTo>
                  <a:cubicBezTo>
                    <a:pt x="2246" y="15516"/>
                    <a:pt x="6084" y="19354"/>
                    <a:pt x="10800" y="19354"/>
                  </a:cubicBezTo>
                  <a:cubicBezTo>
                    <a:pt x="15516" y="19354"/>
                    <a:pt x="19354" y="15516"/>
                    <a:pt x="19354" y="10800"/>
                  </a:cubicBezTo>
                  <a:cubicBezTo>
                    <a:pt x="19354" y="6084"/>
                    <a:pt x="15516" y="2246"/>
                    <a:pt x="10800" y="2246"/>
                  </a:cubicBezTo>
                  <a:close/>
                </a:path>
              </a:pathLst>
            </a:custGeom>
            <a:solidFill>
              <a:srgbClr val="353536"/>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sp>
          <p:nvSpPr>
            <p:cNvPr id="15" name="Shape">
              <a:extLst>
                <a:ext uri="{FF2B5EF4-FFF2-40B4-BE49-F238E27FC236}">
                  <a16:creationId xmlns:a16="http://schemas.microsoft.com/office/drawing/2014/main" id="{CA4B5EFB-AFC5-52B6-4F83-29249D8B0DBA}"/>
                </a:ext>
              </a:extLst>
            </p:cNvPr>
            <p:cNvSpPr/>
            <p:nvPr/>
          </p:nvSpPr>
          <p:spPr>
            <a:xfrm>
              <a:off x="5250423" y="3414354"/>
              <a:ext cx="1675554" cy="843735"/>
            </a:xfrm>
            <a:custGeom>
              <a:avLst/>
              <a:gdLst/>
              <a:ahLst/>
              <a:cxnLst>
                <a:cxn ang="0">
                  <a:pos x="wd2" y="hd2"/>
                </a:cxn>
                <a:cxn ang="5400000">
                  <a:pos x="wd2" y="hd2"/>
                </a:cxn>
                <a:cxn ang="10800000">
                  <a:pos x="wd2" y="hd2"/>
                </a:cxn>
                <a:cxn ang="16200000">
                  <a:pos x="wd2" y="hd2"/>
                </a:cxn>
              </a:cxnLst>
              <a:rect l="0" t="0" r="r" b="b"/>
              <a:pathLst>
                <a:path w="21577" h="21600" extrusionOk="0">
                  <a:moveTo>
                    <a:pt x="21577" y="0"/>
                  </a:moveTo>
                  <a:cubicBezTo>
                    <a:pt x="21589" y="2806"/>
                    <a:pt x="21328" y="5624"/>
                    <a:pt x="20794" y="8230"/>
                  </a:cubicBezTo>
                  <a:cubicBezTo>
                    <a:pt x="20260" y="10835"/>
                    <a:pt x="19460" y="13229"/>
                    <a:pt x="18458" y="15233"/>
                  </a:cubicBezTo>
                  <a:cubicBezTo>
                    <a:pt x="16465" y="19254"/>
                    <a:pt x="13642" y="21600"/>
                    <a:pt x="10789" y="21600"/>
                  </a:cubicBezTo>
                  <a:cubicBezTo>
                    <a:pt x="7936" y="21600"/>
                    <a:pt x="5119" y="19254"/>
                    <a:pt x="3120" y="15233"/>
                  </a:cubicBezTo>
                  <a:cubicBezTo>
                    <a:pt x="2124" y="13229"/>
                    <a:pt x="1323" y="10835"/>
                    <a:pt x="784" y="8230"/>
                  </a:cubicBezTo>
                  <a:cubicBezTo>
                    <a:pt x="256" y="5612"/>
                    <a:pt x="-11" y="2806"/>
                    <a:pt x="1" y="0"/>
                  </a:cubicBezTo>
                  <a:cubicBezTo>
                    <a:pt x="25" y="5624"/>
                    <a:pt x="1205" y="11142"/>
                    <a:pt x="3203" y="15068"/>
                  </a:cubicBezTo>
                  <a:cubicBezTo>
                    <a:pt x="5190" y="19018"/>
                    <a:pt x="7984" y="21294"/>
                    <a:pt x="10783" y="21246"/>
                  </a:cubicBezTo>
                  <a:cubicBezTo>
                    <a:pt x="13588" y="21282"/>
                    <a:pt x="16376" y="19018"/>
                    <a:pt x="18363" y="15068"/>
                  </a:cubicBezTo>
                  <a:cubicBezTo>
                    <a:pt x="20373" y="11142"/>
                    <a:pt x="21547" y="5612"/>
                    <a:pt x="21577" y="0"/>
                  </a:cubicBezTo>
                  <a:close/>
                </a:path>
              </a:pathLst>
            </a:custGeom>
            <a:solidFill>
              <a:srgbClr val="808184"/>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sp>
          <p:nvSpPr>
            <p:cNvPr id="16" name="Shape">
              <a:extLst>
                <a:ext uri="{FF2B5EF4-FFF2-40B4-BE49-F238E27FC236}">
                  <a16:creationId xmlns:a16="http://schemas.microsoft.com/office/drawing/2014/main" id="{052BDF76-58DD-0172-5307-CC54E15AEF9F}"/>
                </a:ext>
              </a:extLst>
            </p:cNvPr>
            <p:cNvSpPr/>
            <p:nvPr/>
          </p:nvSpPr>
          <p:spPr>
            <a:xfrm>
              <a:off x="5618868" y="2723526"/>
              <a:ext cx="1132980" cy="1132983"/>
            </a:xfrm>
            <a:custGeom>
              <a:avLst/>
              <a:gdLst/>
              <a:ahLst/>
              <a:cxnLst>
                <a:cxn ang="0">
                  <a:pos x="wd2" y="hd2"/>
                </a:cxn>
                <a:cxn ang="5400000">
                  <a:pos x="wd2" y="hd2"/>
                </a:cxn>
                <a:cxn ang="10800000">
                  <a:pos x="wd2" y="hd2"/>
                </a:cxn>
                <a:cxn ang="16200000">
                  <a:pos x="wd2" y="hd2"/>
                </a:cxn>
              </a:cxnLst>
              <a:rect l="0" t="0" r="r" b="b"/>
              <a:pathLst>
                <a:path w="21574" h="21574" extrusionOk="0">
                  <a:moveTo>
                    <a:pt x="0" y="3763"/>
                  </a:moveTo>
                  <a:cubicBezTo>
                    <a:pt x="1158" y="2587"/>
                    <a:pt x="2543" y="1631"/>
                    <a:pt x="4069" y="983"/>
                  </a:cubicBezTo>
                  <a:cubicBezTo>
                    <a:pt x="5595" y="342"/>
                    <a:pt x="7253" y="9"/>
                    <a:pt x="8910" y="0"/>
                  </a:cubicBezTo>
                  <a:cubicBezTo>
                    <a:pt x="12234" y="-26"/>
                    <a:pt x="15531" y="1333"/>
                    <a:pt x="17890" y="3684"/>
                  </a:cubicBezTo>
                  <a:cubicBezTo>
                    <a:pt x="20249" y="6043"/>
                    <a:pt x="21600" y="9340"/>
                    <a:pt x="21574" y="12664"/>
                  </a:cubicBezTo>
                  <a:cubicBezTo>
                    <a:pt x="21565" y="14321"/>
                    <a:pt x="21232" y="15979"/>
                    <a:pt x="20591" y="17505"/>
                  </a:cubicBezTo>
                  <a:cubicBezTo>
                    <a:pt x="19942" y="19031"/>
                    <a:pt x="18987" y="20416"/>
                    <a:pt x="17811" y="21574"/>
                  </a:cubicBezTo>
                  <a:cubicBezTo>
                    <a:pt x="20127" y="19215"/>
                    <a:pt x="21451" y="15953"/>
                    <a:pt x="21433" y="12664"/>
                  </a:cubicBezTo>
                  <a:cubicBezTo>
                    <a:pt x="21433" y="9375"/>
                    <a:pt x="20074" y="6130"/>
                    <a:pt x="17741" y="3833"/>
                  </a:cubicBezTo>
                  <a:cubicBezTo>
                    <a:pt x="15444" y="1500"/>
                    <a:pt x="12190" y="141"/>
                    <a:pt x="8910" y="141"/>
                  </a:cubicBezTo>
                  <a:cubicBezTo>
                    <a:pt x="5630" y="132"/>
                    <a:pt x="2359" y="1456"/>
                    <a:pt x="0" y="3763"/>
                  </a:cubicBezTo>
                  <a:close/>
                </a:path>
              </a:pathLst>
            </a:custGeom>
            <a:solidFill>
              <a:srgbClr val="FFFFFF"/>
            </a:solidFill>
            <a:ln w="12700">
              <a:solidFill>
                <a:schemeClr val="accent3">
                  <a:lumMod val="60000"/>
                  <a:lumOff val="40000"/>
                </a:schemeClr>
              </a:solidFill>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sp>
          <p:nvSpPr>
            <p:cNvPr id="17" name="Shape">
              <a:extLst>
                <a:ext uri="{FF2B5EF4-FFF2-40B4-BE49-F238E27FC236}">
                  <a16:creationId xmlns:a16="http://schemas.microsoft.com/office/drawing/2014/main" id="{D376520E-6F31-9449-032D-1CFE8D5503FF}"/>
                </a:ext>
              </a:extLst>
            </p:cNvPr>
            <p:cNvSpPr/>
            <p:nvPr/>
          </p:nvSpPr>
          <p:spPr>
            <a:xfrm>
              <a:off x="5250423" y="3414354"/>
              <a:ext cx="1675554" cy="843735"/>
            </a:xfrm>
            <a:custGeom>
              <a:avLst/>
              <a:gdLst/>
              <a:ahLst/>
              <a:cxnLst>
                <a:cxn ang="0">
                  <a:pos x="wd2" y="hd2"/>
                </a:cxn>
                <a:cxn ang="5400000">
                  <a:pos x="wd2" y="hd2"/>
                </a:cxn>
                <a:cxn ang="10800000">
                  <a:pos x="wd2" y="hd2"/>
                </a:cxn>
                <a:cxn ang="16200000">
                  <a:pos x="wd2" y="hd2"/>
                </a:cxn>
              </a:cxnLst>
              <a:rect l="0" t="0" r="r" b="b"/>
              <a:pathLst>
                <a:path w="21577" h="21600" extrusionOk="0">
                  <a:moveTo>
                    <a:pt x="21577" y="0"/>
                  </a:moveTo>
                  <a:cubicBezTo>
                    <a:pt x="21589" y="2806"/>
                    <a:pt x="21328" y="5624"/>
                    <a:pt x="20794" y="8230"/>
                  </a:cubicBezTo>
                  <a:cubicBezTo>
                    <a:pt x="20260" y="10835"/>
                    <a:pt x="19460" y="13229"/>
                    <a:pt x="18458" y="15233"/>
                  </a:cubicBezTo>
                  <a:cubicBezTo>
                    <a:pt x="16465" y="19254"/>
                    <a:pt x="13642" y="21600"/>
                    <a:pt x="10789" y="21600"/>
                  </a:cubicBezTo>
                  <a:cubicBezTo>
                    <a:pt x="7936" y="21600"/>
                    <a:pt x="5119" y="19254"/>
                    <a:pt x="3120" y="15233"/>
                  </a:cubicBezTo>
                  <a:cubicBezTo>
                    <a:pt x="2124" y="13229"/>
                    <a:pt x="1323" y="10835"/>
                    <a:pt x="784" y="8230"/>
                  </a:cubicBezTo>
                  <a:cubicBezTo>
                    <a:pt x="256" y="5612"/>
                    <a:pt x="-11" y="2806"/>
                    <a:pt x="1" y="0"/>
                  </a:cubicBezTo>
                  <a:cubicBezTo>
                    <a:pt x="25" y="5624"/>
                    <a:pt x="1205" y="11142"/>
                    <a:pt x="3203" y="15068"/>
                  </a:cubicBezTo>
                  <a:cubicBezTo>
                    <a:pt x="5190" y="19018"/>
                    <a:pt x="7984" y="21294"/>
                    <a:pt x="10783" y="21246"/>
                  </a:cubicBezTo>
                  <a:cubicBezTo>
                    <a:pt x="13588" y="21282"/>
                    <a:pt x="16376" y="19018"/>
                    <a:pt x="18363" y="15068"/>
                  </a:cubicBezTo>
                  <a:cubicBezTo>
                    <a:pt x="20373" y="11142"/>
                    <a:pt x="21547" y="5612"/>
                    <a:pt x="21577" y="0"/>
                  </a:cubicBezTo>
                  <a:close/>
                </a:path>
              </a:pathLst>
            </a:custGeom>
            <a:solidFill>
              <a:srgbClr val="808184"/>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sp>
          <p:nvSpPr>
            <p:cNvPr id="18" name="Shape">
              <a:extLst>
                <a:ext uri="{FF2B5EF4-FFF2-40B4-BE49-F238E27FC236}">
                  <a16:creationId xmlns:a16="http://schemas.microsoft.com/office/drawing/2014/main" id="{12BF332A-D41D-632C-5D1E-D6B78A8DDDCC}"/>
                </a:ext>
              </a:extLst>
            </p:cNvPr>
            <p:cNvSpPr/>
            <p:nvPr/>
          </p:nvSpPr>
          <p:spPr>
            <a:xfrm>
              <a:off x="5342533" y="4703904"/>
              <a:ext cx="1413449" cy="2735044"/>
            </a:xfrm>
            <a:custGeom>
              <a:avLst/>
              <a:gdLst/>
              <a:ahLst/>
              <a:cxnLst>
                <a:cxn ang="0">
                  <a:pos x="wd2" y="hd2"/>
                </a:cxn>
                <a:cxn ang="5400000">
                  <a:pos x="wd2" y="hd2"/>
                </a:cxn>
                <a:cxn ang="10800000">
                  <a:pos x="wd2" y="hd2"/>
                </a:cxn>
                <a:cxn ang="16200000">
                  <a:pos x="wd2" y="hd2"/>
                </a:cxn>
              </a:cxnLst>
              <a:rect l="0" t="0" r="r" b="b"/>
              <a:pathLst>
                <a:path w="21281" h="21433" extrusionOk="0">
                  <a:moveTo>
                    <a:pt x="8068" y="21433"/>
                  </a:moveTo>
                  <a:cubicBezTo>
                    <a:pt x="8068" y="21433"/>
                    <a:pt x="7326" y="18636"/>
                    <a:pt x="7229" y="18282"/>
                  </a:cubicBezTo>
                  <a:cubicBezTo>
                    <a:pt x="7132" y="17929"/>
                    <a:pt x="6425" y="17059"/>
                    <a:pt x="5815" y="16539"/>
                  </a:cubicBezTo>
                  <a:cubicBezTo>
                    <a:pt x="5205" y="16019"/>
                    <a:pt x="4851" y="14630"/>
                    <a:pt x="4366" y="14042"/>
                  </a:cubicBezTo>
                  <a:cubicBezTo>
                    <a:pt x="3880" y="13457"/>
                    <a:pt x="3332" y="11898"/>
                    <a:pt x="3367" y="10440"/>
                  </a:cubicBezTo>
                  <a:cubicBezTo>
                    <a:pt x="3367" y="10440"/>
                    <a:pt x="2986" y="10487"/>
                    <a:pt x="2674" y="10324"/>
                  </a:cubicBezTo>
                  <a:cubicBezTo>
                    <a:pt x="2362" y="10162"/>
                    <a:pt x="2403" y="9938"/>
                    <a:pt x="2403" y="9938"/>
                  </a:cubicBezTo>
                  <a:cubicBezTo>
                    <a:pt x="2403" y="9938"/>
                    <a:pt x="1308" y="10332"/>
                    <a:pt x="746" y="10130"/>
                  </a:cubicBezTo>
                  <a:cubicBezTo>
                    <a:pt x="184" y="9927"/>
                    <a:pt x="108" y="9772"/>
                    <a:pt x="87" y="9610"/>
                  </a:cubicBezTo>
                  <a:cubicBezTo>
                    <a:pt x="87" y="9610"/>
                    <a:pt x="-114" y="9523"/>
                    <a:pt x="94" y="9303"/>
                  </a:cubicBezTo>
                  <a:cubicBezTo>
                    <a:pt x="302" y="9083"/>
                    <a:pt x="989" y="8462"/>
                    <a:pt x="989" y="8462"/>
                  </a:cubicBezTo>
                  <a:cubicBezTo>
                    <a:pt x="989" y="8462"/>
                    <a:pt x="364" y="8311"/>
                    <a:pt x="177" y="8040"/>
                  </a:cubicBezTo>
                  <a:cubicBezTo>
                    <a:pt x="-10" y="7769"/>
                    <a:pt x="274" y="7520"/>
                    <a:pt x="503" y="7354"/>
                  </a:cubicBezTo>
                  <a:cubicBezTo>
                    <a:pt x="732" y="7188"/>
                    <a:pt x="1363" y="6687"/>
                    <a:pt x="1654" y="6387"/>
                  </a:cubicBezTo>
                  <a:cubicBezTo>
                    <a:pt x="1945" y="6087"/>
                    <a:pt x="2237" y="5683"/>
                    <a:pt x="2611" y="5452"/>
                  </a:cubicBezTo>
                  <a:cubicBezTo>
                    <a:pt x="2993" y="5221"/>
                    <a:pt x="3818" y="4868"/>
                    <a:pt x="3818" y="4868"/>
                  </a:cubicBezTo>
                  <a:cubicBezTo>
                    <a:pt x="3818" y="4868"/>
                    <a:pt x="3298" y="4622"/>
                    <a:pt x="3256" y="4474"/>
                  </a:cubicBezTo>
                  <a:cubicBezTo>
                    <a:pt x="3214" y="4326"/>
                    <a:pt x="3908" y="3900"/>
                    <a:pt x="4151" y="3742"/>
                  </a:cubicBezTo>
                  <a:cubicBezTo>
                    <a:pt x="4393" y="3583"/>
                    <a:pt x="5156" y="2958"/>
                    <a:pt x="5517" y="2720"/>
                  </a:cubicBezTo>
                  <a:cubicBezTo>
                    <a:pt x="5877" y="2482"/>
                    <a:pt x="6453" y="2118"/>
                    <a:pt x="6709" y="2035"/>
                  </a:cubicBezTo>
                  <a:cubicBezTo>
                    <a:pt x="6966" y="1952"/>
                    <a:pt x="7895" y="1789"/>
                    <a:pt x="8228" y="1663"/>
                  </a:cubicBezTo>
                  <a:cubicBezTo>
                    <a:pt x="8228" y="1663"/>
                    <a:pt x="8464" y="862"/>
                    <a:pt x="9469" y="349"/>
                  </a:cubicBezTo>
                  <a:cubicBezTo>
                    <a:pt x="10475" y="-167"/>
                    <a:pt x="11820" y="13"/>
                    <a:pt x="12132" y="118"/>
                  </a:cubicBezTo>
                  <a:cubicBezTo>
                    <a:pt x="12444" y="223"/>
                    <a:pt x="12985" y="479"/>
                    <a:pt x="13331" y="851"/>
                  </a:cubicBezTo>
                  <a:cubicBezTo>
                    <a:pt x="13331" y="851"/>
                    <a:pt x="13886" y="815"/>
                    <a:pt x="14482" y="1024"/>
                  </a:cubicBezTo>
                  <a:cubicBezTo>
                    <a:pt x="15079" y="1233"/>
                    <a:pt x="15474" y="1598"/>
                    <a:pt x="16036" y="2092"/>
                  </a:cubicBezTo>
                  <a:cubicBezTo>
                    <a:pt x="16597" y="2587"/>
                    <a:pt x="18747" y="4474"/>
                    <a:pt x="19232" y="4868"/>
                  </a:cubicBezTo>
                  <a:cubicBezTo>
                    <a:pt x="19718" y="5261"/>
                    <a:pt x="20349" y="5651"/>
                    <a:pt x="20702" y="6012"/>
                  </a:cubicBezTo>
                  <a:cubicBezTo>
                    <a:pt x="21056" y="6373"/>
                    <a:pt x="21202" y="6780"/>
                    <a:pt x="21063" y="7195"/>
                  </a:cubicBezTo>
                  <a:cubicBezTo>
                    <a:pt x="21063" y="7195"/>
                    <a:pt x="21486" y="7502"/>
                    <a:pt x="21153" y="8170"/>
                  </a:cubicBezTo>
                  <a:cubicBezTo>
                    <a:pt x="20813" y="8841"/>
                    <a:pt x="19593" y="10465"/>
                    <a:pt x="19149" y="11238"/>
                  </a:cubicBezTo>
                  <a:cubicBezTo>
                    <a:pt x="18705" y="12013"/>
                    <a:pt x="17707" y="13912"/>
                    <a:pt x="17430" y="15258"/>
                  </a:cubicBezTo>
                  <a:cubicBezTo>
                    <a:pt x="17145" y="16600"/>
                    <a:pt x="17672" y="19286"/>
                    <a:pt x="18171" y="20794"/>
                  </a:cubicBezTo>
                  <a:lnTo>
                    <a:pt x="8068" y="21433"/>
                  </a:lnTo>
                  <a:close/>
                </a:path>
              </a:pathLst>
            </a:custGeom>
            <a:solidFill>
              <a:srgbClr val="F9D3A8"/>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sp>
          <p:nvSpPr>
            <p:cNvPr id="19" name="Shape">
              <a:extLst>
                <a:ext uri="{FF2B5EF4-FFF2-40B4-BE49-F238E27FC236}">
                  <a16:creationId xmlns:a16="http://schemas.microsoft.com/office/drawing/2014/main" id="{6334C737-67ED-A5A6-586F-E481C354278D}"/>
                </a:ext>
              </a:extLst>
            </p:cNvPr>
            <p:cNvSpPr/>
            <p:nvPr/>
          </p:nvSpPr>
          <p:spPr>
            <a:xfrm>
              <a:off x="5572809" y="4934180"/>
              <a:ext cx="322390" cy="112053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864" y="20188"/>
                  </a:lnTo>
                  <a:cubicBezTo>
                    <a:pt x="1173" y="19727"/>
                    <a:pt x="926" y="19256"/>
                    <a:pt x="895" y="18777"/>
                  </a:cubicBezTo>
                  <a:cubicBezTo>
                    <a:pt x="771" y="18289"/>
                    <a:pt x="1234" y="17774"/>
                    <a:pt x="1851" y="17330"/>
                  </a:cubicBezTo>
                  <a:cubicBezTo>
                    <a:pt x="2438" y="16877"/>
                    <a:pt x="3117" y="16433"/>
                    <a:pt x="3888" y="15998"/>
                  </a:cubicBezTo>
                  <a:cubicBezTo>
                    <a:pt x="5338" y="15119"/>
                    <a:pt x="7406" y="14329"/>
                    <a:pt x="9288" y="13565"/>
                  </a:cubicBezTo>
                  <a:cubicBezTo>
                    <a:pt x="11201" y="12784"/>
                    <a:pt x="12929" y="11985"/>
                    <a:pt x="14379" y="11142"/>
                  </a:cubicBezTo>
                  <a:cubicBezTo>
                    <a:pt x="15922" y="10352"/>
                    <a:pt x="16385" y="9402"/>
                    <a:pt x="16848" y="8461"/>
                  </a:cubicBezTo>
                  <a:cubicBezTo>
                    <a:pt x="17249" y="7537"/>
                    <a:pt x="17558" y="6543"/>
                    <a:pt x="17897" y="5629"/>
                  </a:cubicBezTo>
                  <a:cubicBezTo>
                    <a:pt x="17990" y="3720"/>
                    <a:pt x="18946" y="1758"/>
                    <a:pt x="21600" y="0"/>
                  </a:cubicBezTo>
                  <a:cubicBezTo>
                    <a:pt x="19563" y="1829"/>
                    <a:pt x="18977" y="3729"/>
                    <a:pt x="19131" y="5637"/>
                  </a:cubicBezTo>
                  <a:cubicBezTo>
                    <a:pt x="18977" y="6632"/>
                    <a:pt x="18669" y="7546"/>
                    <a:pt x="18298" y="8514"/>
                  </a:cubicBezTo>
                  <a:cubicBezTo>
                    <a:pt x="17866" y="9455"/>
                    <a:pt x="17465" y="10458"/>
                    <a:pt x="15799" y="11355"/>
                  </a:cubicBezTo>
                  <a:cubicBezTo>
                    <a:pt x="14256" y="12216"/>
                    <a:pt x="12436" y="13033"/>
                    <a:pt x="10461" y="13814"/>
                  </a:cubicBezTo>
                  <a:cubicBezTo>
                    <a:pt x="8455" y="14595"/>
                    <a:pt x="6542" y="15341"/>
                    <a:pt x="4968" y="16176"/>
                  </a:cubicBezTo>
                  <a:cubicBezTo>
                    <a:pt x="4166" y="16584"/>
                    <a:pt x="3425" y="17010"/>
                    <a:pt x="2808" y="17445"/>
                  </a:cubicBezTo>
                  <a:cubicBezTo>
                    <a:pt x="2129" y="17889"/>
                    <a:pt x="1666" y="18306"/>
                    <a:pt x="1697" y="18777"/>
                  </a:cubicBezTo>
                  <a:cubicBezTo>
                    <a:pt x="1605" y="19247"/>
                    <a:pt x="1759" y="19736"/>
                    <a:pt x="1296" y="20215"/>
                  </a:cubicBezTo>
                  <a:lnTo>
                    <a:pt x="0" y="21600"/>
                  </a:lnTo>
                  <a:close/>
                </a:path>
              </a:pathLst>
            </a:custGeom>
            <a:solidFill>
              <a:srgbClr val="E69D7F"/>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sp>
          <p:nvSpPr>
            <p:cNvPr id="20" name="Shape">
              <a:extLst>
                <a:ext uri="{FF2B5EF4-FFF2-40B4-BE49-F238E27FC236}">
                  <a16:creationId xmlns:a16="http://schemas.microsoft.com/office/drawing/2014/main" id="{0AE817F6-779F-57E4-F45E-A32C45CB4B62}"/>
                </a:ext>
              </a:extLst>
            </p:cNvPr>
            <p:cNvSpPr/>
            <p:nvPr/>
          </p:nvSpPr>
          <p:spPr>
            <a:xfrm>
              <a:off x="6171531" y="4842065"/>
              <a:ext cx="131896" cy="996178"/>
            </a:xfrm>
            <a:custGeom>
              <a:avLst/>
              <a:gdLst/>
              <a:ahLst/>
              <a:cxnLst>
                <a:cxn ang="0">
                  <a:pos x="wd2" y="hd2"/>
                </a:cxn>
                <a:cxn ang="5400000">
                  <a:pos x="wd2" y="hd2"/>
                </a:cxn>
                <a:cxn ang="10800000">
                  <a:pos x="wd2" y="hd2"/>
                </a:cxn>
                <a:cxn ang="16200000">
                  <a:pos x="wd2" y="hd2"/>
                </a:cxn>
              </a:cxnLst>
              <a:rect l="0" t="0" r="r" b="b"/>
              <a:pathLst>
                <a:path w="21257" h="21600" extrusionOk="0">
                  <a:moveTo>
                    <a:pt x="14574" y="0"/>
                  </a:moveTo>
                  <a:cubicBezTo>
                    <a:pt x="17914" y="1797"/>
                    <a:pt x="20512" y="3615"/>
                    <a:pt x="21180" y="5482"/>
                  </a:cubicBezTo>
                  <a:cubicBezTo>
                    <a:pt x="21477" y="6421"/>
                    <a:pt x="20883" y="7350"/>
                    <a:pt x="19918" y="8278"/>
                  </a:cubicBezTo>
                  <a:cubicBezTo>
                    <a:pt x="18879" y="9207"/>
                    <a:pt x="17469" y="10126"/>
                    <a:pt x="14796" y="11025"/>
                  </a:cubicBezTo>
                  <a:lnTo>
                    <a:pt x="7671" y="13611"/>
                  </a:lnTo>
                  <a:cubicBezTo>
                    <a:pt x="6260" y="14060"/>
                    <a:pt x="5518" y="14390"/>
                    <a:pt x="5889" y="14849"/>
                  </a:cubicBezTo>
                  <a:cubicBezTo>
                    <a:pt x="6038" y="15289"/>
                    <a:pt x="7003" y="15748"/>
                    <a:pt x="6335" y="16277"/>
                  </a:cubicBezTo>
                  <a:cubicBezTo>
                    <a:pt x="5518" y="16767"/>
                    <a:pt x="4182" y="17186"/>
                    <a:pt x="3143" y="17616"/>
                  </a:cubicBezTo>
                  <a:cubicBezTo>
                    <a:pt x="2623" y="17825"/>
                    <a:pt x="2104" y="18055"/>
                    <a:pt x="2178" y="18225"/>
                  </a:cubicBezTo>
                  <a:lnTo>
                    <a:pt x="2994" y="18894"/>
                  </a:lnTo>
                  <a:cubicBezTo>
                    <a:pt x="3959" y="19802"/>
                    <a:pt x="5221" y="20711"/>
                    <a:pt x="7151" y="21600"/>
                  </a:cubicBezTo>
                  <a:cubicBezTo>
                    <a:pt x="4405" y="20751"/>
                    <a:pt x="2772" y="19842"/>
                    <a:pt x="1139" y="18944"/>
                  </a:cubicBezTo>
                  <a:lnTo>
                    <a:pt x="25" y="18255"/>
                  </a:lnTo>
                  <a:cubicBezTo>
                    <a:pt x="-123" y="17955"/>
                    <a:pt x="396" y="17745"/>
                    <a:pt x="842" y="17506"/>
                  </a:cubicBezTo>
                  <a:cubicBezTo>
                    <a:pt x="1732" y="17056"/>
                    <a:pt x="2920" y="16607"/>
                    <a:pt x="3440" y="16188"/>
                  </a:cubicBezTo>
                  <a:cubicBezTo>
                    <a:pt x="3811" y="15798"/>
                    <a:pt x="2846" y="15339"/>
                    <a:pt x="2549" y="14859"/>
                  </a:cubicBezTo>
                  <a:cubicBezTo>
                    <a:pt x="2401" y="14620"/>
                    <a:pt x="2401" y="14370"/>
                    <a:pt x="2772" y="14110"/>
                  </a:cubicBezTo>
                  <a:cubicBezTo>
                    <a:pt x="3217" y="13841"/>
                    <a:pt x="3885" y="13631"/>
                    <a:pt x="4405" y="13411"/>
                  </a:cubicBezTo>
                  <a:lnTo>
                    <a:pt x="11308" y="10785"/>
                  </a:lnTo>
                  <a:cubicBezTo>
                    <a:pt x="16281" y="9137"/>
                    <a:pt x="17914" y="7270"/>
                    <a:pt x="18285" y="5462"/>
                  </a:cubicBezTo>
                  <a:cubicBezTo>
                    <a:pt x="18137" y="3665"/>
                    <a:pt x="16355" y="1827"/>
                    <a:pt x="14574" y="0"/>
                  </a:cubicBezTo>
                  <a:close/>
                </a:path>
              </a:pathLst>
            </a:custGeom>
            <a:solidFill>
              <a:srgbClr val="E69D7F"/>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sp>
          <p:nvSpPr>
            <p:cNvPr id="21" name="Shape">
              <a:extLst>
                <a:ext uri="{FF2B5EF4-FFF2-40B4-BE49-F238E27FC236}">
                  <a16:creationId xmlns:a16="http://schemas.microsoft.com/office/drawing/2014/main" id="{C919DC8C-CA5F-BDC0-6F1C-454BCACCE4E0}"/>
                </a:ext>
              </a:extLst>
            </p:cNvPr>
            <p:cNvSpPr/>
            <p:nvPr/>
          </p:nvSpPr>
          <p:spPr>
            <a:xfrm>
              <a:off x="5618868" y="5302618"/>
              <a:ext cx="240872" cy="78533"/>
            </a:xfrm>
            <a:custGeom>
              <a:avLst/>
              <a:gdLst/>
              <a:ahLst/>
              <a:cxnLst>
                <a:cxn ang="0">
                  <a:pos x="wd2" y="hd2"/>
                </a:cxn>
                <a:cxn ang="5400000">
                  <a:pos x="wd2" y="hd2"/>
                </a:cxn>
                <a:cxn ang="10800000">
                  <a:pos x="wd2" y="hd2"/>
                </a:cxn>
                <a:cxn ang="16200000">
                  <a:pos x="wd2" y="hd2"/>
                </a:cxn>
              </a:cxnLst>
              <a:rect l="0" t="0" r="r" b="b"/>
              <a:pathLst>
                <a:path w="21600" h="20691" extrusionOk="0">
                  <a:moveTo>
                    <a:pt x="0" y="11892"/>
                  </a:moveTo>
                  <a:cubicBezTo>
                    <a:pt x="1817" y="14198"/>
                    <a:pt x="3676" y="15047"/>
                    <a:pt x="5493" y="15169"/>
                  </a:cubicBezTo>
                  <a:cubicBezTo>
                    <a:pt x="7351" y="15290"/>
                    <a:pt x="8921" y="13834"/>
                    <a:pt x="10738" y="11892"/>
                  </a:cubicBezTo>
                  <a:cubicBezTo>
                    <a:pt x="14290" y="8130"/>
                    <a:pt x="17800" y="3397"/>
                    <a:pt x="21600" y="0"/>
                  </a:cubicBezTo>
                  <a:cubicBezTo>
                    <a:pt x="20154" y="4005"/>
                    <a:pt x="18502" y="7281"/>
                    <a:pt x="16850" y="10314"/>
                  </a:cubicBezTo>
                  <a:cubicBezTo>
                    <a:pt x="15157" y="13348"/>
                    <a:pt x="13381" y="15897"/>
                    <a:pt x="11523" y="17960"/>
                  </a:cubicBezTo>
                  <a:cubicBezTo>
                    <a:pt x="9747" y="19901"/>
                    <a:pt x="7393" y="21600"/>
                    <a:pt x="5369" y="20144"/>
                  </a:cubicBezTo>
                  <a:cubicBezTo>
                    <a:pt x="3345" y="18931"/>
                    <a:pt x="1322" y="16382"/>
                    <a:pt x="0" y="11892"/>
                  </a:cubicBezTo>
                  <a:close/>
                </a:path>
              </a:pathLst>
            </a:custGeom>
            <a:solidFill>
              <a:srgbClr val="E69D7F"/>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sp>
          <p:nvSpPr>
            <p:cNvPr id="22" name="Shape">
              <a:extLst>
                <a:ext uri="{FF2B5EF4-FFF2-40B4-BE49-F238E27FC236}">
                  <a16:creationId xmlns:a16="http://schemas.microsoft.com/office/drawing/2014/main" id="{5A079A4C-E254-A219-0432-82F7C5BEC178}"/>
                </a:ext>
              </a:extLst>
            </p:cNvPr>
            <p:cNvSpPr/>
            <p:nvPr/>
          </p:nvSpPr>
          <p:spPr>
            <a:xfrm>
              <a:off x="5434647" y="5625004"/>
              <a:ext cx="315478" cy="188417"/>
            </a:xfrm>
            <a:custGeom>
              <a:avLst/>
              <a:gdLst/>
              <a:ahLst/>
              <a:cxnLst>
                <a:cxn ang="0">
                  <a:pos x="wd2" y="hd2"/>
                </a:cxn>
                <a:cxn ang="5400000">
                  <a:pos x="wd2" y="hd2"/>
                </a:cxn>
                <a:cxn ang="10800000">
                  <a:pos x="wd2" y="hd2"/>
                </a:cxn>
                <a:cxn ang="16200000">
                  <a:pos x="wd2" y="hd2"/>
                </a:cxn>
              </a:cxnLst>
              <a:rect l="0" t="0" r="r" b="b"/>
              <a:pathLst>
                <a:path w="21600" h="21553" extrusionOk="0">
                  <a:moveTo>
                    <a:pt x="0" y="19756"/>
                  </a:moveTo>
                  <a:cubicBezTo>
                    <a:pt x="946" y="20704"/>
                    <a:pt x="2018" y="20599"/>
                    <a:pt x="3027" y="20230"/>
                  </a:cubicBezTo>
                  <a:cubicBezTo>
                    <a:pt x="4036" y="19861"/>
                    <a:pt x="4982" y="19229"/>
                    <a:pt x="5928" y="18386"/>
                  </a:cubicBezTo>
                  <a:cubicBezTo>
                    <a:pt x="7757" y="16648"/>
                    <a:pt x="9681" y="14909"/>
                    <a:pt x="11415" y="13013"/>
                  </a:cubicBezTo>
                  <a:cubicBezTo>
                    <a:pt x="14978" y="9272"/>
                    <a:pt x="18131" y="4425"/>
                    <a:pt x="21600" y="0"/>
                  </a:cubicBezTo>
                  <a:cubicBezTo>
                    <a:pt x="20370" y="3003"/>
                    <a:pt x="18951" y="5743"/>
                    <a:pt x="17406" y="8377"/>
                  </a:cubicBezTo>
                  <a:cubicBezTo>
                    <a:pt x="15893" y="11011"/>
                    <a:pt x="14158" y="13382"/>
                    <a:pt x="12298" y="15384"/>
                  </a:cubicBezTo>
                  <a:cubicBezTo>
                    <a:pt x="10406" y="17333"/>
                    <a:pt x="8514" y="19019"/>
                    <a:pt x="6433" y="20336"/>
                  </a:cubicBezTo>
                  <a:cubicBezTo>
                    <a:pt x="5361" y="20968"/>
                    <a:pt x="4257" y="21442"/>
                    <a:pt x="3122" y="21548"/>
                  </a:cubicBezTo>
                  <a:cubicBezTo>
                    <a:pt x="1987" y="21600"/>
                    <a:pt x="725" y="21284"/>
                    <a:pt x="0" y="19756"/>
                  </a:cubicBezTo>
                  <a:close/>
                </a:path>
              </a:pathLst>
            </a:custGeom>
            <a:solidFill>
              <a:srgbClr val="E69D7F"/>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sp>
          <p:nvSpPr>
            <p:cNvPr id="23" name="Shape">
              <a:extLst>
                <a:ext uri="{FF2B5EF4-FFF2-40B4-BE49-F238E27FC236}">
                  <a16:creationId xmlns:a16="http://schemas.microsoft.com/office/drawing/2014/main" id="{90231383-490C-BE7F-7764-D1B17915123C}"/>
                </a:ext>
              </a:extLst>
            </p:cNvPr>
            <p:cNvSpPr/>
            <p:nvPr/>
          </p:nvSpPr>
          <p:spPr>
            <a:xfrm>
              <a:off x="5526758" y="5901335"/>
              <a:ext cx="89351" cy="75534"/>
            </a:xfrm>
            <a:custGeom>
              <a:avLst/>
              <a:gdLst/>
              <a:ahLst/>
              <a:cxnLst>
                <a:cxn ang="0">
                  <a:pos x="wd2" y="hd2"/>
                </a:cxn>
                <a:cxn ang="5400000">
                  <a:pos x="wd2" y="hd2"/>
                </a:cxn>
                <a:cxn ang="10800000">
                  <a:pos x="wd2" y="hd2"/>
                </a:cxn>
                <a:cxn ang="16200000">
                  <a:pos x="wd2" y="hd2"/>
                </a:cxn>
              </a:cxnLst>
              <a:rect l="0" t="0" r="r" b="b"/>
              <a:pathLst>
                <a:path w="21600" h="21600" extrusionOk="0">
                  <a:moveTo>
                    <a:pt x="0" y="15673"/>
                  </a:moveTo>
                  <a:cubicBezTo>
                    <a:pt x="7460" y="11722"/>
                    <a:pt x="14920" y="6191"/>
                    <a:pt x="21600" y="0"/>
                  </a:cubicBezTo>
                  <a:cubicBezTo>
                    <a:pt x="16144" y="7902"/>
                    <a:pt x="10021" y="15147"/>
                    <a:pt x="2895" y="21600"/>
                  </a:cubicBezTo>
                  <a:lnTo>
                    <a:pt x="0" y="15673"/>
                  </a:lnTo>
                  <a:close/>
                </a:path>
              </a:pathLst>
            </a:custGeom>
            <a:solidFill>
              <a:srgbClr val="E69D7F"/>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sp>
          <p:nvSpPr>
            <p:cNvPr id="24" name="Shape">
              <a:extLst>
                <a:ext uri="{FF2B5EF4-FFF2-40B4-BE49-F238E27FC236}">
                  <a16:creationId xmlns:a16="http://schemas.microsoft.com/office/drawing/2014/main" id="{6054C95C-349E-6CED-EB24-9DD7C6086619}"/>
                </a:ext>
              </a:extLst>
            </p:cNvPr>
            <p:cNvSpPr/>
            <p:nvPr/>
          </p:nvSpPr>
          <p:spPr>
            <a:xfrm>
              <a:off x="5710978" y="5394728"/>
              <a:ext cx="66983" cy="196659"/>
            </a:xfrm>
            <a:custGeom>
              <a:avLst/>
              <a:gdLst/>
              <a:ahLst/>
              <a:cxnLst>
                <a:cxn ang="0">
                  <a:pos x="wd2" y="hd2"/>
                </a:cxn>
                <a:cxn ang="5400000">
                  <a:pos x="wd2" y="hd2"/>
                </a:cxn>
                <a:cxn ang="10800000">
                  <a:pos x="wd2" y="hd2"/>
                </a:cxn>
                <a:cxn ang="16200000">
                  <a:pos x="wd2" y="hd2"/>
                </a:cxn>
              </a:cxnLst>
              <a:rect l="0" t="0" r="r" b="b"/>
              <a:pathLst>
                <a:path w="21226" h="21600" extrusionOk="0">
                  <a:moveTo>
                    <a:pt x="13281" y="21094"/>
                  </a:moveTo>
                  <a:cubicBezTo>
                    <a:pt x="14157" y="19526"/>
                    <a:pt x="14303" y="17604"/>
                    <a:pt x="14157" y="15833"/>
                  </a:cubicBezTo>
                  <a:cubicBezTo>
                    <a:pt x="13865" y="14012"/>
                    <a:pt x="12990" y="12191"/>
                    <a:pt x="11822" y="10370"/>
                  </a:cubicBezTo>
                  <a:cubicBezTo>
                    <a:pt x="9340" y="6778"/>
                    <a:pt x="5254" y="3288"/>
                    <a:pt x="0" y="0"/>
                  </a:cubicBezTo>
                  <a:cubicBezTo>
                    <a:pt x="6422" y="3035"/>
                    <a:pt x="11676" y="6425"/>
                    <a:pt x="15617" y="10016"/>
                  </a:cubicBezTo>
                  <a:cubicBezTo>
                    <a:pt x="17514" y="11837"/>
                    <a:pt x="18973" y="13709"/>
                    <a:pt x="19995" y="15631"/>
                  </a:cubicBezTo>
                  <a:cubicBezTo>
                    <a:pt x="20870" y="17553"/>
                    <a:pt x="21600" y="19425"/>
                    <a:pt x="21017" y="21600"/>
                  </a:cubicBezTo>
                  <a:lnTo>
                    <a:pt x="13281" y="21094"/>
                  </a:lnTo>
                  <a:close/>
                </a:path>
              </a:pathLst>
            </a:custGeom>
            <a:solidFill>
              <a:srgbClr val="E69D7F"/>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sp>
          <p:nvSpPr>
            <p:cNvPr id="25" name="Shape">
              <a:extLst>
                <a:ext uri="{FF2B5EF4-FFF2-40B4-BE49-F238E27FC236}">
                  <a16:creationId xmlns:a16="http://schemas.microsoft.com/office/drawing/2014/main" id="{AFCE2954-E8A3-D552-EC2E-E02DD9BAAC9E}"/>
                </a:ext>
              </a:extLst>
            </p:cNvPr>
            <p:cNvSpPr/>
            <p:nvPr/>
          </p:nvSpPr>
          <p:spPr>
            <a:xfrm>
              <a:off x="6171527" y="5578949"/>
              <a:ext cx="161197" cy="64256"/>
            </a:xfrm>
            <a:custGeom>
              <a:avLst/>
              <a:gdLst/>
              <a:ahLst/>
              <a:cxnLst>
                <a:cxn ang="0">
                  <a:pos x="wd2" y="hd2"/>
                </a:cxn>
                <a:cxn ang="5400000">
                  <a:pos x="wd2" y="hd2"/>
                </a:cxn>
                <a:cxn ang="10800000">
                  <a:pos x="wd2" y="hd2"/>
                </a:cxn>
                <a:cxn ang="16200000">
                  <a:pos x="wd2" y="hd2"/>
                </a:cxn>
              </a:cxnLst>
              <a:rect l="0" t="0" r="r" b="b"/>
              <a:pathLst>
                <a:path w="21600" h="20926" extrusionOk="0">
                  <a:moveTo>
                    <a:pt x="1666" y="0"/>
                  </a:moveTo>
                  <a:cubicBezTo>
                    <a:pt x="3332" y="2700"/>
                    <a:pt x="4875" y="5400"/>
                    <a:pt x="6357" y="8400"/>
                  </a:cubicBezTo>
                  <a:cubicBezTo>
                    <a:pt x="7097" y="9900"/>
                    <a:pt x="7838" y="11400"/>
                    <a:pt x="8517" y="13200"/>
                  </a:cubicBezTo>
                  <a:cubicBezTo>
                    <a:pt x="9010" y="14550"/>
                    <a:pt x="9751" y="15300"/>
                    <a:pt x="10553" y="16200"/>
                  </a:cubicBezTo>
                  <a:cubicBezTo>
                    <a:pt x="13947" y="18900"/>
                    <a:pt x="17835" y="19650"/>
                    <a:pt x="21600" y="19950"/>
                  </a:cubicBezTo>
                  <a:cubicBezTo>
                    <a:pt x="17836" y="20850"/>
                    <a:pt x="14071" y="21600"/>
                    <a:pt x="10121" y="19950"/>
                  </a:cubicBezTo>
                  <a:cubicBezTo>
                    <a:pt x="9196" y="19500"/>
                    <a:pt x="8023" y="18600"/>
                    <a:pt x="7159" y="16950"/>
                  </a:cubicBezTo>
                  <a:cubicBezTo>
                    <a:pt x="6418" y="15600"/>
                    <a:pt x="5678" y="14400"/>
                    <a:pt x="4875" y="13350"/>
                  </a:cubicBezTo>
                  <a:cubicBezTo>
                    <a:pt x="3333" y="11100"/>
                    <a:pt x="1666" y="9001"/>
                    <a:pt x="0" y="7050"/>
                  </a:cubicBezTo>
                  <a:lnTo>
                    <a:pt x="1666" y="0"/>
                  </a:lnTo>
                  <a:close/>
                </a:path>
              </a:pathLst>
            </a:custGeom>
            <a:solidFill>
              <a:srgbClr val="E69D7F"/>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sp>
          <p:nvSpPr>
            <p:cNvPr id="26" name="Shape">
              <a:extLst>
                <a:ext uri="{FF2B5EF4-FFF2-40B4-BE49-F238E27FC236}">
                  <a16:creationId xmlns:a16="http://schemas.microsoft.com/office/drawing/2014/main" id="{B4F121F9-8838-8B3C-BDEA-C6728CD1615F}"/>
                </a:ext>
              </a:extLst>
            </p:cNvPr>
            <p:cNvSpPr/>
            <p:nvPr/>
          </p:nvSpPr>
          <p:spPr>
            <a:xfrm>
              <a:off x="6171527" y="5440787"/>
              <a:ext cx="259759" cy="60847"/>
            </a:xfrm>
            <a:custGeom>
              <a:avLst/>
              <a:gdLst/>
              <a:ahLst/>
              <a:cxnLst>
                <a:cxn ang="0">
                  <a:pos x="wd2" y="hd2"/>
                </a:cxn>
                <a:cxn ang="5400000">
                  <a:pos x="wd2" y="hd2"/>
                </a:cxn>
                <a:cxn ang="10800000">
                  <a:pos x="wd2" y="hd2"/>
                </a:cxn>
                <a:cxn ang="16200000">
                  <a:pos x="wd2" y="hd2"/>
                </a:cxn>
              </a:cxnLst>
              <a:rect l="0" t="0" r="r" b="b"/>
              <a:pathLst>
                <a:path w="21600" h="20831" extrusionOk="0">
                  <a:moveTo>
                    <a:pt x="0" y="13106"/>
                  </a:moveTo>
                  <a:cubicBezTo>
                    <a:pt x="3523" y="7745"/>
                    <a:pt x="7085" y="4119"/>
                    <a:pt x="10685" y="1911"/>
                  </a:cubicBezTo>
                  <a:cubicBezTo>
                    <a:pt x="14323" y="-296"/>
                    <a:pt x="18000" y="-769"/>
                    <a:pt x="21600" y="1438"/>
                  </a:cubicBezTo>
                  <a:cubicBezTo>
                    <a:pt x="17962" y="650"/>
                    <a:pt x="14362" y="2541"/>
                    <a:pt x="10877" y="6010"/>
                  </a:cubicBezTo>
                  <a:cubicBezTo>
                    <a:pt x="7392" y="9478"/>
                    <a:pt x="3983" y="14524"/>
                    <a:pt x="804" y="20831"/>
                  </a:cubicBezTo>
                  <a:lnTo>
                    <a:pt x="0" y="13106"/>
                  </a:lnTo>
                  <a:close/>
                </a:path>
              </a:pathLst>
            </a:custGeom>
            <a:solidFill>
              <a:srgbClr val="E69D7F"/>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sp>
          <p:nvSpPr>
            <p:cNvPr id="27" name="Triangle">
              <a:extLst>
                <a:ext uri="{FF2B5EF4-FFF2-40B4-BE49-F238E27FC236}">
                  <a16:creationId xmlns:a16="http://schemas.microsoft.com/office/drawing/2014/main" id="{DE7C6333-A332-A778-D28E-5CC6EAE04575}"/>
                </a:ext>
              </a:extLst>
            </p:cNvPr>
            <p:cNvSpPr/>
            <p:nvPr/>
          </p:nvSpPr>
          <p:spPr>
            <a:xfrm>
              <a:off x="6217586" y="5256562"/>
              <a:ext cx="118826" cy="48822"/>
            </a:xfrm>
            <a:custGeom>
              <a:avLst/>
              <a:gdLst/>
              <a:ahLst/>
              <a:cxnLst>
                <a:cxn ang="0">
                  <a:pos x="wd2" y="hd2"/>
                </a:cxn>
                <a:cxn ang="5400000">
                  <a:pos x="wd2" y="hd2"/>
                </a:cxn>
                <a:cxn ang="10800000">
                  <a:pos x="wd2" y="hd2"/>
                </a:cxn>
                <a:cxn ang="16200000">
                  <a:pos x="wd2" y="hd2"/>
                </a:cxn>
              </a:cxnLst>
              <a:rect l="0" t="0" r="r" b="b"/>
              <a:pathLst>
                <a:path w="21600" h="21600" extrusionOk="0">
                  <a:moveTo>
                    <a:pt x="0" y="11615"/>
                  </a:moveTo>
                  <a:lnTo>
                    <a:pt x="21600" y="0"/>
                  </a:lnTo>
                  <a:lnTo>
                    <a:pt x="1423" y="21600"/>
                  </a:lnTo>
                  <a:close/>
                </a:path>
              </a:pathLst>
            </a:custGeom>
            <a:solidFill>
              <a:srgbClr val="E69D7F"/>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sp>
          <p:nvSpPr>
            <p:cNvPr id="28" name="Shape">
              <a:extLst>
                <a:ext uri="{FF2B5EF4-FFF2-40B4-BE49-F238E27FC236}">
                  <a16:creationId xmlns:a16="http://schemas.microsoft.com/office/drawing/2014/main" id="{2683793F-3E41-790C-A6D6-652E3A431357}"/>
                </a:ext>
              </a:extLst>
            </p:cNvPr>
            <p:cNvSpPr/>
            <p:nvPr/>
          </p:nvSpPr>
          <p:spPr>
            <a:xfrm>
              <a:off x="5895199" y="5302621"/>
              <a:ext cx="242711" cy="64847"/>
            </a:xfrm>
            <a:custGeom>
              <a:avLst/>
              <a:gdLst/>
              <a:ahLst/>
              <a:cxnLst>
                <a:cxn ang="0">
                  <a:pos x="wd2" y="hd2"/>
                </a:cxn>
                <a:cxn ang="5400000">
                  <a:pos x="wd2" y="hd2"/>
                </a:cxn>
                <a:cxn ang="10800000">
                  <a:pos x="wd2" y="hd2"/>
                </a:cxn>
                <a:cxn ang="16200000">
                  <a:pos x="wd2" y="hd2"/>
                </a:cxn>
              </a:cxnLst>
              <a:rect l="0" t="0" r="r" b="b"/>
              <a:pathLst>
                <a:path w="21600" h="20412" extrusionOk="0">
                  <a:moveTo>
                    <a:pt x="0" y="0"/>
                  </a:moveTo>
                  <a:cubicBezTo>
                    <a:pt x="3689" y="3479"/>
                    <a:pt x="7173" y="7248"/>
                    <a:pt x="10739" y="10148"/>
                  </a:cubicBezTo>
                  <a:cubicBezTo>
                    <a:pt x="12501" y="11742"/>
                    <a:pt x="14304" y="13047"/>
                    <a:pt x="16108" y="14497"/>
                  </a:cubicBezTo>
                  <a:cubicBezTo>
                    <a:pt x="17911" y="15946"/>
                    <a:pt x="19715" y="16816"/>
                    <a:pt x="21600" y="18411"/>
                  </a:cubicBezTo>
                  <a:cubicBezTo>
                    <a:pt x="17870" y="21600"/>
                    <a:pt x="13935" y="20730"/>
                    <a:pt x="10247" y="17541"/>
                  </a:cubicBezTo>
                  <a:cubicBezTo>
                    <a:pt x="8402" y="15802"/>
                    <a:pt x="6558" y="13772"/>
                    <a:pt x="4877" y="10728"/>
                  </a:cubicBezTo>
                  <a:cubicBezTo>
                    <a:pt x="3074" y="7973"/>
                    <a:pt x="1434" y="4494"/>
                    <a:pt x="0" y="0"/>
                  </a:cubicBezTo>
                  <a:close/>
                </a:path>
              </a:pathLst>
            </a:custGeom>
            <a:solidFill>
              <a:srgbClr val="E69D7F"/>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sp>
          <p:nvSpPr>
            <p:cNvPr id="29" name="Shape">
              <a:extLst>
                <a:ext uri="{FF2B5EF4-FFF2-40B4-BE49-F238E27FC236}">
                  <a16:creationId xmlns:a16="http://schemas.microsoft.com/office/drawing/2014/main" id="{2FC8C70C-ECE3-8569-796A-07F699B3A9F0}"/>
                </a:ext>
              </a:extLst>
            </p:cNvPr>
            <p:cNvSpPr/>
            <p:nvPr/>
          </p:nvSpPr>
          <p:spPr>
            <a:xfrm>
              <a:off x="6033361" y="5256562"/>
              <a:ext cx="188373" cy="29573"/>
            </a:xfrm>
            <a:custGeom>
              <a:avLst/>
              <a:gdLst/>
              <a:ahLst/>
              <a:cxnLst>
                <a:cxn ang="0">
                  <a:pos x="wd2" y="hd2"/>
                </a:cxn>
                <a:cxn ang="5400000">
                  <a:pos x="wd2" y="hd2"/>
                </a:cxn>
                <a:cxn ang="10800000">
                  <a:pos x="wd2" y="hd2"/>
                </a:cxn>
                <a:cxn ang="16200000">
                  <a:pos x="wd2" y="hd2"/>
                </a:cxn>
              </a:cxnLst>
              <a:rect l="0" t="0" r="r" b="b"/>
              <a:pathLst>
                <a:path w="21600" h="20391" extrusionOk="0">
                  <a:moveTo>
                    <a:pt x="0" y="230"/>
                  </a:moveTo>
                  <a:cubicBezTo>
                    <a:pt x="3802" y="-724"/>
                    <a:pt x="7341" y="1500"/>
                    <a:pt x="10879" y="3089"/>
                  </a:cubicBezTo>
                  <a:cubicBezTo>
                    <a:pt x="14418" y="4995"/>
                    <a:pt x="17798" y="6901"/>
                    <a:pt x="21600" y="6901"/>
                  </a:cubicBezTo>
                  <a:cubicBezTo>
                    <a:pt x="20016" y="13571"/>
                    <a:pt x="18167" y="16747"/>
                    <a:pt x="16266" y="18652"/>
                  </a:cubicBezTo>
                  <a:cubicBezTo>
                    <a:pt x="14418" y="20876"/>
                    <a:pt x="12516" y="20558"/>
                    <a:pt x="10668" y="19922"/>
                  </a:cubicBezTo>
                  <a:cubicBezTo>
                    <a:pt x="8819" y="18968"/>
                    <a:pt x="6971" y="17063"/>
                    <a:pt x="5175" y="13569"/>
                  </a:cubicBezTo>
                  <a:cubicBezTo>
                    <a:pt x="3380" y="10394"/>
                    <a:pt x="1584" y="6583"/>
                    <a:pt x="0" y="230"/>
                  </a:cubicBezTo>
                  <a:close/>
                </a:path>
              </a:pathLst>
            </a:custGeom>
            <a:solidFill>
              <a:srgbClr val="E69D7F"/>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sp>
          <p:nvSpPr>
            <p:cNvPr id="30" name="Shape">
              <a:extLst>
                <a:ext uri="{FF2B5EF4-FFF2-40B4-BE49-F238E27FC236}">
                  <a16:creationId xmlns:a16="http://schemas.microsoft.com/office/drawing/2014/main" id="{D883908F-48BD-9049-CB93-9DE445D2BE54}"/>
                </a:ext>
              </a:extLst>
            </p:cNvPr>
            <p:cNvSpPr/>
            <p:nvPr/>
          </p:nvSpPr>
          <p:spPr>
            <a:xfrm>
              <a:off x="5941254" y="4749959"/>
              <a:ext cx="289317" cy="240078"/>
            </a:xfrm>
            <a:custGeom>
              <a:avLst/>
              <a:gdLst/>
              <a:ahLst/>
              <a:cxnLst>
                <a:cxn ang="0">
                  <a:pos x="wd2" y="hd2"/>
                </a:cxn>
                <a:cxn ang="5400000">
                  <a:pos x="wd2" y="hd2"/>
                </a:cxn>
                <a:cxn ang="10800000">
                  <a:pos x="wd2" y="hd2"/>
                </a:cxn>
                <a:cxn ang="16200000">
                  <a:pos x="wd2" y="hd2"/>
                </a:cxn>
              </a:cxnLst>
              <a:rect l="0" t="0" r="r" b="b"/>
              <a:pathLst>
                <a:path w="21235" h="21488" extrusionOk="0">
                  <a:moveTo>
                    <a:pt x="2626" y="0"/>
                  </a:moveTo>
                  <a:cubicBezTo>
                    <a:pt x="2017" y="2679"/>
                    <a:pt x="1612" y="5441"/>
                    <a:pt x="1409" y="8162"/>
                  </a:cubicBezTo>
                  <a:cubicBezTo>
                    <a:pt x="1172" y="10882"/>
                    <a:pt x="1307" y="13603"/>
                    <a:pt x="1814" y="16200"/>
                  </a:cubicBezTo>
                  <a:lnTo>
                    <a:pt x="1273" y="15499"/>
                  </a:lnTo>
                  <a:cubicBezTo>
                    <a:pt x="3741" y="16200"/>
                    <a:pt x="6175" y="16983"/>
                    <a:pt x="8609" y="17807"/>
                  </a:cubicBezTo>
                  <a:cubicBezTo>
                    <a:pt x="11043" y="18632"/>
                    <a:pt x="13510" y="19456"/>
                    <a:pt x="15809" y="19497"/>
                  </a:cubicBezTo>
                  <a:cubicBezTo>
                    <a:pt x="16350" y="19456"/>
                    <a:pt x="16890" y="19374"/>
                    <a:pt x="17228" y="19085"/>
                  </a:cubicBezTo>
                  <a:cubicBezTo>
                    <a:pt x="17567" y="18879"/>
                    <a:pt x="17837" y="18302"/>
                    <a:pt x="18175" y="17643"/>
                  </a:cubicBezTo>
                  <a:cubicBezTo>
                    <a:pt x="18783" y="16365"/>
                    <a:pt x="19257" y="14963"/>
                    <a:pt x="19662" y="13521"/>
                  </a:cubicBezTo>
                  <a:cubicBezTo>
                    <a:pt x="20440" y="10635"/>
                    <a:pt x="20981" y="7626"/>
                    <a:pt x="20913" y="4534"/>
                  </a:cubicBezTo>
                  <a:cubicBezTo>
                    <a:pt x="21420" y="7585"/>
                    <a:pt x="21319" y="10841"/>
                    <a:pt x="20676" y="13892"/>
                  </a:cubicBezTo>
                  <a:cubicBezTo>
                    <a:pt x="20372" y="15417"/>
                    <a:pt x="19967" y="16942"/>
                    <a:pt x="19426" y="18426"/>
                  </a:cubicBezTo>
                  <a:cubicBezTo>
                    <a:pt x="19155" y="19085"/>
                    <a:pt x="18851" y="20034"/>
                    <a:pt x="18074" y="20652"/>
                  </a:cubicBezTo>
                  <a:cubicBezTo>
                    <a:pt x="17364" y="21270"/>
                    <a:pt x="16586" y="21394"/>
                    <a:pt x="15876" y="21476"/>
                  </a:cubicBezTo>
                  <a:cubicBezTo>
                    <a:pt x="13071" y="21600"/>
                    <a:pt x="10603" y="20693"/>
                    <a:pt x="8136" y="19910"/>
                  </a:cubicBezTo>
                  <a:cubicBezTo>
                    <a:pt x="5668" y="19085"/>
                    <a:pt x="3234" y="18261"/>
                    <a:pt x="800" y="17354"/>
                  </a:cubicBezTo>
                  <a:lnTo>
                    <a:pt x="327" y="17189"/>
                  </a:lnTo>
                  <a:lnTo>
                    <a:pt x="259" y="16653"/>
                  </a:lnTo>
                  <a:cubicBezTo>
                    <a:pt x="-180" y="13768"/>
                    <a:pt x="-11" y="10841"/>
                    <a:pt x="395" y="8038"/>
                  </a:cubicBezTo>
                  <a:cubicBezTo>
                    <a:pt x="834" y="5194"/>
                    <a:pt x="1578" y="2473"/>
                    <a:pt x="2626" y="0"/>
                  </a:cubicBezTo>
                  <a:close/>
                </a:path>
              </a:pathLst>
            </a:custGeom>
            <a:solidFill>
              <a:srgbClr val="E69D7F"/>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sp>
          <p:nvSpPr>
            <p:cNvPr id="31" name="Shape">
              <a:extLst>
                <a:ext uri="{FF2B5EF4-FFF2-40B4-BE49-F238E27FC236}">
                  <a16:creationId xmlns:a16="http://schemas.microsoft.com/office/drawing/2014/main" id="{4C49BCE5-FD64-88A8-982E-378E721092CB}"/>
                </a:ext>
              </a:extLst>
            </p:cNvPr>
            <p:cNvSpPr/>
            <p:nvPr/>
          </p:nvSpPr>
          <p:spPr>
            <a:xfrm>
              <a:off x="5342537" y="5809228"/>
              <a:ext cx="100865" cy="126195"/>
            </a:xfrm>
            <a:custGeom>
              <a:avLst/>
              <a:gdLst/>
              <a:ahLst/>
              <a:cxnLst>
                <a:cxn ang="0">
                  <a:pos x="wd2" y="hd2"/>
                </a:cxn>
                <a:cxn ang="5400000">
                  <a:pos x="wd2" y="hd2"/>
                </a:cxn>
                <a:cxn ang="10800000">
                  <a:pos x="wd2" y="hd2"/>
                </a:cxn>
                <a:cxn ang="16200000">
                  <a:pos x="wd2" y="hd2"/>
                </a:cxn>
              </a:cxnLst>
              <a:rect l="0" t="0" r="r" b="b"/>
              <a:pathLst>
                <a:path w="21600" h="21600" extrusionOk="0">
                  <a:moveTo>
                    <a:pt x="0" y="17579"/>
                  </a:moveTo>
                  <a:cubicBezTo>
                    <a:pt x="2466" y="17106"/>
                    <a:pt x="5129" y="16397"/>
                    <a:pt x="7496" y="15530"/>
                  </a:cubicBezTo>
                  <a:cubicBezTo>
                    <a:pt x="10060" y="14584"/>
                    <a:pt x="11836" y="13559"/>
                    <a:pt x="13414" y="11746"/>
                  </a:cubicBezTo>
                  <a:cubicBezTo>
                    <a:pt x="16570" y="8198"/>
                    <a:pt x="19134" y="4099"/>
                    <a:pt x="21600" y="0"/>
                  </a:cubicBezTo>
                  <a:cubicBezTo>
                    <a:pt x="20022" y="4336"/>
                    <a:pt x="18247" y="8671"/>
                    <a:pt x="15682" y="12850"/>
                  </a:cubicBezTo>
                  <a:cubicBezTo>
                    <a:pt x="14499" y="14978"/>
                    <a:pt x="11934" y="17106"/>
                    <a:pt x="9468" y="18289"/>
                  </a:cubicBezTo>
                  <a:cubicBezTo>
                    <a:pt x="6904" y="19629"/>
                    <a:pt x="4340" y="20654"/>
                    <a:pt x="1479" y="21600"/>
                  </a:cubicBezTo>
                  <a:lnTo>
                    <a:pt x="0" y="17579"/>
                  </a:lnTo>
                  <a:close/>
                </a:path>
              </a:pathLst>
            </a:custGeom>
            <a:solidFill>
              <a:srgbClr val="E69D7F"/>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pPr>
              <a:endParaRPr kumimoji="0" sz="30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32" name="Group 31">
            <a:extLst>
              <a:ext uri="{FF2B5EF4-FFF2-40B4-BE49-F238E27FC236}">
                <a16:creationId xmlns:a16="http://schemas.microsoft.com/office/drawing/2014/main" id="{868C1352-B8EF-35CE-6DAB-118D92709295}"/>
              </a:ext>
            </a:extLst>
          </p:cNvPr>
          <p:cNvGrpSpPr/>
          <p:nvPr/>
        </p:nvGrpSpPr>
        <p:grpSpPr>
          <a:xfrm>
            <a:off x="704529" y="3180070"/>
            <a:ext cx="2666935" cy="1951707"/>
            <a:chOff x="553359" y="973525"/>
            <a:chExt cx="6459453" cy="2224134"/>
          </a:xfrm>
        </p:grpSpPr>
        <p:sp>
          <p:nvSpPr>
            <p:cNvPr id="33" name="TextBox 32">
              <a:extLst>
                <a:ext uri="{FF2B5EF4-FFF2-40B4-BE49-F238E27FC236}">
                  <a16:creationId xmlns:a16="http://schemas.microsoft.com/office/drawing/2014/main" id="{758B5D94-8768-183C-C6D0-D88A9E84D060}"/>
                </a:ext>
              </a:extLst>
            </p:cNvPr>
            <p:cNvSpPr txBox="1"/>
            <p:nvPr/>
          </p:nvSpPr>
          <p:spPr>
            <a:xfrm>
              <a:off x="553359" y="973525"/>
              <a:ext cx="6459453" cy="1087285"/>
            </a:xfrm>
            <a:prstGeom prst="rect">
              <a:avLst/>
            </a:prstGeom>
            <a:noFill/>
          </p:spPr>
          <p:txBody>
            <a:bodyPr wrap="square" l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31F20">
                      <a:lumMod val="65000"/>
                      <a:lumOff val="35000"/>
                    </a:srgbClr>
                  </a:solidFill>
                  <a:effectLst/>
                  <a:uLnTx/>
                  <a:uFillTx/>
                  <a:latin typeface="Arial"/>
                  <a:ea typeface="+mn-ea"/>
                  <a:cs typeface="+mn-cs"/>
                </a:rPr>
                <a:t>Understanding the Scenario</a:t>
              </a:r>
            </a:p>
          </p:txBody>
        </p:sp>
        <p:sp>
          <p:nvSpPr>
            <p:cNvPr id="34" name="TextBox 33">
              <a:extLst>
                <a:ext uri="{FF2B5EF4-FFF2-40B4-BE49-F238E27FC236}">
                  <a16:creationId xmlns:a16="http://schemas.microsoft.com/office/drawing/2014/main" id="{616CB4B7-D56D-7514-107E-9E83672083E0}"/>
                </a:ext>
              </a:extLst>
            </p:cNvPr>
            <p:cNvSpPr txBox="1"/>
            <p:nvPr/>
          </p:nvSpPr>
          <p:spPr>
            <a:xfrm>
              <a:off x="584528" y="2040226"/>
              <a:ext cx="5886655" cy="1157433"/>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75686B"/>
                  </a:solidFill>
                  <a:effectLst/>
                  <a:uLnTx/>
                  <a:uFillTx/>
                  <a:latin typeface="Arial" panose="020B0604020202020204" pitchFamily="34" charset="0"/>
                  <a:ea typeface="+mn-ea"/>
                  <a:cs typeface="+mn-cs"/>
                </a:rPr>
                <a:t>Picture a banking representative preparing an ideal reply outlining the steps you should take for a know-your-customer enhanced due diligence review.</a:t>
              </a:r>
              <a:endParaRPr kumimoji="0" lang="en-US" sz="1200" b="0" i="0" u="none" strike="noStrike" kern="1200" cap="none" spc="0" normalizeH="0" baseline="0" noProof="0" dirty="0">
                <a:ln>
                  <a:noFill/>
                </a:ln>
                <a:solidFill>
                  <a:srgbClr val="231F20">
                    <a:lumMod val="65000"/>
                    <a:lumOff val="35000"/>
                  </a:srgbClr>
                </a:solidFill>
                <a:effectLst/>
                <a:uLnTx/>
                <a:uFillTx/>
                <a:latin typeface="Arial"/>
                <a:ea typeface="+mn-ea"/>
                <a:cs typeface="+mn-cs"/>
              </a:endParaRPr>
            </a:p>
          </p:txBody>
        </p:sp>
      </p:grpSp>
      <p:grpSp>
        <p:nvGrpSpPr>
          <p:cNvPr id="35" name="Group 34">
            <a:extLst>
              <a:ext uri="{FF2B5EF4-FFF2-40B4-BE49-F238E27FC236}">
                <a16:creationId xmlns:a16="http://schemas.microsoft.com/office/drawing/2014/main" id="{11BF367E-2911-DB04-E410-B8087EBB8589}"/>
              </a:ext>
            </a:extLst>
          </p:cNvPr>
          <p:cNvGrpSpPr/>
          <p:nvPr/>
        </p:nvGrpSpPr>
        <p:grpSpPr>
          <a:xfrm>
            <a:off x="606056" y="1187278"/>
            <a:ext cx="2873962" cy="1354219"/>
            <a:chOff x="553361" y="1219041"/>
            <a:chExt cx="2197443" cy="1543246"/>
          </a:xfrm>
        </p:grpSpPr>
        <p:sp>
          <p:nvSpPr>
            <p:cNvPr id="36" name="TextBox 35">
              <a:extLst>
                <a:ext uri="{FF2B5EF4-FFF2-40B4-BE49-F238E27FC236}">
                  <a16:creationId xmlns:a16="http://schemas.microsoft.com/office/drawing/2014/main" id="{9F87A07D-87CF-52E3-4010-730535E13E7E}"/>
                </a:ext>
              </a:extLst>
            </p:cNvPr>
            <p:cNvSpPr txBox="1"/>
            <p:nvPr/>
          </p:nvSpPr>
          <p:spPr>
            <a:xfrm>
              <a:off x="553361" y="1219041"/>
              <a:ext cx="2098285" cy="596253"/>
            </a:xfrm>
            <a:prstGeom prst="rect">
              <a:avLst/>
            </a:prstGeom>
            <a:noFill/>
          </p:spPr>
          <p:txBody>
            <a:bodyPr wrap="none" l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31F20">
                      <a:lumMod val="65000"/>
                      <a:lumOff val="35000"/>
                    </a:srgbClr>
                  </a:solidFill>
                  <a:effectLst/>
                  <a:uLnTx/>
                  <a:uFillTx/>
                  <a:latin typeface="Arial"/>
                  <a:ea typeface="+mn-ea"/>
                  <a:cs typeface="+mn-cs"/>
                </a:rPr>
                <a:t>Actions to Take</a:t>
              </a:r>
            </a:p>
          </p:txBody>
        </p:sp>
        <p:sp>
          <p:nvSpPr>
            <p:cNvPr id="37" name="TextBox 36">
              <a:extLst>
                <a:ext uri="{FF2B5EF4-FFF2-40B4-BE49-F238E27FC236}">
                  <a16:creationId xmlns:a16="http://schemas.microsoft.com/office/drawing/2014/main" id="{7A05BE09-7F0D-5CFB-E5A6-52114B73C595}"/>
                </a:ext>
              </a:extLst>
            </p:cNvPr>
            <p:cNvSpPr txBox="1"/>
            <p:nvPr/>
          </p:nvSpPr>
          <p:spPr>
            <a:xfrm>
              <a:off x="559193" y="1815296"/>
              <a:ext cx="2191611" cy="946991"/>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5686B"/>
                  </a:solidFill>
                  <a:effectLst/>
                  <a:uLnTx/>
                  <a:uFillTx/>
                  <a:latin typeface="Arial" panose="020B0604020202020204" pitchFamily="34" charset="0"/>
                  <a:ea typeface="+mn-ea"/>
                  <a:cs typeface="+mn-cs"/>
                </a:rPr>
                <a:t>The LLM has been trained on your policies and tools, providing guidance on which GUI buttons to select and describing the expected results.</a:t>
              </a:r>
              <a:endParaRPr kumimoji="0" lang="en-US" sz="1200" b="0" i="0" u="none" strike="noStrike" kern="1200" cap="none" spc="0" normalizeH="0" baseline="0" noProof="0" dirty="0">
                <a:ln>
                  <a:noFill/>
                </a:ln>
                <a:solidFill>
                  <a:srgbClr val="231F20">
                    <a:lumMod val="65000"/>
                    <a:lumOff val="35000"/>
                  </a:srgbClr>
                </a:solidFill>
                <a:effectLst/>
                <a:uLnTx/>
                <a:uFillTx/>
                <a:latin typeface="Arial"/>
                <a:ea typeface="+mn-ea"/>
                <a:cs typeface="+mn-cs"/>
              </a:endParaRPr>
            </a:p>
          </p:txBody>
        </p:sp>
      </p:grpSp>
      <p:grpSp>
        <p:nvGrpSpPr>
          <p:cNvPr id="38" name="Group 37">
            <a:extLst>
              <a:ext uri="{FF2B5EF4-FFF2-40B4-BE49-F238E27FC236}">
                <a16:creationId xmlns:a16="http://schemas.microsoft.com/office/drawing/2014/main" id="{578823EB-63E2-DA16-A2C1-87D39C8C0C53}"/>
              </a:ext>
            </a:extLst>
          </p:cNvPr>
          <p:cNvGrpSpPr/>
          <p:nvPr/>
        </p:nvGrpSpPr>
        <p:grpSpPr>
          <a:xfrm>
            <a:off x="9122736" y="2978230"/>
            <a:ext cx="2721934" cy="1494503"/>
            <a:chOff x="553361" y="1219041"/>
            <a:chExt cx="2224260" cy="1703110"/>
          </a:xfrm>
        </p:grpSpPr>
        <p:sp>
          <p:nvSpPr>
            <p:cNvPr id="39" name="TextBox 38">
              <a:extLst>
                <a:ext uri="{FF2B5EF4-FFF2-40B4-BE49-F238E27FC236}">
                  <a16:creationId xmlns:a16="http://schemas.microsoft.com/office/drawing/2014/main" id="{8DEB4E3B-B721-718F-3A75-72C0FA8D82EF}"/>
                </a:ext>
              </a:extLst>
            </p:cNvPr>
            <p:cNvSpPr txBox="1"/>
            <p:nvPr/>
          </p:nvSpPr>
          <p:spPr>
            <a:xfrm>
              <a:off x="553361" y="1219041"/>
              <a:ext cx="2224260" cy="596253"/>
            </a:xfrm>
            <a:prstGeom prst="rect">
              <a:avLst/>
            </a:prstGeom>
            <a:noFill/>
          </p:spPr>
          <p:txBody>
            <a:bodyPr wrap="none" l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31F20">
                      <a:lumMod val="65000"/>
                      <a:lumOff val="35000"/>
                    </a:srgbClr>
                  </a:solidFill>
                  <a:effectLst/>
                  <a:uLnTx/>
                  <a:uFillTx/>
                  <a:latin typeface="Arial"/>
                  <a:ea typeface="+mn-ea"/>
                  <a:cs typeface="+mn-cs"/>
                </a:rPr>
                <a:t>Next Steps</a:t>
              </a:r>
            </a:p>
          </p:txBody>
        </p:sp>
        <p:sp>
          <p:nvSpPr>
            <p:cNvPr id="40" name="TextBox 39">
              <a:extLst>
                <a:ext uri="{FF2B5EF4-FFF2-40B4-BE49-F238E27FC236}">
                  <a16:creationId xmlns:a16="http://schemas.microsoft.com/office/drawing/2014/main" id="{9ABC8F5D-9A21-5661-8B8D-A51739E8ABA2}"/>
                </a:ext>
              </a:extLst>
            </p:cNvPr>
            <p:cNvSpPr txBox="1"/>
            <p:nvPr/>
          </p:nvSpPr>
          <p:spPr>
            <a:xfrm>
              <a:off x="569686" y="1764719"/>
              <a:ext cx="2191611" cy="1157432"/>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5686B"/>
                  </a:solidFill>
                  <a:effectLst/>
                  <a:uLnTx/>
                  <a:uFillTx/>
                  <a:latin typeface="Arial" panose="020B0604020202020204" pitchFamily="34" charset="0"/>
                  <a:ea typeface="+mn-ea"/>
                  <a:cs typeface="+mn-cs"/>
                </a:rPr>
                <a:t>The LLM thoroughly outlines the internal procedures required for income verification and offers a template response for logging and customer follow-up.</a:t>
              </a:r>
              <a:endParaRPr kumimoji="0" lang="en-US" sz="1200" b="0" i="0" u="none" strike="noStrike" kern="1200" cap="none" spc="0" normalizeH="0" baseline="0" noProof="0" dirty="0">
                <a:ln>
                  <a:noFill/>
                </a:ln>
                <a:solidFill>
                  <a:srgbClr val="231F20">
                    <a:lumMod val="65000"/>
                    <a:lumOff val="35000"/>
                  </a:srgbClr>
                </a:solidFill>
                <a:effectLst/>
                <a:uLnTx/>
                <a:uFillTx/>
                <a:latin typeface="Arial"/>
                <a:ea typeface="+mn-ea"/>
                <a:cs typeface="+mn-cs"/>
              </a:endParaRPr>
            </a:p>
          </p:txBody>
        </p:sp>
      </p:grpSp>
      <p:grpSp>
        <p:nvGrpSpPr>
          <p:cNvPr id="41" name="Group 40">
            <a:extLst>
              <a:ext uri="{FF2B5EF4-FFF2-40B4-BE49-F238E27FC236}">
                <a16:creationId xmlns:a16="http://schemas.microsoft.com/office/drawing/2014/main" id="{9EFAA82B-2AA9-C107-4DD0-F89A65599E7D}"/>
              </a:ext>
            </a:extLst>
          </p:cNvPr>
          <p:cNvGrpSpPr/>
          <p:nvPr/>
        </p:nvGrpSpPr>
        <p:grpSpPr>
          <a:xfrm>
            <a:off x="8525840" y="1259441"/>
            <a:ext cx="2930741" cy="1261886"/>
            <a:chOff x="553361" y="1219041"/>
            <a:chExt cx="2655375" cy="1438025"/>
          </a:xfrm>
        </p:grpSpPr>
        <p:sp>
          <p:nvSpPr>
            <p:cNvPr id="42" name="TextBox 41">
              <a:extLst>
                <a:ext uri="{FF2B5EF4-FFF2-40B4-BE49-F238E27FC236}">
                  <a16:creationId xmlns:a16="http://schemas.microsoft.com/office/drawing/2014/main" id="{1EFB9CA8-98D9-8BE9-89DE-DB3445BE5852}"/>
                </a:ext>
              </a:extLst>
            </p:cNvPr>
            <p:cNvSpPr txBox="1"/>
            <p:nvPr/>
          </p:nvSpPr>
          <p:spPr>
            <a:xfrm>
              <a:off x="553361" y="1219041"/>
              <a:ext cx="2655375" cy="596253"/>
            </a:xfrm>
            <a:prstGeom prst="rect">
              <a:avLst/>
            </a:prstGeom>
            <a:noFill/>
          </p:spPr>
          <p:txBody>
            <a:bodyPr wrap="none" l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31F20">
                      <a:lumMod val="65000"/>
                      <a:lumOff val="35000"/>
                    </a:srgbClr>
                  </a:solidFill>
                  <a:effectLst/>
                  <a:uLnTx/>
                  <a:uFillTx/>
                  <a:latin typeface="Arial"/>
                  <a:ea typeface="+mn-ea"/>
                  <a:cs typeface="+mn-cs"/>
                </a:rPr>
                <a:t>Explanations</a:t>
              </a:r>
            </a:p>
          </p:txBody>
        </p:sp>
        <p:sp>
          <p:nvSpPr>
            <p:cNvPr id="43" name="TextBox 42">
              <a:extLst>
                <a:ext uri="{FF2B5EF4-FFF2-40B4-BE49-F238E27FC236}">
                  <a16:creationId xmlns:a16="http://schemas.microsoft.com/office/drawing/2014/main" id="{08EAD5AB-5E41-769B-F22C-3C4364513E2C}"/>
                </a:ext>
              </a:extLst>
            </p:cNvPr>
            <p:cNvSpPr txBox="1"/>
            <p:nvPr/>
          </p:nvSpPr>
          <p:spPr>
            <a:xfrm>
              <a:off x="559193" y="1710075"/>
              <a:ext cx="2191611" cy="946991"/>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75686B"/>
                  </a:solidFill>
                  <a:effectLst/>
                  <a:uLnTx/>
                  <a:uFillTx/>
                  <a:latin typeface="Arial" panose="020B0604020202020204" pitchFamily="34" charset="0"/>
                  <a:ea typeface="+mn-ea"/>
                  <a:cs typeface="+mn-cs"/>
                </a:rPr>
                <a:t>The model references Citizen policies and clarifies the need for additional income verification for the customer.</a:t>
              </a:r>
              <a:endParaRPr kumimoji="0" lang="en-US" sz="1200" b="0" i="0" u="none" strike="noStrike" kern="1200" cap="none" spc="0" normalizeH="0" baseline="0" noProof="0" dirty="0">
                <a:ln>
                  <a:noFill/>
                </a:ln>
                <a:solidFill>
                  <a:srgbClr val="231F20">
                    <a:lumMod val="65000"/>
                    <a:lumOff val="35000"/>
                  </a:srgbClr>
                </a:solidFill>
                <a:effectLst/>
                <a:uLnTx/>
                <a:uFillTx/>
                <a:latin typeface="Arial"/>
                <a:ea typeface="+mn-ea"/>
                <a:cs typeface="+mn-cs"/>
              </a:endParaRPr>
            </a:p>
          </p:txBody>
        </p:sp>
      </p:grpSp>
      <p:sp>
        <p:nvSpPr>
          <p:cNvPr id="106" name="TextBox 105">
            <a:extLst>
              <a:ext uri="{FF2B5EF4-FFF2-40B4-BE49-F238E27FC236}">
                <a16:creationId xmlns:a16="http://schemas.microsoft.com/office/drawing/2014/main" id="{31AA127D-4EE8-4349-A9A8-94C572844003}"/>
              </a:ext>
            </a:extLst>
          </p:cNvPr>
          <p:cNvSpPr txBox="1"/>
          <p:nvPr/>
        </p:nvSpPr>
        <p:spPr>
          <a:xfrm>
            <a:off x="5734004" y="3120656"/>
            <a:ext cx="74654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31F20"/>
                </a:solidFill>
                <a:effectLst/>
                <a:uLnTx/>
                <a:uFillTx/>
                <a:latin typeface="Arial"/>
                <a:ea typeface="+mn-ea"/>
                <a:cs typeface="+mn-cs"/>
              </a:rPr>
              <a:t>ACT!</a:t>
            </a:r>
          </a:p>
        </p:txBody>
      </p:sp>
      <p:sp>
        <p:nvSpPr>
          <p:cNvPr id="107" name="TextBox 106">
            <a:extLst>
              <a:ext uri="{FF2B5EF4-FFF2-40B4-BE49-F238E27FC236}">
                <a16:creationId xmlns:a16="http://schemas.microsoft.com/office/drawing/2014/main" id="{06537CFB-32A4-E8EC-8D28-FF6EF6D728EB}"/>
              </a:ext>
            </a:extLst>
          </p:cNvPr>
          <p:cNvSpPr txBox="1"/>
          <p:nvPr/>
        </p:nvSpPr>
        <p:spPr>
          <a:xfrm>
            <a:off x="6958635" y="5321560"/>
            <a:ext cx="399252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F20"/>
                </a:solidFill>
                <a:effectLst/>
                <a:uLnTx/>
                <a:uFillTx/>
                <a:latin typeface="Arial" panose="020B0604020202020204" pitchFamily="34" charset="0"/>
                <a:ea typeface="+mn-ea"/>
                <a:cs typeface="+mn-cs"/>
              </a:rPr>
              <a:t>An agent lacks the ability to gather context, draw accurate conclusions, offer explanations and decisions, or determine subsequent actions without the aid of tools.</a:t>
            </a:r>
            <a:endParaRPr kumimoji="0" lang="en-US" sz="1400" b="0" i="0" u="none" strike="noStrike" kern="1200" cap="none" spc="0" normalizeH="0" baseline="0" noProof="0" dirty="0">
              <a:ln>
                <a:noFill/>
              </a:ln>
              <a:solidFill>
                <a:srgbClr val="231F20"/>
              </a:solidFill>
              <a:effectLst/>
              <a:uLnTx/>
              <a:uFillTx/>
              <a:latin typeface="Arial"/>
              <a:ea typeface="+mn-ea"/>
              <a:cs typeface="+mn-cs"/>
            </a:endParaRPr>
          </a:p>
        </p:txBody>
      </p:sp>
      <p:sp>
        <p:nvSpPr>
          <p:cNvPr id="108" name="TextBox 107">
            <a:extLst>
              <a:ext uri="{FF2B5EF4-FFF2-40B4-BE49-F238E27FC236}">
                <a16:creationId xmlns:a16="http://schemas.microsoft.com/office/drawing/2014/main" id="{B09D9232-5249-A4F9-C815-4775BE51F475}"/>
              </a:ext>
            </a:extLst>
          </p:cNvPr>
          <p:cNvSpPr txBox="1"/>
          <p:nvPr/>
        </p:nvSpPr>
        <p:spPr>
          <a:xfrm>
            <a:off x="1812852" y="5417287"/>
            <a:ext cx="3225250"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F20"/>
                </a:solidFill>
                <a:effectLst/>
                <a:uLnTx/>
                <a:uFillTx/>
                <a:latin typeface="Arial" panose="020B0604020202020204" pitchFamily="34" charset="0"/>
                <a:ea typeface="+mn-ea"/>
                <a:cs typeface="+mn-cs"/>
              </a:rPr>
              <a:t>Grasping the task is one aspect; however, effectively applying the tools to complete that task is an entirely different challenge.</a:t>
            </a:r>
            <a:endParaRPr kumimoji="0" lang="en-US" sz="1400" b="0" i="0" u="none" strike="noStrike" kern="1200" cap="none" spc="0" normalizeH="0" baseline="0" noProof="0" dirty="0">
              <a:ln>
                <a:noFill/>
              </a:ln>
              <a:solidFill>
                <a:srgbClr val="231F20"/>
              </a:solidFill>
              <a:effectLst/>
              <a:uLnTx/>
              <a:uFillTx/>
              <a:latin typeface="Arial"/>
              <a:ea typeface="+mn-ea"/>
              <a:cs typeface="+mn-cs"/>
            </a:endParaRPr>
          </a:p>
        </p:txBody>
      </p:sp>
    </p:spTree>
    <p:extLst>
      <p:ext uri="{BB962C8B-B14F-4D97-AF65-F5344CB8AC3E}">
        <p14:creationId xmlns:p14="http://schemas.microsoft.com/office/powerpoint/2010/main" val="31999843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676E09-4DF5-5AA4-FFF3-A4D5091CAF93}"/>
              </a:ext>
            </a:extLst>
          </p:cNvPr>
          <p:cNvSpPr>
            <a:spLocks noGrp="1"/>
          </p:cNvSpPr>
          <p:nvPr>
            <p:ph type="title"/>
          </p:nvPr>
        </p:nvSpPr>
        <p:spPr/>
        <p:txBody>
          <a:bodyPr/>
          <a:lstStyle/>
          <a:p>
            <a:r>
              <a:rPr lang="en-US" dirty="0"/>
              <a:t>Dilemmas, Dilemmas, Dilemmas</a:t>
            </a:r>
          </a:p>
        </p:txBody>
      </p:sp>
      <p:grpSp>
        <p:nvGrpSpPr>
          <p:cNvPr id="4" name="Group 3">
            <a:extLst>
              <a:ext uri="{FF2B5EF4-FFF2-40B4-BE49-F238E27FC236}">
                <a16:creationId xmlns:a16="http://schemas.microsoft.com/office/drawing/2014/main" id="{3F1EB40A-BA2D-A3E7-1D48-C1377854E31D}"/>
              </a:ext>
            </a:extLst>
          </p:cNvPr>
          <p:cNvGrpSpPr/>
          <p:nvPr/>
        </p:nvGrpSpPr>
        <p:grpSpPr>
          <a:xfrm>
            <a:off x="384048" y="998416"/>
            <a:ext cx="5992643" cy="5445136"/>
            <a:chOff x="332936" y="2504656"/>
            <a:chExt cx="2926080" cy="5445136"/>
          </a:xfrm>
        </p:grpSpPr>
        <p:sp>
          <p:nvSpPr>
            <p:cNvPr id="5" name="TextBox 4">
              <a:extLst>
                <a:ext uri="{FF2B5EF4-FFF2-40B4-BE49-F238E27FC236}">
                  <a16:creationId xmlns:a16="http://schemas.microsoft.com/office/drawing/2014/main" id="{4C9B483B-10D5-A13C-0D1C-B9C5CC6F6876}"/>
                </a:ext>
              </a:extLst>
            </p:cNvPr>
            <p:cNvSpPr txBox="1"/>
            <p:nvPr/>
          </p:nvSpPr>
          <p:spPr>
            <a:xfrm>
              <a:off x="332936" y="2504656"/>
              <a:ext cx="2926080" cy="584775"/>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1">
                  <a:ln>
                    <a:noFill/>
                  </a:ln>
                  <a:solidFill>
                    <a:srgbClr val="231F20"/>
                  </a:solidFill>
                  <a:effectLst/>
                  <a:uLnTx/>
                  <a:uFillTx/>
                  <a:latin typeface="Arial"/>
                  <a:ea typeface="+mn-ea"/>
                  <a:cs typeface="+mn-cs"/>
                </a:rPr>
                <a:t>Goal Conflicts</a:t>
              </a:r>
            </a:p>
          </p:txBody>
        </p:sp>
        <p:sp>
          <p:nvSpPr>
            <p:cNvPr id="6" name="TextBox 5">
              <a:extLst>
                <a:ext uri="{FF2B5EF4-FFF2-40B4-BE49-F238E27FC236}">
                  <a16:creationId xmlns:a16="http://schemas.microsoft.com/office/drawing/2014/main" id="{C88B9DDA-C9E1-215E-1B00-4BBBD88A3B34}"/>
                </a:ext>
              </a:extLst>
            </p:cNvPr>
            <p:cNvSpPr txBox="1"/>
            <p:nvPr/>
          </p:nvSpPr>
          <p:spPr>
            <a:xfrm>
              <a:off x="332936" y="3086922"/>
              <a:ext cx="2926080" cy="4862870"/>
            </a:xfrm>
            <a:prstGeom prst="rect">
              <a:avLst/>
            </a:prstGeom>
            <a:noFill/>
          </p:spPr>
          <p:txBody>
            <a:bodyPr wrap="square" lIns="0" rIns="0" rtlCol="0" anchor="t">
              <a:spAutoFit/>
            </a:bodyPr>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1">
                  <a:ln>
                    <a:noFill/>
                  </a:ln>
                  <a:solidFill>
                    <a:srgbClr val="231F20">
                      <a:lumMod val="65000"/>
                      <a:lumOff val="35000"/>
                    </a:srgbClr>
                  </a:solidFill>
                  <a:effectLst/>
                  <a:uLnTx/>
                  <a:uFillTx/>
                  <a:latin typeface="Arial"/>
                  <a:ea typeface="+mn-ea"/>
                  <a:cs typeface="+mn-cs"/>
                </a:rPr>
                <a:t>It is important to define clear goals and build systems to work with ambigious or incomplete inputs. </a:t>
              </a:r>
            </a:p>
            <a:p>
              <a:pPr marL="285750" marR="0" lvl="0" indent="-28575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1">
                  <a:ln>
                    <a:noFill/>
                  </a:ln>
                  <a:solidFill>
                    <a:srgbClr val="231F20">
                      <a:lumMod val="65000"/>
                      <a:lumOff val="35000"/>
                    </a:srgbClr>
                  </a:solidFill>
                  <a:effectLst/>
                  <a:uLnTx/>
                  <a:uFillTx/>
                  <a:latin typeface="Arial"/>
                  <a:ea typeface="+mn-ea"/>
                  <a:cs typeface="+mn-cs"/>
                </a:rPr>
                <a:t>A revealing limitation in Agentic AI is LLMs inability to handle conflicting goals effectively.</a:t>
              </a:r>
            </a:p>
            <a:p>
              <a:pPr marL="285750" marR="0" lvl="0" indent="-28575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1">
                  <a:ln>
                    <a:noFill/>
                  </a:ln>
                  <a:solidFill>
                    <a:srgbClr val="231F20">
                      <a:lumMod val="65000"/>
                      <a:lumOff val="35000"/>
                    </a:srgbClr>
                  </a:solidFill>
                  <a:effectLst/>
                  <a:uLnTx/>
                  <a:uFillTx/>
                  <a:latin typeface="Arial"/>
                  <a:ea typeface="+mn-ea"/>
                  <a:cs typeface="+mn-cs"/>
                </a:rPr>
                <a:t>Let’s experiment, go to your favorite LLM chat app.</a:t>
              </a:r>
            </a:p>
            <a:p>
              <a:pPr marL="285750" marR="0" lvl="0" indent="-28575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1">
                  <a:ln>
                    <a:noFill/>
                  </a:ln>
                  <a:solidFill>
                    <a:srgbClr val="231F20">
                      <a:lumMod val="65000"/>
                      <a:lumOff val="35000"/>
                    </a:srgbClr>
                  </a:solidFill>
                  <a:effectLst/>
                  <a:uLnTx/>
                  <a:uFillTx/>
                  <a:latin typeface="Arial"/>
                  <a:ea typeface="+mn-ea"/>
                  <a:cs typeface="+mn-cs"/>
                </a:rPr>
                <a:t>Insert provided prompt.</a:t>
              </a:r>
            </a:p>
            <a:p>
              <a:pPr marL="285750" marR="0" lvl="0" indent="-28575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1">
                  <a:ln>
                    <a:noFill/>
                  </a:ln>
                  <a:solidFill>
                    <a:srgbClr val="231F20">
                      <a:lumMod val="65000"/>
                      <a:lumOff val="35000"/>
                    </a:srgbClr>
                  </a:solidFill>
                  <a:effectLst/>
                  <a:uLnTx/>
                  <a:uFillTx/>
                  <a:latin typeface="Arial"/>
                  <a:ea typeface="+mn-ea"/>
                  <a:cs typeface="+mn-cs"/>
                </a:rPr>
                <a:t>Often this prompt reveals patterns in how your favorite LLM handles conflicts. </a:t>
              </a:r>
            </a:p>
            <a:p>
              <a:pPr marL="285750" marR="0" lvl="0" indent="-28575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1">
                  <a:ln>
                    <a:noFill/>
                  </a:ln>
                  <a:solidFill>
                    <a:srgbClr val="231F20">
                      <a:lumMod val="65000"/>
                      <a:lumOff val="35000"/>
                    </a:srgbClr>
                  </a:solidFill>
                  <a:effectLst/>
                  <a:uLnTx/>
                  <a:uFillTx/>
                  <a:latin typeface="Arial"/>
                  <a:ea typeface="+mn-ea"/>
                  <a:cs typeface="+mn-cs"/>
                </a:rPr>
                <a:t>The model often demonstrates decision paralysis and struggles to make progress.</a:t>
              </a:r>
            </a:p>
            <a:p>
              <a:pPr marL="285750" marR="0" lvl="0" indent="-28575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1">
                  <a:ln>
                    <a:noFill/>
                  </a:ln>
                  <a:solidFill>
                    <a:srgbClr val="231F20">
                      <a:lumMod val="65000"/>
                      <a:lumOff val="35000"/>
                    </a:srgbClr>
                  </a:solidFill>
                  <a:effectLst/>
                  <a:uLnTx/>
                  <a:uFillTx/>
                  <a:latin typeface="Arial"/>
                  <a:ea typeface="+mn-ea"/>
                  <a:cs typeface="+mn-cs"/>
                </a:rPr>
                <a:t>This paralysis can come in the form of an ocisllation between competing tasks or between different solutions that solves only a subset of the tasks.</a:t>
              </a:r>
            </a:p>
            <a:p>
              <a:pPr marL="285750" marR="0" lvl="0" indent="-28575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1">
                  <a:ln>
                    <a:noFill/>
                  </a:ln>
                  <a:solidFill>
                    <a:srgbClr val="231F20">
                      <a:lumMod val="65000"/>
                      <a:lumOff val="35000"/>
                    </a:srgbClr>
                  </a:solidFill>
                  <a:effectLst/>
                  <a:uLnTx/>
                  <a:uFillTx/>
                  <a:latin typeface="Arial"/>
                  <a:ea typeface="+mn-ea"/>
                  <a:cs typeface="+mn-cs"/>
                </a:rPr>
                <a:t>Ideally some sort of compromise should be proposed that allows for the most possible complete state.</a:t>
              </a:r>
            </a:p>
          </p:txBody>
        </p:sp>
      </p:grpSp>
      <p:grpSp>
        <p:nvGrpSpPr>
          <p:cNvPr id="7" name="Graphic 7">
            <a:extLst>
              <a:ext uri="{FF2B5EF4-FFF2-40B4-BE49-F238E27FC236}">
                <a16:creationId xmlns:a16="http://schemas.microsoft.com/office/drawing/2014/main" id="{4CAF8DF6-226B-12F2-0440-9A65AFC4D4B5}"/>
              </a:ext>
            </a:extLst>
          </p:cNvPr>
          <p:cNvGrpSpPr/>
          <p:nvPr/>
        </p:nvGrpSpPr>
        <p:grpSpPr>
          <a:xfrm>
            <a:off x="7417087" y="677083"/>
            <a:ext cx="4160111" cy="5503834"/>
            <a:chOff x="-41481055" y="23290007"/>
            <a:chExt cx="3447090" cy="4560506"/>
          </a:xfrm>
        </p:grpSpPr>
        <p:sp>
          <p:nvSpPr>
            <p:cNvPr id="8" name="Freeform 9">
              <a:extLst>
                <a:ext uri="{FF2B5EF4-FFF2-40B4-BE49-F238E27FC236}">
                  <a16:creationId xmlns:a16="http://schemas.microsoft.com/office/drawing/2014/main" id="{C983013D-9873-895E-4FFE-F4F802C12C89}"/>
                </a:ext>
              </a:extLst>
            </p:cNvPr>
            <p:cNvSpPr/>
            <p:nvPr/>
          </p:nvSpPr>
          <p:spPr>
            <a:xfrm>
              <a:off x="-41387410" y="23290007"/>
              <a:ext cx="2984947" cy="4348268"/>
            </a:xfrm>
            <a:custGeom>
              <a:avLst/>
              <a:gdLst>
                <a:gd name="connsiteX0" fmla="*/ 1245077 w 2984947"/>
                <a:gd name="connsiteY0" fmla="*/ 593318 h 4348268"/>
                <a:gd name="connsiteX1" fmla="*/ 911563 w 2984947"/>
                <a:gd name="connsiteY1" fmla="*/ 784566 h 4348268"/>
                <a:gd name="connsiteX2" fmla="*/ 895237 w 2984947"/>
                <a:gd name="connsiteY2" fmla="*/ 805557 h 4348268"/>
                <a:gd name="connsiteX3" fmla="*/ 752968 w 2984947"/>
                <a:gd name="connsiteY3" fmla="*/ 838206 h 4348268"/>
                <a:gd name="connsiteX4" fmla="*/ 678336 w 2984947"/>
                <a:gd name="connsiteY4" fmla="*/ 961818 h 4348268"/>
                <a:gd name="connsiteX5" fmla="*/ 459103 w 2984947"/>
                <a:gd name="connsiteY5" fmla="*/ 1547216 h 4348268"/>
                <a:gd name="connsiteX6" fmla="*/ 361147 w 2984947"/>
                <a:gd name="connsiteY6" fmla="*/ 1533223 h 4348268"/>
                <a:gd name="connsiteX7" fmla="*/ 46291 w 2984947"/>
                <a:gd name="connsiteY7" fmla="*/ 1437601 h 4348268"/>
                <a:gd name="connsiteX8" fmla="*/ 27633 w 2984947"/>
                <a:gd name="connsiteY8" fmla="*/ 1430603 h 4348268"/>
                <a:gd name="connsiteX9" fmla="*/ 1979 w 2984947"/>
                <a:gd name="connsiteY9" fmla="*/ 1341978 h 4348268"/>
                <a:gd name="connsiteX10" fmla="*/ 559390 w 2984947"/>
                <a:gd name="connsiteY10" fmla="*/ 390412 h 4348268"/>
                <a:gd name="connsiteX11" fmla="*/ 2063702 w 2984947"/>
                <a:gd name="connsiteY11" fmla="*/ 33574 h 4348268"/>
                <a:gd name="connsiteX12" fmla="*/ 2751721 w 2984947"/>
                <a:gd name="connsiteY12" fmla="*/ 1239358 h 4348268"/>
                <a:gd name="connsiteX13" fmla="*/ 1648559 w 2984947"/>
                <a:gd name="connsiteY13" fmla="*/ 3042199 h 4348268"/>
                <a:gd name="connsiteX14" fmla="*/ 1601913 w 2984947"/>
                <a:gd name="connsiteY14" fmla="*/ 3156480 h 4348268"/>
                <a:gd name="connsiteX15" fmla="*/ 1580922 w 2984947"/>
                <a:gd name="connsiteY15" fmla="*/ 3256769 h 4348268"/>
                <a:gd name="connsiteX16" fmla="*/ 1482968 w 2984947"/>
                <a:gd name="connsiteY16" fmla="*/ 3319739 h 4348268"/>
                <a:gd name="connsiteX17" fmla="*/ 1058495 w 2984947"/>
                <a:gd name="connsiteY17" fmla="*/ 3420028 h 4348268"/>
                <a:gd name="connsiteX18" fmla="*/ 1079485 w 2984947"/>
                <a:gd name="connsiteY18" fmla="*/ 3231115 h 4348268"/>
                <a:gd name="connsiteX19" fmla="*/ 1156451 w 2984947"/>
                <a:gd name="connsiteY19" fmla="*/ 3002551 h 4348268"/>
                <a:gd name="connsiteX20" fmla="*/ 1249742 w 2984947"/>
                <a:gd name="connsiteY20" fmla="*/ 2806640 h 4348268"/>
                <a:gd name="connsiteX21" fmla="*/ 1252073 w 2984947"/>
                <a:gd name="connsiteY21" fmla="*/ 2790316 h 4348268"/>
                <a:gd name="connsiteX22" fmla="*/ 1646227 w 2984947"/>
                <a:gd name="connsiteY22" fmla="*/ 2204917 h 4348268"/>
                <a:gd name="connsiteX23" fmla="*/ 1751179 w 2984947"/>
                <a:gd name="connsiteY23" fmla="*/ 2067313 h 4348268"/>
                <a:gd name="connsiteX24" fmla="*/ 1755842 w 2984947"/>
                <a:gd name="connsiteY24" fmla="*/ 2050985 h 4348268"/>
                <a:gd name="connsiteX25" fmla="*/ 1842137 w 2984947"/>
                <a:gd name="connsiteY25" fmla="*/ 1948368 h 4348268"/>
                <a:gd name="connsiteX26" fmla="*/ 1900443 w 2984947"/>
                <a:gd name="connsiteY26" fmla="*/ 1848079 h 4348268"/>
                <a:gd name="connsiteX27" fmla="*/ 2124342 w 2984947"/>
                <a:gd name="connsiteY27" fmla="*/ 926834 h 4348268"/>
                <a:gd name="connsiteX28" fmla="*/ 1767504 w 2984947"/>
                <a:gd name="connsiteY28" fmla="*/ 607314 h 4348268"/>
                <a:gd name="connsiteX29" fmla="*/ 1657888 w 2984947"/>
                <a:gd name="connsiteY29" fmla="*/ 161849 h 4348268"/>
                <a:gd name="connsiteX30" fmla="*/ 1541275 w 2984947"/>
                <a:gd name="connsiteY30" fmla="*/ 140861 h 4348268"/>
                <a:gd name="connsiteX31" fmla="*/ 1494630 w 2984947"/>
                <a:gd name="connsiteY31" fmla="*/ 117538 h 4348268"/>
                <a:gd name="connsiteX32" fmla="*/ 1389678 w 2984947"/>
                <a:gd name="connsiteY32" fmla="*/ 185172 h 4348268"/>
                <a:gd name="connsiteX33" fmla="*/ 1382680 w 2984947"/>
                <a:gd name="connsiteY33" fmla="*/ 215492 h 4348268"/>
                <a:gd name="connsiteX34" fmla="*/ 1326706 w 2984947"/>
                <a:gd name="connsiteY34" fmla="*/ 229485 h 4348268"/>
                <a:gd name="connsiteX35" fmla="*/ 1268400 w 2984947"/>
                <a:gd name="connsiteY35" fmla="*/ 465044 h 4348268"/>
                <a:gd name="connsiteX36" fmla="*/ 1245077 w 2984947"/>
                <a:gd name="connsiteY36" fmla="*/ 593318 h 4348268"/>
                <a:gd name="connsiteX37" fmla="*/ 2705075 w 2984947"/>
                <a:gd name="connsiteY37" fmla="*/ 1589198 h 4348268"/>
                <a:gd name="connsiteX38" fmla="*/ 2609453 w 2984947"/>
                <a:gd name="connsiteY38" fmla="*/ 1773448 h 4348268"/>
                <a:gd name="connsiteX39" fmla="*/ 1872456 w 2984947"/>
                <a:gd name="connsiteY39" fmla="*/ 2706355 h 4348268"/>
                <a:gd name="connsiteX40" fmla="*/ 1888782 w 2984947"/>
                <a:gd name="connsiteY40" fmla="*/ 2944245 h 4348268"/>
                <a:gd name="connsiteX41" fmla="*/ 1900443 w 2984947"/>
                <a:gd name="connsiteY41" fmla="*/ 3016544 h 4348268"/>
                <a:gd name="connsiteX42" fmla="*/ 2033383 w 2984947"/>
                <a:gd name="connsiteY42" fmla="*/ 2801977 h 4348268"/>
                <a:gd name="connsiteX43" fmla="*/ 2775044 w 2984947"/>
                <a:gd name="connsiteY43" fmla="*/ 1883063 h 4348268"/>
                <a:gd name="connsiteX44" fmla="*/ 2835683 w 2984947"/>
                <a:gd name="connsiteY44" fmla="*/ 1738464 h 4348268"/>
                <a:gd name="connsiteX45" fmla="*/ 2716737 w 2984947"/>
                <a:gd name="connsiteY45" fmla="*/ 1589198 h 4348268"/>
                <a:gd name="connsiteX46" fmla="*/ 2705075 w 2984947"/>
                <a:gd name="connsiteY46" fmla="*/ 1589198 h 4348268"/>
                <a:gd name="connsiteX47" fmla="*/ 2968621 w 2984947"/>
                <a:gd name="connsiteY47" fmla="*/ 1106417 h 4348268"/>
                <a:gd name="connsiteX48" fmla="*/ 2984948 w 2984947"/>
                <a:gd name="connsiteY48" fmla="*/ 1115747 h 4348268"/>
                <a:gd name="connsiteX49" fmla="*/ 2952297 w 2984947"/>
                <a:gd name="connsiteY49" fmla="*/ 852202 h 4348268"/>
                <a:gd name="connsiteX50" fmla="*/ 2639772 w 2984947"/>
                <a:gd name="connsiteY50" fmla="*/ 350765 h 4348268"/>
                <a:gd name="connsiteX51" fmla="*/ 2558143 w 2984947"/>
                <a:gd name="connsiteY51" fmla="*/ 290124 h 4348268"/>
                <a:gd name="connsiteX52" fmla="*/ 2807696 w 2984947"/>
                <a:gd name="connsiteY52" fmla="*/ 950156 h 4348268"/>
                <a:gd name="connsiteX53" fmla="*/ 2966290 w 2984947"/>
                <a:gd name="connsiteY53" fmla="*/ 1108752 h 4348268"/>
                <a:gd name="connsiteX54" fmla="*/ 2952297 w 2984947"/>
                <a:gd name="connsiteY54" fmla="*/ 1160060 h 4348268"/>
                <a:gd name="connsiteX55" fmla="*/ 2866002 w 2984947"/>
                <a:gd name="connsiteY55" fmla="*/ 1073768 h 4348268"/>
                <a:gd name="connsiteX56" fmla="*/ 2814692 w 2984947"/>
                <a:gd name="connsiteY56" fmla="*/ 1036449 h 4348268"/>
                <a:gd name="connsiteX57" fmla="*/ 2819357 w 2984947"/>
                <a:gd name="connsiteY57" fmla="*/ 1073768 h 4348268"/>
                <a:gd name="connsiteX58" fmla="*/ 2931306 w 2984947"/>
                <a:gd name="connsiteY58" fmla="*/ 1190381 h 4348268"/>
                <a:gd name="connsiteX59" fmla="*/ 2980283 w 2984947"/>
                <a:gd name="connsiteY59" fmla="*/ 1225365 h 4348268"/>
                <a:gd name="connsiteX60" fmla="*/ 2952297 w 2984947"/>
                <a:gd name="connsiteY60" fmla="*/ 1160060 h 4348268"/>
                <a:gd name="connsiteX61" fmla="*/ 2821689 w 2984947"/>
                <a:gd name="connsiteY61" fmla="*/ 1143736 h 4348268"/>
                <a:gd name="connsiteX62" fmla="*/ 2807696 w 2984947"/>
                <a:gd name="connsiteY62" fmla="*/ 1157729 h 4348268"/>
                <a:gd name="connsiteX63" fmla="*/ 2928974 w 2984947"/>
                <a:gd name="connsiteY63" fmla="*/ 1272010 h 4348268"/>
                <a:gd name="connsiteX64" fmla="*/ 2952297 w 2984947"/>
                <a:gd name="connsiteY64" fmla="*/ 1283672 h 4348268"/>
                <a:gd name="connsiteX65" fmla="*/ 2963958 w 2984947"/>
                <a:gd name="connsiteY65" fmla="*/ 1297665 h 4348268"/>
                <a:gd name="connsiteX66" fmla="*/ 2940635 w 2984947"/>
                <a:gd name="connsiteY66" fmla="*/ 1260349 h 4348268"/>
                <a:gd name="connsiteX67" fmla="*/ 2821689 w 2984947"/>
                <a:gd name="connsiteY67" fmla="*/ 1143736 h 4348268"/>
                <a:gd name="connsiteX68" fmla="*/ 2800699 w 2984947"/>
                <a:gd name="connsiteY68" fmla="*/ 1369964 h 4348268"/>
                <a:gd name="connsiteX69" fmla="*/ 2784373 w 2984947"/>
                <a:gd name="connsiteY69" fmla="*/ 1381626 h 4348268"/>
                <a:gd name="connsiteX70" fmla="*/ 2903318 w 2984947"/>
                <a:gd name="connsiteY70" fmla="*/ 1495907 h 4348268"/>
                <a:gd name="connsiteX71" fmla="*/ 2924309 w 2984947"/>
                <a:gd name="connsiteY71" fmla="*/ 1507569 h 4348268"/>
                <a:gd name="connsiteX72" fmla="*/ 2877664 w 2984947"/>
                <a:gd name="connsiteY72" fmla="*/ 1446930 h 4348268"/>
                <a:gd name="connsiteX73" fmla="*/ 2800699 w 2984947"/>
                <a:gd name="connsiteY73" fmla="*/ 1369964 h 4348268"/>
                <a:gd name="connsiteX74" fmla="*/ 2891657 w 2984947"/>
                <a:gd name="connsiteY74" fmla="*/ 1523893 h 4348268"/>
                <a:gd name="connsiteX75" fmla="*/ 2793701 w 2984947"/>
                <a:gd name="connsiteY75" fmla="*/ 1425939 h 4348268"/>
                <a:gd name="connsiteX76" fmla="*/ 2777377 w 2984947"/>
                <a:gd name="connsiteY76" fmla="*/ 1437601 h 4348268"/>
                <a:gd name="connsiteX77" fmla="*/ 2903318 w 2984947"/>
                <a:gd name="connsiteY77" fmla="*/ 1556546 h 4348268"/>
                <a:gd name="connsiteX78" fmla="*/ 2910315 w 2984947"/>
                <a:gd name="connsiteY78" fmla="*/ 1535555 h 4348268"/>
                <a:gd name="connsiteX79" fmla="*/ 2891657 w 2984947"/>
                <a:gd name="connsiteY79" fmla="*/ 1523893 h 4348268"/>
                <a:gd name="connsiteX80" fmla="*/ 2803031 w 2984947"/>
                <a:gd name="connsiteY80" fmla="*/ 1239358 h 4348268"/>
                <a:gd name="connsiteX81" fmla="*/ 2891657 w 2984947"/>
                <a:gd name="connsiteY81" fmla="*/ 1327982 h 4348268"/>
                <a:gd name="connsiteX82" fmla="*/ 2912648 w 2984947"/>
                <a:gd name="connsiteY82" fmla="*/ 1339644 h 4348268"/>
                <a:gd name="connsiteX83" fmla="*/ 2900986 w 2984947"/>
                <a:gd name="connsiteY83" fmla="*/ 1318656 h 4348268"/>
                <a:gd name="connsiteX84" fmla="*/ 2814692 w 2984947"/>
                <a:gd name="connsiteY84" fmla="*/ 1227697 h 4348268"/>
                <a:gd name="connsiteX85" fmla="*/ 2791370 w 2984947"/>
                <a:gd name="connsiteY85" fmla="*/ 1218367 h 4348268"/>
                <a:gd name="connsiteX86" fmla="*/ 2803031 w 2984947"/>
                <a:gd name="connsiteY86" fmla="*/ 1239358 h 4348268"/>
                <a:gd name="connsiteX87" fmla="*/ 946547 w 2984947"/>
                <a:gd name="connsiteY87" fmla="*/ 793896 h 4348268"/>
                <a:gd name="connsiteX88" fmla="*/ 1142457 w 2984947"/>
                <a:gd name="connsiteY88" fmla="*/ 763575 h 4348268"/>
                <a:gd name="connsiteX89" fmla="*/ 1238080 w 2984947"/>
                <a:gd name="connsiteY89" fmla="*/ 716930 h 4348268"/>
                <a:gd name="connsiteX90" fmla="*/ 1238080 w 2984947"/>
                <a:gd name="connsiteY90" fmla="*/ 625971 h 4348268"/>
                <a:gd name="connsiteX91" fmla="*/ 944214 w 2984947"/>
                <a:gd name="connsiteY91" fmla="*/ 791561 h 4348268"/>
                <a:gd name="connsiteX92" fmla="*/ 517409 w 2984947"/>
                <a:gd name="connsiteY92" fmla="*/ 1418941 h 4348268"/>
                <a:gd name="connsiteX93" fmla="*/ 648016 w 2984947"/>
                <a:gd name="connsiteY93" fmla="*/ 1045779 h 4348268"/>
                <a:gd name="connsiteX94" fmla="*/ 487090 w 2984947"/>
                <a:gd name="connsiteY94" fmla="*/ 1540221 h 4348268"/>
                <a:gd name="connsiteX95" fmla="*/ 517409 w 2984947"/>
                <a:gd name="connsiteY95" fmla="*/ 1418941 h 4348268"/>
                <a:gd name="connsiteX96" fmla="*/ 1189102 w 2984947"/>
                <a:gd name="connsiteY96" fmla="*/ 4254978 h 4348268"/>
                <a:gd name="connsiteX97" fmla="*/ 1522616 w 2984947"/>
                <a:gd name="connsiteY97" fmla="*/ 3956449 h 4348268"/>
                <a:gd name="connsiteX98" fmla="*/ 1182105 w 2984947"/>
                <a:gd name="connsiteY98" fmla="*/ 3601943 h 4348268"/>
                <a:gd name="connsiteX99" fmla="*/ 941882 w 2984947"/>
                <a:gd name="connsiteY99" fmla="*/ 3991433 h 4348268"/>
                <a:gd name="connsiteX100" fmla="*/ 1025843 w 2984947"/>
                <a:gd name="connsiteY100" fmla="*/ 4217662 h 4348268"/>
                <a:gd name="connsiteX101" fmla="*/ 1025843 w 2984947"/>
                <a:gd name="connsiteY101" fmla="*/ 4226992 h 4348268"/>
                <a:gd name="connsiteX102" fmla="*/ 1116802 w 2984947"/>
                <a:gd name="connsiteY102" fmla="*/ 4261976 h 4348268"/>
                <a:gd name="connsiteX103" fmla="*/ 1186770 w 2984947"/>
                <a:gd name="connsiteY103" fmla="*/ 4254978 h 4348268"/>
                <a:gd name="connsiteX104" fmla="*/ 1559933 w 2984947"/>
                <a:gd name="connsiteY104" fmla="*/ 3975106 h 4348268"/>
                <a:gd name="connsiteX105" fmla="*/ 1247409 w 2984947"/>
                <a:gd name="connsiteY105" fmla="*/ 4259644 h 4348268"/>
                <a:gd name="connsiteX106" fmla="*/ 1172776 w 2984947"/>
                <a:gd name="connsiteY106" fmla="*/ 4273637 h 4348268"/>
                <a:gd name="connsiteX107" fmla="*/ 1210093 w 2984947"/>
                <a:gd name="connsiteY107" fmla="*/ 4301623 h 4348268"/>
                <a:gd name="connsiteX108" fmla="*/ 1275396 w 2984947"/>
                <a:gd name="connsiteY108" fmla="*/ 4343605 h 4348268"/>
                <a:gd name="connsiteX109" fmla="*/ 1315045 w 2984947"/>
                <a:gd name="connsiteY109" fmla="*/ 4348268 h 4348268"/>
                <a:gd name="connsiteX110" fmla="*/ 1331371 w 2984947"/>
                <a:gd name="connsiteY110" fmla="*/ 4348268 h 4348268"/>
                <a:gd name="connsiteX111" fmla="*/ 1669550 w 2984947"/>
                <a:gd name="connsiteY111" fmla="*/ 4108047 h 4348268"/>
                <a:gd name="connsiteX112" fmla="*/ 1683543 w 2984947"/>
                <a:gd name="connsiteY112" fmla="*/ 4052072 h 4348268"/>
                <a:gd name="connsiteX113" fmla="*/ 1559933 w 2984947"/>
                <a:gd name="connsiteY113" fmla="*/ 3975106 h 4348268"/>
                <a:gd name="connsiteX114" fmla="*/ 1522616 w 2984947"/>
                <a:gd name="connsiteY114" fmla="*/ 3648588 h 4348268"/>
                <a:gd name="connsiteX115" fmla="*/ 1571594 w 2984947"/>
                <a:gd name="connsiteY115" fmla="*/ 3786193 h 4348268"/>
                <a:gd name="connsiteX116" fmla="*/ 1730188 w 2984947"/>
                <a:gd name="connsiteY116" fmla="*/ 3877152 h 4348268"/>
                <a:gd name="connsiteX117" fmla="*/ 1522616 w 2984947"/>
                <a:gd name="connsiteY117" fmla="*/ 3648588 h 4348268"/>
                <a:gd name="connsiteX118" fmla="*/ 1802488 w 2984947"/>
                <a:gd name="connsiteY118" fmla="*/ 693607 h 4348268"/>
                <a:gd name="connsiteX119" fmla="*/ 1979741 w 2984947"/>
                <a:gd name="connsiteY119" fmla="*/ 742584 h 4348268"/>
                <a:gd name="connsiteX120" fmla="*/ 1951753 w 2984947"/>
                <a:gd name="connsiteY120" fmla="*/ 712266 h 4348268"/>
                <a:gd name="connsiteX121" fmla="*/ 1746514 w 2984947"/>
                <a:gd name="connsiteY121" fmla="*/ 635300 h 4348268"/>
                <a:gd name="connsiteX122" fmla="*/ 1734853 w 2984947"/>
                <a:gd name="connsiteY122" fmla="*/ 686609 h 4348268"/>
                <a:gd name="connsiteX123" fmla="*/ 1804821 w 2984947"/>
                <a:gd name="connsiteY123" fmla="*/ 695939 h 4348268"/>
                <a:gd name="connsiteX124" fmla="*/ 862584 w 2984947"/>
                <a:gd name="connsiteY124" fmla="*/ 3408366 h 4348268"/>
                <a:gd name="connsiteX125" fmla="*/ 857920 w 2984947"/>
                <a:gd name="connsiteY125" fmla="*/ 3392039 h 4348268"/>
                <a:gd name="connsiteX126" fmla="*/ 862584 w 2984947"/>
                <a:gd name="connsiteY126" fmla="*/ 3408366 h 4348268"/>
                <a:gd name="connsiteX127" fmla="*/ 855588 w 2984947"/>
                <a:gd name="connsiteY127" fmla="*/ 3373382 h 4348268"/>
                <a:gd name="connsiteX128" fmla="*/ 855588 w 2984947"/>
                <a:gd name="connsiteY128" fmla="*/ 3378046 h 4348268"/>
                <a:gd name="connsiteX129" fmla="*/ 855588 w 2984947"/>
                <a:gd name="connsiteY129" fmla="*/ 3373382 h 4348268"/>
                <a:gd name="connsiteX130" fmla="*/ 1308048 w 2984947"/>
                <a:gd name="connsiteY130" fmla="*/ 1232360 h 4348268"/>
                <a:gd name="connsiteX131" fmla="*/ 1333703 w 2984947"/>
                <a:gd name="connsiteY131" fmla="*/ 1209037 h 4348268"/>
                <a:gd name="connsiteX132" fmla="*/ 1333703 w 2984947"/>
                <a:gd name="connsiteY132" fmla="*/ 1288335 h 4348268"/>
                <a:gd name="connsiteX133" fmla="*/ 1350029 w 2984947"/>
                <a:gd name="connsiteY133" fmla="*/ 1267344 h 4348268"/>
                <a:gd name="connsiteX134" fmla="*/ 1350029 w 2984947"/>
                <a:gd name="connsiteY134" fmla="*/ 1178720 h 4348268"/>
                <a:gd name="connsiteX135" fmla="*/ 1361690 w 2984947"/>
                <a:gd name="connsiteY135" fmla="*/ 1199708 h 4348268"/>
                <a:gd name="connsiteX136" fmla="*/ 1373352 w 2984947"/>
                <a:gd name="connsiteY136" fmla="*/ 1339644 h 4348268"/>
                <a:gd name="connsiteX137" fmla="*/ 1361690 w 2984947"/>
                <a:gd name="connsiteY137" fmla="*/ 1327982 h 4348268"/>
                <a:gd name="connsiteX138" fmla="*/ 1357025 w 2984947"/>
                <a:gd name="connsiteY138" fmla="*/ 1411946 h 4348268"/>
                <a:gd name="connsiteX139" fmla="*/ 1424662 w 2984947"/>
                <a:gd name="connsiteY139" fmla="*/ 1955363 h 4348268"/>
                <a:gd name="connsiteX140" fmla="*/ 1373352 w 2984947"/>
                <a:gd name="connsiteY140" fmla="*/ 2102297 h 4348268"/>
                <a:gd name="connsiteX141" fmla="*/ 1357025 w 2984947"/>
                <a:gd name="connsiteY141" fmla="*/ 2102297 h 4348268"/>
                <a:gd name="connsiteX142" fmla="*/ 1315045 w 2984947"/>
                <a:gd name="connsiteY142" fmla="*/ 2039324 h 4348268"/>
                <a:gd name="connsiteX143" fmla="*/ 1275396 w 2984947"/>
                <a:gd name="connsiteY143" fmla="*/ 1754788 h 4348268"/>
                <a:gd name="connsiteX144" fmla="*/ 1287057 w 2984947"/>
                <a:gd name="connsiteY144" fmla="*/ 1689484 h 4348268"/>
                <a:gd name="connsiteX145" fmla="*/ 1275396 w 2984947"/>
                <a:gd name="connsiteY145" fmla="*/ 1668496 h 4348268"/>
                <a:gd name="connsiteX146" fmla="*/ 1308048 w 2984947"/>
                <a:gd name="connsiteY146" fmla="*/ 1232360 h 4348268"/>
                <a:gd name="connsiteX147" fmla="*/ 1331371 w 2984947"/>
                <a:gd name="connsiteY147" fmla="*/ 1351305 h 4348268"/>
                <a:gd name="connsiteX148" fmla="*/ 1326706 w 2984947"/>
                <a:gd name="connsiteY148" fmla="*/ 1302328 h 4348268"/>
                <a:gd name="connsiteX149" fmla="*/ 1331371 w 2984947"/>
                <a:gd name="connsiteY149" fmla="*/ 1351305 h 4348268"/>
                <a:gd name="connsiteX150" fmla="*/ 1303384 w 2984947"/>
                <a:gd name="connsiteY150" fmla="*/ 1649836 h 4348268"/>
                <a:gd name="connsiteX151" fmla="*/ 1326706 w 2984947"/>
                <a:gd name="connsiteY151" fmla="*/ 1537887 h 4348268"/>
                <a:gd name="connsiteX152" fmla="*/ 1326706 w 2984947"/>
                <a:gd name="connsiteY152" fmla="*/ 1376962 h 4348268"/>
                <a:gd name="connsiteX153" fmla="*/ 1315045 w 2984947"/>
                <a:gd name="connsiteY153" fmla="*/ 1367633 h 4348268"/>
                <a:gd name="connsiteX154" fmla="*/ 1303384 w 2984947"/>
                <a:gd name="connsiteY154" fmla="*/ 1649836 h 4348268"/>
                <a:gd name="connsiteX155" fmla="*/ 1252073 w 2984947"/>
                <a:gd name="connsiteY155" fmla="*/ 1547216 h 4348268"/>
                <a:gd name="connsiteX156" fmla="*/ 1240412 w 2984947"/>
                <a:gd name="connsiteY156" fmla="*/ 1561209 h 4348268"/>
                <a:gd name="connsiteX157" fmla="*/ 1217089 w 2984947"/>
                <a:gd name="connsiteY157" fmla="*/ 1656834 h 4348268"/>
                <a:gd name="connsiteX158" fmla="*/ 1189102 w 2984947"/>
                <a:gd name="connsiteY158" fmla="*/ 1789772 h 4348268"/>
                <a:gd name="connsiteX159" fmla="*/ 1189102 w 2984947"/>
                <a:gd name="connsiteY159" fmla="*/ 1831754 h 4348268"/>
                <a:gd name="connsiteX160" fmla="*/ 1163447 w 2984947"/>
                <a:gd name="connsiteY160" fmla="*/ 1967024 h 4348268"/>
                <a:gd name="connsiteX161" fmla="*/ 1238080 w 2984947"/>
                <a:gd name="connsiteY161" fmla="*/ 2088304 h 4348268"/>
                <a:gd name="connsiteX162" fmla="*/ 1280061 w 2984947"/>
                <a:gd name="connsiteY162" fmla="*/ 2039324 h 4348268"/>
                <a:gd name="connsiteX163" fmla="*/ 1263735 w 2984947"/>
                <a:gd name="connsiteY163" fmla="*/ 1964693 h 4348268"/>
                <a:gd name="connsiteX164" fmla="*/ 1252073 w 2984947"/>
                <a:gd name="connsiteY164" fmla="*/ 1549548 h 4348268"/>
                <a:gd name="connsiteX165" fmla="*/ 1366355 w 2984947"/>
                <a:gd name="connsiteY165" fmla="*/ 1078431 h 4348268"/>
                <a:gd name="connsiteX166" fmla="*/ 1324373 w 2984947"/>
                <a:gd name="connsiteY166" fmla="*/ 1059772 h 4348268"/>
                <a:gd name="connsiteX167" fmla="*/ 1336034 w 2984947"/>
                <a:gd name="connsiteY167" fmla="*/ 1139069 h 4348268"/>
                <a:gd name="connsiteX168" fmla="*/ 1366355 w 2984947"/>
                <a:gd name="connsiteY168" fmla="*/ 1078431 h 4348268"/>
                <a:gd name="connsiteX169" fmla="*/ 1713862 w 2984947"/>
                <a:gd name="connsiteY169" fmla="*/ 672616 h 4348268"/>
                <a:gd name="connsiteX170" fmla="*/ 1723192 w 2984947"/>
                <a:gd name="connsiteY170" fmla="*/ 632969 h 4348268"/>
                <a:gd name="connsiteX171" fmla="*/ 1695204 w 2984947"/>
                <a:gd name="connsiteY171" fmla="*/ 695939 h 4348268"/>
                <a:gd name="connsiteX172" fmla="*/ 1713862 w 2984947"/>
                <a:gd name="connsiteY172" fmla="*/ 672616 h 4348268"/>
                <a:gd name="connsiteX173" fmla="*/ 1331371 w 2984947"/>
                <a:gd name="connsiteY173" fmla="*/ 1190381 h 4348268"/>
                <a:gd name="connsiteX174" fmla="*/ 1336034 w 2984947"/>
                <a:gd name="connsiteY174" fmla="*/ 1202042 h 4348268"/>
                <a:gd name="connsiteX175" fmla="*/ 1331371 w 2984947"/>
                <a:gd name="connsiteY175" fmla="*/ 1190381 h 4348268"/>
                <a:gd name="connsiteX176" fmla="*/ 1993734 w 2984947"/>
                <a:gd name="connsiteY176" fmla="*/ 1316321 h 4348268"/>
                <a:gd name="connsiteX177" fmla="*/ 1998399 w 2984947"/>
                <a:gd name="connsiteY177" fmla="*/ 1311658 h 4348268"/>
                <a:gd name="connsiteX178" fmla="*/ 1993734 w 2984947"/>
                <a:gd name="connsiteY178" fmla="*/ 1316321 h 4348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2984947" h="4348268">
                  <a:moveTo>
                    <a:pt x="1245077" y="593318"/>
                  </a:moveTo>
                  <a:cubicBezTo>
                    <a:pt x="1126130" y="637632"/>
                    <a:pt x="1009517" y="705268"/>
                    <a:pt x="911563" y="784566"/>
                  </a:cubicBezTo>
                  <a:cubicBezTo>
                    <a:pt x="904565" y="791561"/>
                    <a:pt x="895237" y="791561"/>
                    <a:pt x="895237" y="805557"/>
                  </a:cubicBezTo>
                  <a:cubicBezTo>
                    <a:pt x="843927" y="814884"/>
                    <a:pt x="801946" y="805557"/>
                    <a:pt x="752968" y="838206"/>
                  </a:cubicBezTo>
                  <a:cubicBezTo>
                    <a:pt x="706322" y="868527"/>
                    <a:pt x="694661" y="912841"/>
                    <a:pt x="678336" y="961818"/>
                  </a:cubicBezTo>
                  <a:cubicBezTo>
                    <a:pt x="531402" y="1118078"/>
                    <a:pt x="463767" y="1334980"/>
                    <a:pt x="459103" y="1547216"/>
                  </a:cubicBezTo>
                  <a:cubicBezTo>
                    <a:pt x="431115" y="1540221"/>
                    <a:pt x="391466" y="1540221"/>
                    <a:pt x="361147" y="1533223"/>
                  </a:cubicBezTo>
                  <a:cubicBezTo>
                    <a:pt x="263192" y="1512232"/>
                    <a:pt x="141915" y="1470253"/>
                    <a:pt x="46291" y="1437601"/>
                  </a:cubicBezTo>
                  <a:cubicBezTo>
                    <a:pt x="39294" y="1437601"/>
                    <a:pt x="32298" y="1437601"/>
                    <a:pt x="27633" y="1430603"/>
                  </a:cubicBezTo>
                  <a:cubicBezTo>
                    <a:pt x="13640" y="1421273"/>
                    <a:pt x="1979" y="1360635"/>
                    <a:pt x="1979" y="1341978"/>
                  </a:cubicBezTo>
                  <a:cubicBezTo>
                    <a:pt x="-28342" y="999133"/>
                    <a:pt x="295844" y="581657"/>
                    <a:pt x="559390" y="390412"/>
                  </a:cubicBezTo>
                  <a:cubicBezTo>
                    <a:pt x="1014182" y="59231"/>
                    <a:pt x="1503958" y="-66712"/>
                    <a:pt x="2063702" y="33574"/>
                  </a:cubicBezTo>
                  <a:cubicBezTo>
                    <a:pt x="2665427" y="138526"/>
                    <a:pt x="2817024" y="700605"/>
                    <a:pt x="2751721" y="1239358"/>
                  </a:cubicBezTo>
                  <a:cubicBezTo>
                    <a:pt x="2667760" y="1943702"/>
                    <a:pt x="1926099" y="2412487"/>
                    <a:pt x="1648559" y="3042199"/>
                  </a:cubicBezTo>
                  <a:cubicBezTo>
                    <a:pt x="1632233" y="3077183"/>
                    <a:pt x="1613575" y="3119165"/>
                    <a:pt x="1601913" y="3156480"/>
                  </a:cubicBezTo>
                  <a:cubicBezTo>
                    <a:pt x="1594917" y="3177471"/>
                    <a:pt x="1587920" y="3245108"/>
                    <a:pt x="1580922" y="3256769"/>
                  </a:cubicBezTo>
                  <a:cubicBezTo>
                    <a:pt x="1573926" y="3266099"/>
                    <a:pt x="1499293" y="3310410"/>
                    <a:pt x="1482968" y="3319739"/>
                  </a:cubicBezTo>
                  <a:cubicBezTo>
                    <a:pt x="1347696" y="3387375"/>
                    <a:pt x="1203096" y="3396705"/>
                    <a:pt x="1058495" y="3420028"/>
                  </a:cubicBezTo>
                  <a:cubicBezTo>
                    <a:pt x="1049166" y="3380378"/>
                    <a:pt x="1067824" y="3273094"/>
                    <a:pt x="1079485" y="3231115"/>
                  </a:cubicBezTo>
                  <a:cubicBezTo>
                    <a:pt x="1095811" y="3161147"/>
                    <a:pt x="1151786" y="3056195"/>
                    <a:pt x="1156451" y="3002551"/>
                  </a:cubicBezTo>
                  <a:cubicBezTo>
                    <a:pt x="1186770" y="2937247"/>
                    <a:pt x="1217089" y="2871945"/>
                    <a:pt x="1249742" y="2806640"/>
                  </a:cubicBezTo>
                  <a:cubicBezTo>
                    <a:pt x="1252073" y="2799645"/>
                    <a:pt x="1249742" y="2792647"/>
                    <a:pt x="1252073" y="2790316"/>
                  </a:cubicBezTo>
                  <a:cubicBezTo>
                    <a:pt x="1357025" y="2587407"/>
                    <a:pt x="1506291" y="2386832"/>
                    <a:pt x="1646227" y="2204917"/>
                  </a:cubicBezTo>
                  <a:cubicBezTo>
                    <a:pt x="1678878" y="2162935"/>
                    <a:pt x="1732520" y="2113958"/>
                    <a:pt x="1751179" y="2067313"/>
                  </a:cubicBezTo>
                  <a:cubicBezTo>
                    <a:pt x="1751179" y="2062647"/>
                    <a:pt x="1760507" y="2057983"/>
                    <a:pt x="1755842" y="2050985"/>
                  </a:cubicBezTo>
                  <a:cubicBezTo>
                    <a:pt x="1807153" y="2041658"/>
                    <a:pt x="1818814" y="1988015"/>
                    <a:pt x="1842137" y="1948368"/>
                  </a:cubicBezTo>
                  <a:cubicBezTo>
                    <a:pt x="1860794" y="1915715"/>
                    <a:pt x="1879454" y="1880731"/>
                    <a:pt x="1900443" y="1848079"/>
                  </a:cubicBezTo>
                  <a:cubicBezTo>
                    <a:pt x="2089358" y="1570539"/>
                    <a:pt x="2245619" y="1281337"/>
                    <a:pt x="2124342" y="926834"/>
                  </a:cubicBezTo>
                  <a:cubicBezTo>
                    <a:pt x="2063702" y="749582"/>
                    <a:pt x="1949422" y="653960"/>
                    <a:pt x="1767504" y="607314"/>
                  </a:cubicBezTo>
                  <a:cubicBezTo>
                    <a:pt x="1860794" y="453382"/>
                    <a:pt x="1837472" y="238815"/>
                    <a:pt x="1657888" y="161849"/>
                  </a:cubicBezTo>
                  <a:cubicBezTo>
                    <a:pt x="1611243" y="140861"/>
                    <a:pt x="1580922" y="150188"/>
                    <a:pt x="1541275" y="140861"/>
                  </a:cubicBezTo>
                  <a:cubicBezTo>
                    <a:pt x="1522616" y="136195"/>
                    <a:pt x="1522616" y="119870"/>
                    <a:pt x="1494630" y="117538"/>
                  </a:cubicBezTo>
                  <a:cubicBezTo>
                    <a:pt x="1445651" y="115204"/>
                    <a:pt x="1408336" y="140861"/>
                    <a:pt x="1389678" y="185172"/>
                  </a:cubicBezTo>
                  <a:cubicBezTo>
                    <a:pt x="1385013" y="194501"/>
                    <a:pt x="1385013" y="215492"/>
                    <a:pt x="1382680" y="215492"/>
                  </a:cubicBezTo>
                  <a:cubicBezTo>
                    <a:pt x="1382680" y="215492"/>
                    <a:pt x="1347696" y="215492"/>
                    <a:pt x="1326706" y="229485"/>
                  </a:cubicBezTo>
                  <a:cubicBezTo>
                    <a:pt x="1249742" y="280797"/>
                    <a:pt x="1268400" y="383414"/>
                    <a:pt x="1268400" y="465044"/>
                  </a:cubicBezTo>
                  <a:cubicBezTo>
                    <a:pt x="1268400" y="539678"/>
                    <a:pt x="1261403" y="528017"/>
                    <a:pt x="1245077" y="593318"/>
                  </a:cubicBezTo>
                  <a:close/>
                  <a:moveTo>
                    <a:pt x="2705075" y="1589198"/>
                  </a:moveTo>
                  <a:cubicBezTo>
                    <a:pt x="2674756" y="1652168"/>
                    <a:pt x="2644437" y="1712807"/>
                    <a:pt x="2609453" y="1773448"/>
                  </a:cubicBezTo>
                  <a:cubicBezTo>
                    <a:pt x="2411210" y="2116290"/>
                    <a:pt x="2105683" y="2386832"/>
                    <a:pt x="1872456" y="2706355"/>
                  </a:cubicBezTo>
                  <a:lnTo>
                    <a:pt x="1888782" y="2944245"/>
                  </a:lnTo>
                  <a:cubicBezTo>
                    <a:pt x="1891115" y="2967567"/>
                    <a:pt x="1898112" y="2993222"/>
                    <a:pt x="1900443" y="3016544"/>
                  </a:cubicBezTo>
                  <a:cubicBezTo>
                    <a:pt x="1942424" y="2941913"/>
                    <a:pt x="1977408" y="2867279"/>
                    <a:pt x="2033383" y="2801977"/>
                  </a:cubicBezTo>
                  <a:cubicBezTo>
                    <a:pt x="2282936" y="2494116"/>
                    <a:pt x="2588462" y="2244565"/>
                    <a:pt x="2775044" y="1883063"/>
                  </a:cubicBezTo>
                  <a:cubicBezTo>
                    <a:pt x="2786705" y="1859740"/>
                    <a:pt x="2838015" y="1757120"/>
                    <a:pt x="2835683" y="1738464"/>
                  </a:cubicBezTo>
                  <a:cubicBezTo>
                    <a:pt x="2835683" y="1724468"/>
                    <a:pt x="2735395" y="1610189"/>
                    <a:pt x="2716737" y="1589198"/>
                  </a:cubicBezTo>
                  <a:cubicBezTo>
                    <a:pt x="2712072" y="1582200"/>
                    <a:pt x="2709740" y="1582200"/>
                    <a:pt x="2705075" y="1589198"/>
                  </a:cubicBezTo>
                  <a:close/>
                  <a:moveTo>
                    <a:pt x="2968621" y="1106417"/>
                  </a:moveTo>
                  <a:cubicBezTo>
                    <a:pt x="2973286" y="1111083"/>
                    <a:pt x="2975619" y="1118078"/>
                    <a:pt x="2984948" y="1115747"/>
                  </a:cubicBezTo>
                  <a:cubicBezTo>
                    <a:pt x="2980283" y="1024788"/>
                    <a:pt x="2973286" y="940827"/>
                    <a:pt x="2952297" y="852202"/>
                  </a:cubicBezTo>
                  <a:cubicBezTo>
                    <a:pt x="2898653" y="604980"/>
                    <a:pt x="2819357" y="514024"/>
                    <a:pt x="2639772" y="350765"/>
                  </a:cubicBezTo>
                  <a:cubicBezTo>
                    <a:pt x="2630443" y="341435"/>
                    <a:pt x="2567473" y="283129"/>
                    <a:pt x="2558143" y="290124"/>
                  </a:cubicBezTo>
                  <a:cubicBezTo>
                    <a:pt x="2707409" y="479040"/>
                    <a:pt x="2789038" y="709932"/>
                    <a:pt x="2807696" y="950156"/>
                  </a:cubicBezTo>
                  <a:cubicBezTo>
                    <a:pt x="2861338" y="994470"/>
                    <a:pt x="2912648" y="1066770"/>
                    <a:pt x="2966290" y="1108752"/>
                  </a:cubicBezTo>
                  <a:close/>
                  <a:moveTo>
                    <a:pt x="2952297" y="1160060"/>
                  </a:moveTo>
                  <a:cubicBezTo>
                    <a:pt x="2924309" y="1132074"/>
                    <a:pt x="2896322" y="1099422"/>
                    <a:pt x="2866002" y="1073768"/>
                  </a:cubicBezTo>
                  <a:cubicBezTo>
                    <a:pt x="2861338" y="1069101"/>
                    <a:pt x="2817024" y="1031786"/>
                    <a:pt x="2814692" y="1036449"/>
                  </a:cubicBezTo>
                  <a:cubicBezTo>
                    <a:pt x="2814692" y="1050445"/>
                    <a:pt x="2814692" y="1062106"/>
                    <a:pt x="2819357" y="1073768"/>
                  </a:cubicBezTo>
                  <a:cubicBezTo>
                    <a:pt x="2824022" y="1083094"/>
                    <a:pt x="2917313" y="1176385"/>
                    <a:pt x="2931306" y="1190381"/>
                  </a:cubicBezTo>
                  <a:cubicBezTo>
                    <a:pt x="2935970" y="1195044"/>
                    <a:pt x="2975619" y="1227697"/>
                    <a:pt x="2980283" y="1225365"/>
                  </a:cubicBezTo>
                  <a:cubicBezTo>
                    <a:pt x="2987281" y="1178720"/>
                    <a:pt x="2975619" y="1183383"/>
                    <a:pt x="2952297" y="1160060"/>
                  </a:cubicBezTo>
                  <a:close/>
                  <a:moveTo>
                    <a:pt x="2821689" y="1143736"/>
                  </a:moveTo>
                  <a:cubicBezTo>
                    <a:pt x="2798366" y="1125076"/>
                    <a:pt x="2793701" y="1134406"/>
                    <a:pt x="2807696" y="1157729"/>
                  </a:cubicBezTo>
                  <a:cubicBezTo>
                    <a:pt x="2814692" y="1167058"/>
                    <a:pt x="2912648" y="1258014"/>
                    <a:pt x="2928974" y="1272010"/>
                  </a:cubicBezTo>
                  <a:cubicBezTo>
                    <a:pt x="2935970" y="1279005"/>
                    <a:pt x="2945299" y="1279005"/>
                    <a:pt x="2952297" y="1283672"/>
                  </a:cubicBezTo>
                  <a:cubicBezTo>
                    <a:pt x="2959293" y="1288335"/>
                    <a:pt x="2954628" y="1299996"/>
                    <a:pt x="2963958" y="1297665"/>
                  </a:cubicBezTo>
                  <a:cubicBezTo>
                    <a:pt x="2963958" y="1283672"/>
                    <a:pt x="2949964" y="1269676"/>
                    <a:pt x="2940635" y="1260349"/>
                  </a:cubicBezTo>
                  <a:cubicBezTo>
                    <a:pt x="2912648" y="1227697"/>
                    <a:pt x="2854341" y="1169390"/>
                    <a:pt x="2821689" y="1143736"/>
                  </a:cubicBezTo>
                  <a:close/>
                  <a:moveTo>
                    <a:pt x="2800699" y="1369964"/>
                  </a:moveTo>
                  <a:cubicBezTo>
                    <a:pt x="2777377" y="1351305"/>
                    <a:pt x="2770379" y="1362966"/>
                    <a:pt x="2784373" y="1381626"/>
                  </a:cubicBezTo>
                  <a:cubicBezTo>
                    <a:pt x="2803031" y="1404948"/>
                    <a:pt x="2877664" y="1474916"/>
                    <a:pt x="2903318" y="1495907"/>
                  </a:cubicBezTo>
                  <a:cubicBezTo>
                    <a:pt x="2910315" y="1500571"/>
                    <a:pt x="2912648" y="1509900"/>
                    <a:pt x="2924309" y="1507569"/>
                  </a:cubicBezTo>
                  <a:lnTo>
                    <a:pt x="2877664" y="1446930"/>
                  </a:lnTo>
                  <a:cubicBezTo>
                    <a:pt x="2849676" y="1423608"/>
                    <a:pt x="2826354" y="1390955"/>
                    <a:pt x="2800699" y="1369964"/>
                  </a:cubicBezTo>
                  <a:close/>
                  <a:moveTo>
                    <a:pt x="2891657" y="1523893"/>
                  </a:moveTo>
                  <a:cubicBezTo>
                    <a:pt x="2861338" y="1493576"/>
                    <a:pt x="2826354" y="1451594"/>
                    <a:pt x="2793701" y="1425939"/>
                  </a:cubicBezTo>
                  <a:cubicBezTo>
                    <a:pt x="2772712" y="1409612"/>
                    <a:pt x="2768047" y="1409612"/>
                    <a:pt x="2777377" y="1437601"/>
                  </a:cubicBezTo>
                  <a:lnTo>
                    <a:pt x="2903318" y="1556546"/>
                  </a:lnTo>
                  <a:cubicBezTo>
                    <a:pt x="2914980" y="1561209"/>
                    <a:pt x="2912648" y="1540221"/>
                    <a:pt x="2910315" y="1535555"/>
                  </a:cubicBezTo>
                  <a:cubicBezTo>
                    <a:pt x="2910315" y="1535555"/>
                    <a:pt x="2896322" y="1528560"/>
                    <a:pt x="2891657" y="1523893"/>
                  </a:cubicBezTo>
                  <a:close/>
                  <a:moveTo>
                    <a:pt x="2803031" y="1239358"/>
                  </a:moveTo>
                  <a:cubicBezTo>
                    <a:pt x="2824022" y="1265012"/>
                    <a:pt x="2868334" y="1306994"/>
                    <a:pt x="2891657" y="1327982"/>
                  </a:cubicBezTo>
                  <a:cubicBezTo>
                    <a:pt x="2898653" y="1332649"/>
                    <a:pt x="2900986" y="1341978"/>
                    <a:pt x="2912648" y="1339644"/>
                  </a:cubicBezTo>
                  <a:cubicBezTo>
                    <a:pt x="2914980" y="1327982"/>
                    <a:pt x="2905651" y="1325651"/>
                    <a:pt x="2900986" y="1318656"/>
                  </a:cubicBezTo>
                  <a:cubicBezTo>
                    <a:pt x="2886992" y="1302328"/>
                    <a:pt x="2828685" y="1237026"/>
                    <a:pt x="2814692" y="1227697"/>
                  </a:cubicBezTo>
                  <a:cubicBezTo>
                    <a:pt x="2807696" y="1223030"/>
                    <a:pt x="2803031" y="1216035"/>
                    <a:pt x="2791370" y="1218367"/>
                  </a:cubicBezTo>
                  <a:cubicBezTo>
                    <a:pt x="2789038" y="1230028"/>
                    <a:pt x="2798366" y="1232360"/>
                    <a:pt x="2803031" y="1239358"/>
                  </a:cubicBezTo>
                  <a:close/>
                  <a:moveTo>
                    <a:pt x="946547" y="793896"/>
                  </a:moveTo>
                  <a:cubicBezTo>
                    <a:pt x="1009517" y="782234"/>
                    <a:pt x="1084150" y="777568"/>
                    <a:pt x="1142457" y="763575"/>
                  </a:cubicBezTo>
                  <a:cubicBezTo>
                    <a:pt x="1168112" y="758912"/>
                    <a:pt x="1203096" y="716930"/>
                    <a:pt x="1238080" y="716930"/>
                  </a:cubicBezTo>
                  <a:cubicBezTo>
                    <a:pt x="1240412" y="686609"/>
                    <a:pt x="1238080" y="656291"/>
                    <a:pt x="1238080" y="625971"/>
                  </a:cubicBezTo>
                  <a:cubicBezTo>
                    <a:pt x="1133128" y="665621"/>
                    <a:pt x="1030508" y="719261"/>
                    <a:pt x="944214" y="791561"/>
                  </a:cubicBezTo>
                  <a:close/>
                  <a:moveTo>
                    <a:pt x="517409" y="1418941"/>
                  </a:moveTo>
                  <a:cubicBezTo>
                    <a:pt x="554725" y="1297665"/>
                    <a:pt x="608368" y="1171722"/>
                    <a:pt x="648016" y="1045779"/>
                  </a:cubicBezTo>
                  <a:cubicBezTo>
                    <a:pt x="533735" y="1176385"/>
                    <a:pt x="494087" y="1367633"/>
                    <a:pt x="487090" y="1540221"/>
                  </a:cubicBezTo>
                  <a:cubicBezTo>
                    <a:pt x="501083" y="1512232"/>
                    <a:pt x="505748" y="1453925"/>
                    <a:pt x="517409" y="1418941"/>
                  </a:cubicBezTo>
                  <a:close/>
                  <a:moveTo>
                    <a:pt x="1189102" y="4254978"/>
                  </a:moveTo>
                  <a:cubicBezTo>
                    <a:pt x="1340699" y="4231655"/>
                    <a:pt x="1480635" y="4101049"/>
                    <a:pt x="1522616" y="3956449"/>
                  </a:cubicBezTo>
                  <a:cubicBezTo>
                    <a:pt x="1592584" y="3713893"/>
                    <a:pt x="1445651" y="3492327"/>
                    <a:pt x="1182105" y="3601943"/>
                  </a:cubicBezTo>
                  <a:cubicBezTo>
                    <a:pt x="1035173" y="3662584"/>
                    <a:pt x="948879" y="3839836"/>
                    <a:pt x="941882" y="3991433"/>
                  </a:cubicBezTo>
                  <a:cubicBezTo>
                    <a:pt x="937217" y="4073063"/>
                    <a:pt x="962872" y="4161687"/>
                    <a:pt x="1025843" y="4217662"/>
                  </a:cubicBezTo>
                  <a:cubicBezTo>
                    <a:pt x="1028176" y="4219994"/>
                    <a:pt x="1025843" y="4226992"/>
                    <a:pt x="1025843" y="4226992"/>
                  </a:cubicBezTo>
                  <a:cubicBezTo>
                    <a:pt x="1039838" y="4238653"/>
                    <a:pt x="1098144" y="4254978"/>
                    <a:pt x="1116802" y="4261976"/>
                  </a:cubicBezTo>
                  <a:cubicBezTo>
                    <a:pt x="1137792" y="4250314"/>
                    <a:pt x="1163447" y="4257312"/>
                    <a:pt x="1186770" y="4254978"/>
                  </a:cubicBezTo>
                  <a:close/>
                  <a:moveTo>
                    <a:pt x="1559933" y="3975106"/>
                  </a:moveTo>
                  <a:cubicBezTo>
                    <a:pt x="1510954" y="4112710"/>
                    <a:pt x="1387345" y="4222328"/>
                    <a:pt x="1247409" y="4259644"/>
                  </a:cubicBezTo>
                  <a:cubicBezTo>
                    <a:pt x="1228751" y="4264307"/>
                    <a:pt x="1191435" y="4273637"/>
                    <a:pt x="1172776" y="4273637"/>
                  </a:cubicBezTo>
                  <a:cubicBezTo>
                    <a:pt x="1172776" y="4287630"/>
                    <a:pt x="1200763" y="4296960"/>
                    <a:pt x="1210093" y="4301623"/>
                  </a:cubicBezTo>
                  <a:cubicBezTo>
                    <a:pt x="1231082" y="4310953"/>
                    <a:pt x="1277728" y="4315619"/>
                    <a:pt x="1275396" y="4343605"/>
                  </a:cubicBezTo>
                  <a:cubicBezTo>
                    <a:pt x="1291722" y="4343605"/>
                    <a:pt x="1310380" y="4348268"/>
                    <a:pt x="1315045" y="4348268"/>
                  </a:cubicBezTo>
                  <a:cubicBezTo>
                    <a:pt x="1319710" y="4348268"/>
                    <a:pt x="1326706" y="4348268"/>
                    <a:pt x="1331371" y="4348268"/>
                  </a:cubicBezTo>
                  <a:cubicBezTo>
                    <a:pt x="1452648" y="4348268"/>
                    <a:pt x="1615906" y="4212999"/>
                    <a:pt x="1669550" y="4108047"/>
                  </a:cubicBezTo>
                  <a:cubicBezTo>
                    <a:pt x="1676546" y="4094054"/>
                    <a:pt x="1695204" y="4066065"/>
                    <a:pt x="1683543" y="4052072"/>
                  </a:cubicBezTo>
                  <a:cubicBezTo>
                    <a:pt x="1667217" y="4031081"/>
                    <a:pt x="1583256" y="4000763"/>
                    <a:pt x="1559933" y="3975106"/>
                  </a:cubicBezTo>
                  <a:close/>
                  <a:moveTo>
                    <a:pt x="1522616" y="3648588"/>
                  </a:moveTo>
                  <a:cubicBezTo>
                    <a:pt x="1550603" y="3690570"/>
                    <a:pt x="1557600" y="3739547"/>
                    <a:pt x="1571594" y="3786193"/>
                  </a:cubicBezTo>
                  <a:lnTo>
                    <a:pt x="1730188" y="3877152"/>
                  </a:lnTo>
                  <a:cubicBezTo>
                    <a:pt x="1727856" y="3765202"/>
                    <a:pt x="1625236" y="3678909"/>
                    <a:pt x="1522616" y="3648588"/>
                  </a:cubicBezTo>
                  <a:close/>
                  <a:moveTo>
                    <a:pt x="1802488" y="693607"/>
                  </a:moveTo>
                  <a:cubicBezTo>
                    <a:pt x="1863128" y="705268"/>
                    <a:pt x="1919101" y="730923"/>
                    <a:pt x="1979741" y="742584"/>
                  </a:cubicBezTo>
                  <a:lnTo>
                    <a:pt x="1951753" y="712266"/>
                  </a:lnTo>
                  <a:cubicBezTo>
                    <a:pt x="1888782" y="674948"/>
                    <a:pt x="1818814" y="644630"/>
                    <a:pt x="1746514" y="635300"/>
                  </a:cubicBezTo>
                  <a:cubicBezTo>
                    <a:pt x="1739518" y="653960"/>
                    <a:pt x="1730188" y="665621"/>
                    <a:pt x="1734853" y="686609"/>
                  </a:cubicBezTo>
                  <a:cubicBezTo>
                    <a:pt x="1748846" y="686609"/>
                    <a:pt x="1788495" y="691275"/>
                    <a:pt x="1804821" y="695939"/>
                  </a:cubicBezTo>
                  <a:close/>
                  <a:moveTo>
                    <a:pt x="862584" y="3408366"/>
                  </a:moveTo>
                  <a:cubicBezTo>
                    <a:pt x="862584" y="3396705"/>
                    <a:pt x="857920" y="3392039"/>
                    <a:pt x="857920" y="3392039"/>
                  </a:cubicBezTo>
                  <a:lnTo>
                    <a:pt x="862584" y="3408366"/>
                  </a:lnTo>
                  <a:close/>
                  <a:moveTo>
                    <a:pt x="855588" y="3373382"/>
                  </a:moveTo>
                  <a:lnTo>
                    <a:pt x="855588" y="3378046"/>
                  </a:lnTo>
                  <a:cubicBezTo>
                    <a:pt x="855588" y="3378046"/>
                    <a:pt x="855588" y="3378046"/>
                    <a:pt x="855588" y="3373382"/>
                  </a:cubicBezTo>
                  <a:close/>
                  <a:moveTo>
                    <a:pt x="1308048" y="1232360"/>
                  </a:moveTo>
                  <a:cubicBezTo>
                    <a:pt x="1312712" y="1220699"/>
                    <a:pt x="1317377" y="1206706"/>
                    <a:pt x="1333703" y="1209037"/>
                  </a:cubicBezTo>
                  <a:lnTo>
                    <a:pt x="1333703" y="1288335"/>
                  </a:lnTo>
                  <a:cubicBezTo>
                    <a:pt x="1333703" y="1295333"/>
                    <a:pt x="1350029" y="1281337"/>
                    <a:pt x="1350029" y="1267344"/>
                  </a:cubicBezTo>
                  <a:lnTo>
                    <a:pt x="1350029" y="1178720"/>
                  </a:lnTo>
                  <a:cubicBezTo>
                    <a:pt x="1361690" y="1178720"/>
                    <a:pt x="1361690" y="1190381"/>
                    <a:pt x="1361690" y="1199708"/>
                  </a:cubicBezTo>
                  <a:cubicBezTo>
                    <a:pt x="1366355" y="1246353"/>
                    <a:pt x="1368687" y="1292998"/>
                    <a:pt x="1373352" y="1339644"/>
                  </a:cubicBezTo>
                  <a:cubicBezTo>
                    <a:pt x="1368687" y="1334980"/>
                    <a:pt x="1368687" y="1325651"/>
                    <a:pt x="1361690" y="1327982"/>
                  </a:cubicBezTo>
                  <a:cubicBezTo>
                    <a:pt x="1354694" y="1355971"/>
                    <a:pt x="1354694" y="1383957"/>
                    <a:pt x="1357025" y="1411946"/>
                  </a:cubicBezTo>
                  <a:cubicBezTo>
                    <a:pt x="1368687" y="1589198"/>
                    <a:pt x="1410667" y="1775779"/>
                    <a:pt x="1424662" y="1955363"/>
                  </a:cubicBezTo>
                  <a:cubicBezTo>
                    <a:pt x="1413000" y="1974022"/>
                    <a:pt x="1380348" y="2099965"/>
                    <a:pt x="1373352" y="2102297"/>
                  </a:cubicBezTo>
                  <a:cubicBezTo>
                    <a:pt x="1373352" y="2102297"/>
                    <a:pt x="1361690" y="2102297"/>
                    <a:pt x="1357025" y="2102297"/>
                  </a:cubicBezTo>
                  <a:cubicBezTo>
                    <a:pt x="1354694" y="2102297"/>
                    <a:pt x="1319710" y="2046322"/>
                    <a:pt x="1315045" y="2039324"/>
                  </a:cubicBezTo>
                  <a:cubicBezTo>
                    <a:pt x="1273064" y="1960029"/>
                    <a:pt x="1277728" y="1843416"/>
                    <a:pt x="1275396" y="1754788"/>
                  </a:cubicBezTo>
                  <a:cubicBezTo>
                    <a:pt x="1294054" y="1745459"/>
                    <a:pt x="1287057" y="1708143"/>
                    <a:pt x="1287057" y="1689484"/>
                  </a:cubicBezTo>
                  <a:cubicBezTo>
                    <a:pt x="1287057" y="1677823"/>
                    <a:pt x="1294054" y="1666161"/>
                    <a:pt x="1275396" y="1668496"/>
                  </a:cubicBezTo>
                  <a:cubicBezTo>
                    <a:pt x="1275396" y="1547216"/>
                    <a:pt x="1268400" y="1346642"/>
                    <a:pt x="1308048" y="1232360"/>
                  </a:cubicBezTo>
                  <a:close/>
                  <a:moveTo>
                    <a:pt x="1331371" y="1351305"/>
                  </a:moveTo>
                  <a:lnTo>
                    <a:pt x="1326706" y="1302328"/>
                  </a:lnTo>
                  <a:cubicBezTo>
                    <a:pt x="1326706" y="1320987"/>
                    <a:pt x="1308048" y="1353640"/>
                    <a:pt x="1331371" y="1351305"/>
                  </a:cubicBezTo>
                  <a:close/>
                  <a:moveTo>
                    <a:pt x="1303384" y="1649836"/>
                  </a:moveTo>
                  <a:cubicBezTo>
                    <a:pt x="1329038" y="1624182"/>
                    <a:pt x="1312712" y="1570539"/>
                    <a:pt x="1326706" y="1537887"/>
                  </a:cubicBezTo>
                  <a:lnTo>
                    <a:pt x="1326706" y="1376962"/>
                  </a:lnTo>
                  <a:cubicBezTo>
                    <a:pt x="1326706" y="1376962"/>
                    <a:pt x="1319710" y="1367633"/>
                    <a:pt x="1315045" y="1367633"/>
                  </a:cubicBezTo>
                  <a:cubicBezTo>
                    <a:pt x="1315045" y="1460923"/>
                    <a:pt x="1305715" y="1554214"/>
                    <a:pt x="1303384" y="1649836"/>
                  </a:cubicBezTo>
                  <a:close/>
                  <a:moveTo>
                    <a:pt x="1252073" y="1547216"/>
                  </a:moveTo>
                  <a:cubicBezTo>
                    <a:pt x="1235747" y="1544884"/>
                    <a:pt x="1242744" y="1551882"/>
                    <a:pt x="1240412" y="1561209"/>
                  </a:cubicBezTo>
                  <a:cubicBezTo>
                    <a:pt x="1233415" y="1593861"/>
                    <a:pt x="1224086" y="1624182"/>
                    <a:pt x="1217089" y="1656834"/>
                  </a:cubicBezTo>
                  <a:cubicBezTo>
                    <a:pt x="1207760" y="1698813"/>
                    <a:pt x="1196098" y="1745459"/>
                    <a:pt x="1189102" y="1789772"/>
                  </a:cubicBezTo>
                  <a:cubicBezTo>
                    <a:pt x="1189102" y="1794436"/>
                    <a:pt x="1189102" y="1820093"/>
                    <a:pt x="1189102" y="1831754"/>
                  </a:cubicBezTo>
                  <a:cubicBezTo>
                    <a:pt x="1184437" y="1862072"/>
                    <a:pt x="1158783" y="1943702"/>
                    <a:pt x="1163447" y="1967024"/>
                  </a:cubicBezTo>
                  <a:cubicBezTo>
                    <a:pt x="1165779" y="1978686"/>
                    <a:pt x="1233415" y="2083638"/>
                    <a:pt x="1238080" y="2088304"/>
                  </a:cubicBezTo>
                  <a:cubicBezTo>
                    <a:pt x="1252073" y="2095299"/>
                    <a:pt x="1277728" y="2050985"/>
                    <a:pt x="1280061" y="2039324"/>
                  </a:cubicBezTo>
                  <a:cubicBezTo>
                    <a:pt x="1282393" y="2018336"/>
                    <a:pt x="1266066" y="1988015"/>
                    <a:pt x="1263735" y="1964693"/>
                  </a:cubicBezTo>
                  <a:cubicBezTo>
                    <a:pt x="1247409" y="1827088"/>
                    <a:pt x="1252073" y="1687152"/>
                    <a:pt x="1252073" y="1549548"/>
                  </a:cubicBezTo>
                  <a:close/>
                  <a:moveTo>
                    <a:pt x="1366355" y="1078431"/>
                  </a:moveTo>
                  <a:cubicBezTo>
                    <a:pt x="1361690" y="1073768"/>
                    <a:pt x="1329038" y="1062106"/>
                    <a:pt x="1324373" y="1059772"/>
                  </a:cubicBezTo>
                  <a:cubicBezTo>
                    <a:pt x="1282393" y="1055108"/>
                    <a:pt x="1296387" y="1139069"/>
                    <a:pt x="1336034" y="1139069"/>
                  </a:cubicBezTo>
                  <a:cubicBezTo>
                    <a:pt x="1359357" y="1139069"/>
                    <a:pt x="1385013" y="1094756"/>
                    <a:pt x="1366355" y="1078431"/>
                  </a:cubicBezTo>
                  <a:close/>
                  <a:moveTo>
                    <a:pt x="1713862" y="672616"/>
                  </a:moveTo>
                  <a:cubicBezTo>
                    <a:pt x="1716195" y="665621"/>
                    <a:pt x="1727856" y="637632"/>
                    <a:pt x="1723192" y="632969"/>
                  </a:cubicBezTo>
                  <a:cubicBezTo>
                    <a:pt x="1704534" y="614309"/>
                    <a:pt x="1685874" y="681946"/>
                    <a:pt x="1695204" y="695939"/>
                  </a:cubicBezTo>
                  <a:cubicBezTo>
                    <a:pt x="1709197" y="700605"/>
                    <a:pt x="1711530" y="681946"/>
                    <a:pt x="1713862" y="672616"/>
                  </a:cubicBezTo>
                  <a:close/>
                  <a:moveTo>
                    <a:pt x="1331371" y="1190381"/>
                  </a:moveTo>
                  <a:cubicBezTo>
                    <a:pt x="1326706" y="1197376"/>
                    <a:pt x="1336034" y="1206706"/>
                    <a:pt x="1336034" y="1202042"/>
                  </a:cubicBezTo>
                  <a:cubicBezTo>
                    <a:pt x="1340699" y="1195044"/>
                    <a:pt x="1331371" y="1185715"/>
                    <a:pt x="1331371" y="1190381"/>
                  </a:cubicBezTo>
                  <a:close/>
                  <a:moveTo>
                    <a:pt x="1993734" y="1316321"/>
                  </a:moveTo>
                  <a:cubicBezTo>
                    <a:pt x="1993734" y="1316321"/>
                    <a:pt x="1998399" y="1316321"/>
                    <a:pt x="1998399" y="1311658"/>
                  </a:cubicBezTo>
                  <a:lnTo>
                    <a:pt x="1993734" y="1316321"/>
                  </a:lnTo>
                  <a:close/>
                </a:path>
              </a:pathLst>
            </a:custGeom>
            <a:solidFill>
              <a:schemeClr val="accent2"/>
            </a:solidFill>
            <a:ln w="233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9" name="Freeform 10">
              <a:extLst>
                <a:ext uri="{FF2B5EF4-FFF2-40B4-BE49-F238E27FC236}">
                  <a16:creationId xmlns:a16="http://schemas.microsoft.com/office/drawing/2014/main" id="{82E7FA41-6357-F3E3-D95D-6206E65AD1A1}"/>
                </a:ext>
              </a:extLst>
            </p:cNvPr>
            <p:cNvSpPr/>
            <p:nvPr/>
          </p:nvSpPr>
          <p:spPr>
            <a:xfrm>
              <a:off x="-41481055" y="23416725"/>
              <a:ext cx="3447090" cy="4433788"/>
            </a:xfrm>
            <a:custGeom>
              <a:avLst/>
              <a:gdLst>
                <a:gd name="connsiteX0" fmla="*/ 270544 w 3447090"/>
                <a:gd name="connsiteY0" fmla="*/ 4417461 h 4433788"/>
                <a:gd name="connsiteX1" fmla="*/ 1924120 w 3447090"/>
                <a:gd name="connsiteY1" fmla="*/ 4417461 h 4433788"/>
                <a:gd name="connsiteX2" fmla="*/ 1924120 w 3447090"/>
                <a:gd name="connsiteY2" fmla="*/ 4433789 h 4433788"/>
                <a:gd name="connsiteX3" fmla="*/ 270544 w 3447090"/>
                <a:gd name="connsiteY3" fmla="*/ 4433789 h 4433788"/>
                <a:gd name="connsiteX4" fmla="*/ 270544 w 3447090"/>
                <a:gd name="connsiteY4" fmla="*/ 4417461 h 4433788"/>
                <a:gd name="connsiteX5" fmla="*/ 3195206 w 3447090"/>
                <a:gd name="connsiteY5" fmla="*/ 4177239 h 4433788"/>
                <a:gd name="connsiteX6" fmla="*/ 3246516 w 3447090"/>
                <a:gd name="connsiteY6" fmla="*/ 4200562 h 4433788"/>
                <a:gd name="connsiteX7" fmla="*/ 3246516 w 3447090"/>
                <a:gd name="connsiteY7" fmla="*/ 4184234 h 4433788"/>
                <a:gd name="connsiteX8" fmla="*/ 3195206 w 3447090"/>
                <a:gd name="connsiteY8" fmla="*/ 4177239 h 4433788"/>
                <a:gd name="connsiteX9" fmla="*/ 181917 w 3447090"/>
                <a:gd name="connsiteY9" fmla="*/ 501584 h 4433788"/>
                <a:gd name="connsiteX10" fmla="*/ 790639 w 3447090"/>
                <a:gd name="connsiteY10" fmla="*/ 65451 h 4433788"/>
                <a:gd name="connsiteX11" fmla="*/ 935240 w 3447090"/>
                <a:gd name="connsiteY11" fmla="*/ 21137 h 4433788"/>
                <a:gd name="connsiteX12" fmla="*/ 949233 w 3447090"/>
                <a:gd name="connsiteY12" fmla="*/ 2481 h 4433788"/>
                <a:gd name="connsiteX13" fmla="*/ 361501 w 3447090"/>
                <a:gd name="connsiteY13" fmla="*/ 308007 h 4433788"/>
                <a:gd name="connsiteX14" fmla="*/ 125943 w 3447090"/>
                <a:gd name="connsiteY14" fmla="*/ 543566 h 4433788"/>
                <a:gd name="connsiteX15" fmla="*/ 116613 w 3447090"/>
                <a:gd name="connsiteY15" fmla="*/ 571552 h 4433788"/>
                <a:gd name="connsiteX16" fmla="*/ 181917 w 3447090"/>
                <a:gd name="connsiteY16" fmla="*/ 501584 h 4433788"/>
                <a:gd name="connsiteX17" fmla="*/ 2353258 w 3447090"/>
                <a:gd name="connsiteY17" fmla="*/ 4088612 h 4433788"/>
                <a:gd name="connsiteX18" fmla="*/ 2313609 w 3447090"/>
                <a:gd name="connsiteY18" fmla="*/ 4135257 h 4433788"/>
                <a:gd name="connsiteX19" fmla="*/ 2588817 w 3447090"/>
                <a:gd name="connsiteY19" fmla="*/ 4158580 h 4433788"/>
                <a:gd name="connsiteX20" fmla="*/ 2938657 w 3447090"/>
                <a:gd name="connsiteY20" fmla="*/ 4186566 h 4433788"/>
                <a:gd name="connsiteX21" fmla="*/ 2980637 w 3447090"/>
                <a:gd name="connsiteY21" fmla="*/ 4209889 h 4433788"/>
                <a:gd name="connsiteX22" fmla="*/ 2637795 w 3447090"/>
                <a:gd name="connsiteY22" fmla="*/ 4111934 h 4433788"/>
                <a:gd name="connsiteX23" fmla="*/ 2586485 w 3447090"/>
                <a:gd name="connsiteY23" fmla="*/ 4132925 h 4433788"/>
                <a:gd name="connsiteX24" fmla="*/ 2544504 w 3447090"/>
                <a:gd name="connsiteY24" fmla="*/ 4100273 h 4433788"/>
                <a:gd name="connsiteX25" fmla="*/ 2348593 w 3447090"/>
                <a:gd name="connsiteY25" fmla="*/ 4086280 h 4433788"/>
                <a:gd name="connsiteX26" fmla="*/ 443131 w 3447090"/>
                <a:gd name="connsiteY26" fmla="*/ 1705036 h 4433788"/>
                <a:gd name="connsiteX27" fmla="*/ 485111 w 3447090"/>
                <a:gd name="connsiteY27" fmla="*/ 2031553 h 4433788"/>
                <a:gd name="connsiteX28" fmla="*/ 548083 w 3447090"/>
                <a:gd name="connsiteY28" fmla="*/ 2374395 h 4433788"/>
                <a:gd name="connsiteX29" fmla="*/ 576070 w 3447090"/>
                <a:gd name="connsiteY29" fmla="*/ 2418709 h 4433788"/>
                <a:gd name="connsiteX30" fmla="*/ 461789 w 3447090"/>
                <a:gd name="connsiteY30" fmla="*/ 1677047 h 4433788"/>
                <a:gd name="connsiteX31" fmla="*/ 443131 w 3447090"/>
                <a:gd name="connsiteY31" fmla="*/ 1702701 h 4433788"/>
                <a:gd name="connsiteX32" fmla="*/ 2936325 w 3447090"/>
                <a:gd name="connsiteY32" fmla="*/ 189062 h 4433788"/>
                <a:gd name="connsiteX33" fmla="*/ 3148561 w 3447090"/>
                <a:gd name="connsiteY33" fmla="*/ 774461 h 4433788"/>
                <a:gd name="connsiteX34" fmla="*/ 3167218 w 3447090"/>
                <a:gd name="connsiteY34" fmla="*/ 788454 h 4433788"/>
                <a:gd name="connsiteX35" fmla="*/ 3106580 w 3447090"/>
                <a:gd name="connsiteY35" fmla="*/ 548229 h 4433788"/>
                <a:gd name="connsiteX36" fmla="*/ 2917667 w 3447090"/>
                <a:gd name="connsiteY36" fmla="*/ 128421 h 4433788"/>
                <a:gd name="connsiteX37" fmla="*/ 2852362 w 3447090"/>
                <a:gd name="connsiteY37" fmla="*/ 58453 h 4433788"/>
                <a:gd name="connsiteX38" fmla="*/ 2861692 w 3447090"/>
                <a:gd name="connsiteY38" fmla="*/ 81776 h 4433788"/>
                <a:gd name="connsiteX39" fmla="*/ 2938657 w 3447090"/>
                <a:gd name="connsiteY39" fmla="*/ 189062 h 4433788"/>
                <a:gd name="connsiteX40" fmla="*/ 2187666 w 3447090"/>
                <a:gd name="connsiteY40" fmla="*/ 2763883 h 4433788"/>
                <a:gd name="connsiteX41" fmla="*/ 2369584 w 3447090"/>
                <a:gd name="connsiteY41" fmla="*/ 2560977 h 4433788"/>
                <a:gd name="connsiteX42" fmla="*/ 2521182 w 3447090"/>
                <a:gd name="connsiteY42" fmla="*/ 2437366 h 4433788"/>
                <a:gd name="connsiteX43" fmla="*/ 2535175 w 3447090"/>
                <a:gd name="connsiteY43" fmla="*/ 2409379 h 4433788"/>
                <a:gd name="connsiteX44" fmla="*/ 2511852 w 3447090"/>
                <a:gd name="connsiteY44" fmla="*/ 2418709 h 4433788"/>
                <a:gd name="connsiteX45" fmla="*/ 2180670 w 3447090"/>
                <a:gd name="connsiteY45" fmla="*/ 2747558 h 4433788"/>
                <a:gd name="connsiteX46" fmla="*/ 2173673 w 3447090"/>
                <a:gd name="connsiteY46" fmla="*/ 2777879 h 4433788"/>
                <a:gd name="connsiteX47" fmla="*/ 2187666 w 3447090"/>
                <a:gd name="connsiteY47" fmla="*/ 2766217 h 4433788"/>
                <a:gd name="connsiteX48" fmla="*/ 862939 w 3447090"/>
                <a:gd name="connsiteY48" fmla="*/ 3729442 h 4433788"/>
                <a:gd name="connsiteX49" fmla="*/ 951565 w 3447090"/>
                <a:gd name="connsiteY49" fmla="*/ 4067621 h 4433788"/>
                <a:gd name="connsiteX50" fmla="*/ 972556 w 3447090"/>
                <a:gd name="connsiteY50" fmla="*/ 4065289 h 4433788"/>
                <a:gd name="connsiteX51" fmla="*/ 932907 w 3447090"/>
                <a:gd name="connsiteY51" fmla="*/ 3995321 h 4433788"/>
                <a:gd name="connsiteX52" fmla="*/ 881597 w 3447090"/>
                <a:gd name="connsiteY52" fmla="*/ 3787749 h 4433788"/>
                <a:gd name="connsiteX53" fmla="*/ 862939 w 3447090"/>
                <a:gd name="connsiteY53" fmla="*/ 3727110 h 4433788"/>
                <a:gd name="connsiteX54" fmla="*/ 3027282 w 3447090"/>
                <a:gd name="connsiteY54" fmla="*/ 4200562 h 4433788"/>
                <a:gd name="connsiteX55" fmla="*/ 3085589 w 3447090"/>
                <a:gd name="connsiteY55" fmla="*/ 4207557 h 4433788"/>
                <a:gd name="connsiteX56" fmla="*/ 3141564 w 3447090"/>
                <a:gd name="connsiteY56" fmla="*/ 4207557 h 4433788"/>
                <a:gd name="connsiteX57" fmla="*/ 3085589 w 3447090"/>
                <a:gd name="connsiteY57" fmla="*/ 4186566 h 4433788"/>
                <a:gd name="connsiteX58" fmla="*/ 3027282 w 3447090"/>
                <a:gd name="connsiteY58" fmla="*/ 4202894 h 4433788"/>
                <a:gd name="connsiteX59" fmla="*/ 3199871 w 3447090"/>
                <a:gd name="connsiteY59" fmla="*/ 636856 h 4433788"/>
                <a:gd name="connsiteX60" fmla="*/ 3106580 w 3447090"/>
                <a:gd name="connsiteY60" fmla="*/ 1637400 h 4433788"/>
                <a:gd name="connsiteX61" fmla="*/ 2999296 w 3447090"/>
                <a:gd name="connsiteY61" fmla="*/ 1863628 h 4433788"/>
                <a:gd name="connsiteX62" fmla="*/ 2982970 w 3447090"/>
                <a:gd name="connsiteY62" fmla="*/ 1912605 h 4433788"/>
                <a:gd name="connsiteX63" fmla="*/ 3001628 w 3447090"/>
                <a:gd name="connsiteY63" fmla="*/ 1898612 h 4433788"/>
                <a:gd name="connsiteX64" fmla="*/ 3220862 w 3447090"/>
                <a:gd name="connsiteY64" fmla="*/ 1327207 h 4433788"/>
                <a:gd name="connsiteX65" fmla="*/ 3178880 w 3447090"/>
                <a:gd name="connsiteY65" fmla="*/ 517911 h 4433788"/>
                <a:gd name="connsiteX66" fmla="*/ 3160222 w 3447090"/>
                <a:gd name="connsiteY66" fmla="*/ 513245 h 4433788"/>
                <a:gd name="connsiteX67" fmla="*/ 3197539 w 3447090"/>
                <a:gd name="connsiteY67" fmla="*/ 636856 h 4433788"/>
                <a:gd name="connsiteX68" fmla="*/ 1877475 w 3447090"/>
                <a:gd name="connsiteY68" fmla="*/ 4279857 h 4433788"/>
                <a:gd name="connsiteX69" fmla="*/ 1865814 w 3447090"/>
                <a:gd name="connsiteY69" fmla="*/ 4256534 h 4433788"/>
                <a:gd name="connsiteX70" fmla="*/ 1814504 w 3447090"/>
                <a:gd name="connsiteY70" fmla="*/ 4263532 h 4433788"/>
                <a:gd name="connsiteX71" fmla="*/ 1427348 w 3447090"/>
                <a:gd name="connsiteY71" fmla="*/ 4223885 h 4433788"/>
                <a:gd name="connsiteX72" fmla="*/ 1411022 w 3447090"/>
                <a:gd name="connsiteY72" fmla="*/ 4223885 h 4433788"/>
                <a:gd name="connsiteX73" fmla="*/ 1427348 w 3447090"/>
                <a:gd name="connsiteY73" fmla="*/ 4244873 h 4433788"/>
                <a:gd name="connsiteX74" fmla="*/ 1877475 w 3447090"/>
                <a:gd name="connsiteY74" fmla="*/ 4282191 h 4433788"/>
                <a:gd name="connsiteX75" fmla="*/ 832620 w 3447090"/>
                <a:gd name="connsiteY75" fmla="*/ 4158580 h 4433788"/>
                <a:gd name="connsiteX76" fmla="*/ 445464 w 3447090"/>
                <a:gd name="connsiteY76" fmla="*/ 4219218 h 4433788"/>
                <a:gd name="connsiteX77" fmla="*/ 289202 w 3447090"/>
                <a:gd name="connsiteY77" fmla="*/ 4261200 h 4433788"/>
                <a:gd name="connsiteX78" fmla="*/ 284537 w 3447090"/>
                <a:gd name="connsiteY78" fmla="*/ 4277525 h 4433788"/>
                <a:gd name="connsiteX79" fmla="*/ 583067 w 3447090"/>
                <a:gd name="connsiteY79" fmla="*/ 4209889 h 4433788"/>
                <a:gd name="connsiteX80" fmla="*/ 1005208 w 3447090"/>
                <a:gd name="connsiteY80" fmla="*/ 4186566 h 4433788"/>
                <a:gd name="connsiteX81" fmla="*/ 1042524 w 3447090"/>
                <a:gd name="connsiteY81" fmla="*/ 4214555 h 4433788"/>
                <a:gd name="connsiteX82" fmla="*/ 832620 w 3447090"/>
                <a:gd name="connsiteY82" fmla="*/ 4156248 h 4433788"/>
                <a:gd name="connsiteX83" fmla="*/ 3447091 w 3447090"/>
                <a:gd name="connsiteY83" fmla="*/ 4279857 h 4433788"/>
                <a:gd name="connsiteX84" fmla="*/ 3437762 w 3447090"/>
                <a:gd name="connsiteY84" fmla="*/ 4291518 h 4433788"/>
                <a:gd name="connsiteX85" fmla="*/ 2409232 w 3447090"/>
                <a:gd name="connsiteY85" fmla="*/ 4291518 h 4433788"/>
                <a:gd name="connsiteX86" fmla="*/ 2364919 w 3447090"/>
                <a:gd name="connsiteY86" fmla="*/ 4298516 h 4433788"/>
                <a:gd name="connsiteX87" fmla="*/ 1933450 w 3447090"/>
                <a:gd name="connsiteY87" fmla="*/ 4303179 h 4433788"/>
                <a:gd name="connsiteX88" fmla="*/ 1924120 w 3447090"/>
                <a:gd name="connsiteY88" fmla="*/ 4314841 h 4433788"/>
                <a:gd name="connsiteX89" fmla="*/ 2528178 w 3447090"/>
                <a:gd name="connsiteY89" fmla="*/ 4314841 h 4433788"/>
                <a:gd name="connsiteX90" fmla="*/ 2507187 w 3447090"/>
                <a:gd name="connsiteY90" fmla="*/ 4326502 h 4433788"/>
                <a:gd name="connsiteX91" fmla="*/ 2346262 w 3447090"/>
                <a:gd name="connsiteY91" fmla="*/ 4338163 h 4433788"/>
                <a:gd name="connsiteX92" fmla="*/ 2138689 w 3447090"/>
                <a:gd name="connsiteY92" fmla="*/ 4342830 h 4433788"/>
                <a:gd name="connsiteX93" fmla="*/ 2117698 w 3447090"/>
                <a:gd name="connsiteY93" fmla="*/ 4347493 h 4433788"/>
                <a:gd name="connsiteX94" fmla="*/ 3020286 w 3447090"/>
                <a:gd name="connsiteY94" fmla="*/ 4417461 h 4433788"/>
                <a:gd name="connsiteX95" fmla="*/ 2994632 w 3447090"/>
                <a:gd name="connsiteY95" fmla="*/ 4429122 h 4433788"/>
                <a:gd name="connsiteX96" fmla="*/ 2159680 w 3447090"/>
                <a:gd name="connsiteY96" fmla="*/ 4429122 h 4433788"/>
                <a:gd name="connsiteX97" fmla="*/ 2159680 w 3447090"/>
                <a:gd name="connsiteY97" fmla="*/ 4412798 h 4433788"/>
                <a:gd name="connsiteX98" fmla="*/ 2819712 w 3447090"/>
                <a:gd name="connsiteY98" fmla="*/ 4412798 h 4433788"/>
                <a:gd name="connsiteX99" fmla="*/ 2679776 w 3447090"/>
                <a:gd name="connsiteY99" fmla="*/ 4396470 h 4433788"/>
                <a:gd name="connsiteX100" fmla="*/ 492109 w 3447090"/>
                <a:gd name="connsiteY100" fmla="*/ 4310177 h 4433788"/>
                <a:gd name="connsiteX101" fmla="*/ 0 w 3447090"/>
                <a:gd name="connsiteY101" fmla="*/ 4305514 h 4433788"/>
                <a:gd name="connsiteX102" fmla="*/ 0 w 3447090"/>
                <a:gd name="connsiteY102" fmla="*/ 4289186 h 4433788"/>
                <a:gd name="connsiteX103" fmla="*/ 1007540 w 3447090"/>
                <a:gd name="connsiteY103" fmla="*/ 4300848 h 4433788"/>
                <a:gd name="connsiteX104" fmla="*/ 1040192 w 3447090"/>
                <a:gd name="connsiteY104" fmla="*/ 4219218 h 4433788"/>
                <a:gd name="connsiteX105" fmla="*/ 1112492 w 3447090"/>
                <a:gd name="connsiteY105" fmla="*/ 4132925 h 4433788"/>
                <a:gd name="connsiteX106" fmla="*/ 1119488 w 3447090"/>
                <a:gd name="connsiteY106" fmla="*/ 4102605 h 4433788"/>
                <a:gd name="connsiteX107" fmla="*/ 1210447 w 3447090"/>
                <a:gd name="connsiteY107" fmla="*/ 4137589 h 4433788"/>
                <a:gd name="connsiteX108" fmla="*/ 1261757 w 3447090"/>
                <a:gd name="connsiteY108" fmla="*/ 4149250 h 4433788"/>
                <a:gd name="connsiteX109" fmla="*/ 1299073 w 3447090"/>
                <a:gd name="connsiteY109" fmla="*/ 4177239 h 4433788"/>
                <a:gd name="connsiteX110" fmla="*/ 1364376 w 3447090"/>
                <a:gd name="connsiteY110" fmla="*/ 4219218 h 4433788"/>
                <a:gd name="connsiteX111" fmla="*/ 1313066 w 3447090"/>
                <a:gd name="connsiteY111" fmla="*/ 4230880 h 4433788"/>
                <a:gd name="connsiteX112" fmla="*/ 1336389 w 3447090"/>
                <a:gd name="connsiteY112" fmla="*/ 4305514 h 4433788"/>
                <a:gd name="connsiteX113" fmla="*/ 1921789 w 3447090"/>
                <a:gd name="connsiteY113" fmla="*/ 4293853 h 4433788"/>
                <a:gd name="connsiteX114" fmla="*/ 1905463 w 3447090"/>
                <a:gd name="connsiteY114" fmla="*/ 4275193 h 4433788"/>
                <a:gd name="connsiteX115" fmla="*/ 1926453 w 3447090"/>
                <a:gd name="connsiteY115" fmla="*/ 4233211 h 4433788"/>
                <a:gd name="connsiteX116" fmla="*/ 1973099 w 3447090"/>
                <a:gd name="connsiteY116" fmla="*/ 4037303 h 4433788"/>
                <a:gd name="connsiteX117" fmla="*/ 1919456 w 3447090"/>
                <a:gd name="connsiteY117" fmla="*/ 4023307 h 4433788"/>
                <a:gd name="connsiteX118" fmla="*/ 1812172 w 3447090"/>
                <a:gd name="connsiteY118" fmla="*/ 3675802 h 4433788"/>
                <a:gd name="connsiteX119" fmla="*/ 1758530 w 3447090"/>
                <a:gd name="connsiteY119" fmla="*/ 3267655 h 4433788"/>
                <a:gd name="connsiteX120" fmla="*/ 1275750 w 3447090"/>
                <a:gd name="connsiteY120" fmla="*/ 3377270 h 4433788"/>
                <a:gd name="connsiteX121" fmla="*/ 1271086 w 3447090"/>
                <a:gd name="connsiteY121" fmla="*/ 3479891 h 4433788"/>
                <a:gd name="connsiteX122" fmla="*/ 1030862 w 3447090"/>
                <a:gd name="connsiteY122" fmla="*/ 3869378 h 4433788"/>
                <a:gd name="connsiteX123" fmla="*/ 1009871 w 3447090"/>
                <a:gd name="connsiteY123" fmla="*/ 3853053 h 4433788"/>
                <a:gd name="connsiteX124" fmla="*/ 883930 w 3447090"/>
                <a:gd name="connsiteY124" fmla="*/ 3211680 h 4433788"/>
                <a:gd name="connsiteX125" fmla="*/ 853611 w 3447090"/>
                <a:gd name="connsiteY125" fmla="*/ 2983117 h 4433788"/>
                <a:gd name="connsiteX126" fmla="*/ 699680 w 3447090"/>
                <a:gd name="connsiteY126" fmla="*/ 2379059 h 4433788"/>
                <a:gd name="connsiteX127" fmla="*/ 727668 w 3447090"/>
                <a:gd name="connsiteY127" fmla="*/ 2194812 h 4433788"/>
                <a:gd name="connsiteX128" fmla="*/ 681022 w 3447090"/>
                <a:gd name="connsiteY128" fmla="*/ 2108516 h 4433788"/>
                <a:gd name="connsiteX129" fmla="*/ 650703 w 3447090"/>
                <a:gd name="connsiteY129" fmla="*/ 2096855 h 4433788"/>
                <a:gd name="connsiteX130" fmla="*/ 622716 w 3447090"/>
                <a:gd name="connsiteY130" fmla="*/ 2050210 h 4433788"/>
                <a:gd name="connsiteX131" fmla="*/ 622716 w 3447090"/>
                <a:gd name="connsiteY131" fmla="*/ 1861297 h 4433788"/>
                <a:gd name="connsiteX132" fmla="*/ 634377 w 3447090"/>
                <a:gd name="connsiteY132" fmla="*/ 1856633 h 4433788"/>
                <a:gd name="connsiteX133" fmla="*/ 650703 w 3447090"/>
                <a:gd name="connsiteY133" fmla="*/ 2059539 h 4433788"/>
                <a:gd name="connsiteX134" fmla="*/ 664696 w 3447090"/>
                <a:gd name="connsiteY134" fmla="*/ 2031553 h 4433788"/>
                <a:gd name="connsiteX135" fmla="*/ 823290 w 3447090"/>
                <a:gd name="connsiteY135" fmla="*/ 1952256 h 4433788"/>
                <a:gd name="connsiteX136" fmla="*/ 883930 w 3447090"/>
                <a:gd name="connsiteY136" fmla="*/ 1980242 h 4433788"/>
                <a:gd name="connsiteX137" fmla="*/ 876933 w 3447090"/>
                <a:gd name="connsiteY137" fmla="*/ 1886951 h 4433788"/>
                <a:gd name="connsiteX138" fmla="*/ 795304 w 3447090"/>
                <a:gd name="connsiteY138" fmla="*/ 1630402 h 4433788"/>
                <a:gd name="connsiteX139" fmla="*/ 655368 w 3447090"/>
                <a:gd name="connsiteY139" fmla="*/ 1541777 h 4433788"/>
                <a:gd name="connsiteX140" fmla="*/ 774313 w 3447090"/>
                <a:gd name="connsiteY140" fmla="*/ 1567432 h 4433788"/>
                <a:gd name="connsiteX141" fmla="*/ 827955 w 3447090"/>
                <a:gd name="connsiteY141" fmla="*/ 1597749 h 4433788"/>
                <a:gd name="connsiteX142" fmla="*/ 811629 w 3447090"/>
                <a:gd name="connsiteY142" fmla="*/ 1488134 h 4433788"/>
                <a:gd name="connsiteX143" fmla="*/ 827955 w 3447090"/>
                <a:gd name="connsiteY143" fmla="*/ 1504459 h 4433788"/>
                <a:gd name="connsiteX144" fmla="*/ 874600 w 3447090"/>
                <a:gd name="connsiteY144" fmla="*/ 1390180 h 4433788"/>
                <a:gd name="connsiteX145" fmla="*/ 890926 w 3447090"/>
                <a:gd name="connsiteY145" fmla="*/ 1336537 h 4433788"/>
                <a:gd name="connsiteX146" fmla="*/ 862939 w 3447090"/>
                <a:gd name="connsiteY146" fmla="*/ 1096312 h 4433788"/>
                <a:gd name="connsiteX147" fmla="*/ 862939 w 3447090"/>
                <a:gd name="connsiteY147" fmla="*/ 886408 h 4433788"/>
                <a:gd name="connsiteX148" fmla="*/ 874600 w 3447090"/>
                <a:gd name="connsiteY148" fmla="*/ 874747 h 4433788"/>
                <a:gd name="connsiteX149" fmla="*/ 890926 w 3447090"/>
                <a:gd name="connsiteY149" fmla="*/ 1170946 h 4433788"/>
                <a:gd name="connsiteX150" fmla="*/ 914249 w 3447090"/>
                <a:gd name="connsiteY150" fmla="*/ 1336537 h 4433788"/>
                <a:gd name="connsiteX151" fmla="*/ 907252 w 3447090"/>
                <a:gd name="connsiteY151" fmla="*/ 1376184 h 4433788"/>
                <a:gd name="connsiteX152" fmla="*/ 923579 w 3447090"/>
                <a:gd name="connsiteY152" fmla="*/ 1394843 h 4433788"/>
                <a:gd name="connsiteX153" fmla="*/ 867604 w 3447090"/>
                <a:gd name="connsiteY153" fmla="*/ 1705036 h 4433788"/>
                <a:gd name="connsiteX154" fmla="*/ 902588 w 3447090"/>
                <a:gd name="connsiteY154" fmla="*/ 1996569 h 4433788"/>
                <a:gd name="connsiteX155" fmla="*/ 839616 w 3447090"/>
                <a:gd name="connsiteY155" fmla="*/ 2075864 h 4433788"/>
                <a:gd name="connsiteX156" fmla="*/ 904919 w 3447090"/>
                <a:gd name="connsiteY156" fmla="*/ 2348741 h 4433788"/>
                <a:gd name="connsiteX157" fmla="*/ 1007540 w 3447090"/>
                <a:gd name="connsiteY157" fmla="*/ 2246121 h 4433788"/>
                <a:gd name="connsiteX158" fmla="*/ 1061182 w 3447090"/>
                <a:gd name="connsiteY158" fmla="*/ 2148167 h 4433788"/>
                <a:gd name="connsiteX159" fmla="*/ 1028531 w 3447090"/>
                <a:gd name="connsiteY159" fmla="*/ 2199475 h 4433788"/>
                <a:gd name="connsiteX160" fmla="*/ 1021533 w 3447090"/>
                <a:gd name="connsiteY160" fmla="*/ 2176153 h 4433788"/>
                <a:gd name="connsiteX161" fmla="*/ 1089169 w 3447090"/>
                <a:gd name="connsiteY161" fmla="*/ 1982573 h 4433788"/>
                <a:gd name="connsiteX162" fmla="*/ 1121821 w 3447090"/>
                <a:gd name="connsiteY162" fmla="*/ 1998901 h 4433788"/>
                <a:gd name="connsiteX163" fmla="*/ 1112492 w 3447090"/>
                <a:gd name="connsiteY163" fmla="*/ 1959251 h 4433788"/>
                <a:gd name="connsiteX164" fmla="*/ 1128818 w 3447090"/>
                <a:gd name="connsiteY164" fmla="*/ 1959251 h 4433788"/>
                <a:gd name="connsiteX165" fmla="*/ 1313066 w 3447090"/>
                <a:gd name="connsiteY165" fmla="*/ 2005896 h 4433788"/>
                <a:gd name="connsiteX166" fmla="*/ 1226773 w 3447090"/>
                <a:gd name="connsiteY166" fmla="*/ 1819315 h 4433788"/>
                <a:gd name="connsiteX167" fmla="*/ 1266421 w 3447090"/>
                <a:gd name="connsiteY167" fmla="*/ 1618740 h 4433788"/>
                <a:gd name="connsiteX168" fmla="*/ 1278082 w 3447090"/>
                <a:gd name="connsiteY168" fmla="*/ 1604747 h 4433788"/>
                <a:gd name="connsiteX169" fmla="*/ 1261757 w 3447090"/>
                <a:gd name="connsiteY169" fmla="*/ 1677047 h 4433788"/>
                <a:gd name="connsiteX170" fmla="*/ 1273419 w 3447090"/>
                <a:gd name="connsiteY170" fmla="*/ 1667717 h 4433788"/>
                <a:gd name="connsiteX171" fmla="*/ 1273419 w 3447090"/>
                <a:gd name="connsiteY171" fmla="*/ 1709699 h 4433788"/>
                <a:gd name="connsiteX172" fmla="*/ 1247763 w 3447090"/>
                <a:gd name="connsiteY172" fmla="*/ 1844972 h 4433788"/>
                <a:gd name="connsiteX173" fmla="*/ 1322396 w 3447090"/>
                <a:gd name="connsiteY173" fmla="*/ 1966249 h 4433788"/>
                <a:gd name="connsiteX174" fmla="*/ 1364376 w 3447090"/>
                <a:gd name="connsiteY174" fmla="*/ 1917272 h 4433788"/>
                <a:gd name="connsiteX175" fmla="*/ 1348050 w 3447090"/>
                <a:gd name="connsiteY175" fmla="*/ 1842637 h 4433788"/>
                <a:gd name="connsiteX176" fmla="*/ 1336389 w 3447090"/>
                <a:gd name="connsiteY176" fmla="*/ 1427496 h 4433788"/>
                <a:gd name="connsiteX177" fmla="*/ 1324727 w 3447090"/>
                <a:gd name="connsiteY177" fmla="*/ 1441489 h 4433788"/>
                <a:gd name="connsiteX178" fmla="*/ 1301405 w 3447090"/>
                <a:gd name="connsiteY178" fmla="*/ 1537111 h 4433788"/>
                <a:gd name="connsiteX179" fmla="*/ 1285080 w 3447090"/>
                <a:gd name="connsiteY179" fmla="*/ 1583756 h 4433788"/>
                <a:gd name="connsiteX180" fmla="*/ 1280415 w 3447090"/>
                <a:gd name="connsiteY180" fmla="*/ 1541777 h 4433788"/>
                <a:gd name="connsiteX181" fmla="*/ 1362045 w 3447090"/>
                <a:gd name="connsiteY181" fmla="*/ 1152287 h 4433788"/>
                <a:gd name="connsiteX182" fmla="*/ 1394695 w 3447090"/>
                <a:gd name="connsiteY182" fmla="*/ 1035674 h 4433788"/>
                <a:gd name="connsiteX183" fmla="*/ 1366709 w 3447090"/>
                <a:gd name="connsiteY183" fmla="*/ 963374 h 4433788"/>
                <a:gd name="connsiteX184" fmla="*/ 1303738 w 3447090"/>
                <a:gd name="connsiteY184" fmla="*/ 1000690 h 4433788"/>
                <a:gd name="connsiteX185" fmla="*/ 1275750 w 3447090"/>
                <a:gd name="connsiteY185" fmla="*/ 940051 h 4433788"/>
                <a:gd name="connsiteX186" fmla="*/ 1240766 w 3447090"/>
                <a:gd name="connsiteY186" fmla="*/ 1163948 h 4433788"/>
                <a:gd name="connsiteX187" fmla="*/ 1147476 w 3447090"/>
                <a:gd name="connsiteY187" fmla="*/ 1768006 h 4433788"/>
                <a:gd name="connsiteX188" fmla="*/ 1091501 w 3447090"/>
                <a:gd name="connsiteY188" fmla="*/ 1973247 h 4433788"/>
                <a:gd name="connsiteX189" fmla="*/ 1082173 w 3447090"/>
                <a:gd name="connsiteY189" fmla="*/ 1954587 h 4433788"/>
                <a:gd name="connsiteX190" fmla="*/ 1112492 w 3447090"/>
                <a:gd name="connsiteY190" fmla="*/ 1812320 h 4433788"/>
                <a:gd name="connsiteX191" fmla="*/ 1252428 w 3447090"/>
                <a:gd name="connsiteY191" fmla="*/ 884076 h 4433788"/>
                <a:gd name="connsiteX192" fmla="*/ 1222109 w 3447090"/>
                <a:gd name="connsiteY192" fmla="*/ 893406 h 4433788"/>
                <a:gd name="connsiteX193" fmla="*/ 1040192 w 3447090"/>
                <a:gd name="connsiteY193" fmla="*/ 1007687 h 4433788"/>
                <a:gd name="connsiteX194" fmla="*/ 1056517 w 3447090"/>
                <a:gd name="connsiteY194" fmla="*/ 1257239 h 4433788"/>
                <a:gd name="connsiteX195" fmla="*/ 1131150 w 3447090"/>
                <a:gd name="connsiteY195" fmla="*/ 1642063 h 4433788"/>
                <a:gd name="connsiteX196" fmla="*/ 1119488 w 3447090"/>
                <a:gd name="connsiteY196" fmla="*/ 1663054 h 4433788"/>
                <a:gd name="connsiteX197" fmla="*/ 1084504 w 3447090"/>
                <a:gd name="connsiteY197" fmla="*/ 1548772 h 4433788"/>
                <a:gd name="connsiteX198" fmla="*/ 1026198 w 3447090"/>
                <a:gd name="connsiteY198" fmla="*/ 1049667 h 4433788"/>
                <a:gd name="connsiteX199" fmla="*/ 1082173 w 3447090"/>
                <a:gd name="connsiteY199" fmla="*/ 954044 h 4433788"/>
                <a:gd name="connsiteX200" fmla="*/ 1030862 w 3447090"/>
                <a:gd name="connsiteY200" fmla="*/ 856090 h 4433788"/>
                <a:gd name="connsiteX201" fmla="*/ 1196453 w 3447090"/>
                <a:gd name="connsiteY201" fmla="*/ 669509 h 4433788"/>
                <a:gd name="connsiteX202" fmla="*/ 876933 w 3447090"/>
                <a:gd name="connsiteY202" fmla="*/ 725484 h 4433788"/>
                <a:gd name="connsiteX203" fmla="*/ 797636 w 3447090"/>
                <a:gd name="connsiteY203" fmla="*/ 807113 h 4433788"/>
                <a:gd name="connsiteX204" fmla="*/ 725336 w 3447090"/>
                <a:gd name="connsiteY204" fmla="*/ 1045003 h 4433788"/>
                <a:gd name="connsiteX205" fmla="*/ 601725 w 3447090"/>
                <a:gd name="connsiteY205" fmla="*/ 1387845 h 4433788"/>
                <a:gd name="connsiteX206" fmla="*/ 587732 w 3447090"/>
                <a:gd name="connsiteY206" fmla="*/ 1492797 h 4433788"/>
                <a:gd name="connsiteX207" fmla="*/ 571405 w 3447090"/>
                <a:gd name="connsiteY207" fmla="*/ 1476473 h 4433788"/>
                <a:gd name="connsiteX208" fmla="*/ 387157 w 3447090"/>
                <a:gd name="connsiteY208" fmla="*/ 1495132 h 4433788"/>
                <a:gd name="connsiteX209" fmla="*/ 132940 w 3447090"/>
                <a:gd name="connsiteY209" fmla="*/ 1322544 h 4433788"/>
                <a:gd name="connsiteX210" fmla="*/ 447796 w 3447090"/>
                <a:gd name="connsiteY210" fmla="*/ 1418166 h 4433788"/>
                <a:gd name="connsiteX211" fmla="*/ 545751 w 3447090"/>
                <a:gd name="connsiteY211" fmla="*/ 1432159 h 4433788"/>
                <a:gd name="connsiteX212" fmla="*/ 573739 w 3447090"/>
                <a:gd name="connsiteY212" fmla="*/ 1427496 h 4433788"/>
                <a:gd name="connsiteX213" fmla="*/ 604058 w 3447090"/>
                <a:gd name="connsiteY213" fmla="*/ 1306216 h 4433788"/>
                <a:gd name="connsiteX214" fmla="*/ 734664 w 3447090"/>
                <a:gd name="connsiteY214" fmla="*/ 933053 h 4433788"/>
                <a:gd name="connsiteX215" fmla="*/ 762652 w 3447090"/>
                <a:gd name="connsiteY215" fmla="*/ 846760 h 4433788"/>
                <a:gd name="connsiteX216" fmla="*/ 837284 w 3447090"/>
                <a:gd name="connsiteY216" fmla="*/ 723149 h 4433788"/>
                <a:gd name="connsiteX217" fmla="*/ 979552 w 3447090"/>
                <a:gd name="connsiteY217" fmla="*/ 690500 h 4433788"/>
                <a:gd name="connsiteX218" fmla="*/ 1030862 w 3447090"/>
                <a:gd name="connsiteY218" fmla="*/ 678838 h 4433788"/>
                <a:gd name="connsiteX219" fmla="*/ 1226773 w 3447090"/>
                <a:gd name="connsiteY219" fmla="*/ 648518 h 4433788"/>
                <a:gd name="connsiteX220" fmla="*/ 1322396 w 3447090"/>
                <a:gd name="connsiteY220" fmla="*/ 601872 h 4433788"/>
                <a:gd name="connsiteX221" fmla="*/ 1322396 w 3447090"/>
                <a:gd name="connsiteY221" fmla="*/ 510913 h 4433788"/>
                <a:gd name="connsiteX222" fmla="*/ 1327061 w 3447090"/>
                <a:gd name="connsiteY222" fmla="*/ 475929 h 4433788"/>
                <a:gd name="connsiteX223" fmla="*/ 1350383 w 3447090"/>
                <a:gd name="connsiteY223" fmla="*/ 347655 h 4433788"/>
                <a:gd name="connsiteX224" fmla="*/ 1408690 w 3447090"/>
                <a:gd name="connsiteY224" fmla="*/ 112096 h 4433788"/>
                <a:gd name="connsiteX225" fmla="*/ 1464663 w 3447090"/>
                <a:gd name="connsiteY225" fmla="*/ 98103 h 4433788"/>
                <a:gd name="connsiteX226" fmla="*/ 1471661 w 3447090"/>
                <a:gd name="connsiteY226" fmla="*/ 67783 h 4433788"/>
                <a:gd name="connsiteX227" fmla="*/ 1576613 w 3447090"/>
                <a:gd name="connsiteY227" fmla="*/ 146 h 4433788"/>
                <a:gd name="connsiteX228" fmla="*/ 1623259 w 3447090"/>
                <a:gd name="connsiteY228" fmla="*/ 23469 h 4433788"/>
                <a:gd name="connsiteX229" fmla="*/ 1739872 w 3447090"/>
                <a:gd name="connsiteY229" fmla="*/ 44460 h 4433788"/>
                <a:gd name="connsiteX230" fmla="*/ 1849488 w 3447090"/>
                <a:gd name="connsiteY230" fmla="*/ 489922 h 4433788"/>
                <a:gd name="connsiteX231" fmla="*/ 1826165 w 3447090"/>
                <a:gd name="connsiteY231" fmla="*/ 517911 h 4433788"/>
                <a:gd name="connsiteX232" fmla="*/ 1814504 w 3447090"/>
                <a:gd name="connsiteY232" fmla="*/ 569220 h 4433788"/>
                <a:gd name="connsiteX233" fmla="*/ 1777188 w 3447090"/>
                <a:gd name="connsiteY233" fmla="*/ 620532 h 4433788"/>
                <a:gd name="connsiteX234" fmla="*/ 1751533 w 3447090"/>
                <a:gd name="connsiteY234" fmla="*/ 772129 h 4433788"/>
                <a:gd name="connsiteX235" fmla="*/ 1847156 w 3447090"/>
                <a:gd name="connsiteY235" fmla="*/ 867751 h 4433788"/>
                <a:gd name="connsiteX236" fmla="*/ 2106037 w 3447090"/>
                <a:gd name="connsiteY236" fmla="*/ 1147624 h 4433788"/>
                <a:gd name="connsiteX237" fmla="*/ 2089712 w 3447090"/>
                <a:gd name="connsiteY237" fmla="*/ 1215260 h 4433788"/>
                <a:gd name="connsiteX238" fmla="*/ 2073386 w 3447090"/>
                <a:gd name="connsiteY238" fmla="*/ 1215260 h 4433788"/>
                <a:gd name="connsiteX239" fmla="*/ 2073386 w 3447090"/>
                <a:gd name="connsiteY239" fmla="*/ 1203599 h 4433788"/>
                <a:gd name="connsiteX240" fmla="*/ 2078051 w 3447090"/>
                <a:gd name="connsiteY240" fmla="*/ 1198932 h 4433788"/>
                <a:gd name="connsiteX241" fmla="*/ 2082714 w 3447090"/>
                <a:gd name="connsiteY241" fmla="*/ 1070658 h 4433788"/>
                <a:gd name="connsiteX242" fmla="*/ 1903131 w 3447090"/>
                <a:gd name="connsiteY242" fmla="*/ 928390 h 4433788"/>
                <a:gd name="connsiteX243" fmla="*/ 1756197 w 3447090"/>
                <a:gd name="connsiteY243" fmla="*/ 814108 h 4433788"/>
                <a:gd name="connsiteX244" fmla="*/ 1809840 w 3447090"/>
                <a:gd name="connsiteY244" fmla="*/ 968037 h 4433788"/>
                <a:gd name="connsiteX245" fmla="*/ 1830830 w 3447090"/>
                <a:gd name="connsiteY245" fmla="*/ 1107973 h 4433788"/>
                <a:gd name="connsiteX246" fmla="*/ 1763195 w 3447090"/>
                <a:gd name="connsiteY246" fmla="*/ 1182608 h 4433788"/>
                <a:gd name="connsiteX247" fmla="*/ 1781853 w 3447090"/>
                <a:gd name="connsiteY247" fmla="*/ 1252576 h 4433788"/>
                <a:gd name="connsiteX248" fmla="*/ 1865814 w 3447090"/>
                <a:gd name="connsiteY248" fmla="*/ 1166280 h 4433788"/>
                <a:gd name="connsiteX249" fmla="*/ 1842491 w 3447090"/>
                <a:gd name="connsiteY249" fmla="*/ 1198932 h 4433788"/>
                <a:gd name="connsiteX250" fmla="*/ 1791181 w 3447090"/>
                <a:gd name="connsiteY250" fmla="*/ 1301553 h 4433788"/>
                <a:gd name="connsiteX251" fmla="*/ 1854152 w 3447090"/>
                <a:gd name="connsiteY251" fmla="*/ 1551104 h 4433788"/>
                <a:gd name="connsiteX252" fmla="*/ 1837826 w 3447090"/>
                <a:gd name="connsiteY252" fmla="*/ 1551104 h 4433788"/>
                <a:gd name="connsiteX253" fmla="*/ 1814504 w 3447090"/>
                <a:gd name="connsiteY253" fmla="*/ 1464811 h 4433788"/>
                <a:gd name="connsiteX254" fmla="*/ 1774856 w 3447090"/>
                <a:gd name="connsiteY254" fmla="*/ 1327207 h 4433788"/>
                <a:gd name="connsiteX255" fmla="*/ 1772523 w 3447090"/>
                <a:gd name="connsiteY255" fmla="*/ 1299221 h 4433788"/>
                <a:gd name="connsiteX256" fmla="*/ 1721213 w 3447090"/>
                <a:gd name="connsiteY256" fmla="*/ 1133631 h 4433788"/>
                <a:gd name="connsiteX257" fmla="*/ 1700223 w 3447090"/>
                <a:gd name="connsiteY257" fmla="*/ 1180276 h 4433788"/>
                <a:gd name="connsiteX258" fmla="*/ 1529968 w 3447090"/>
                <a:gd name="connsiteY258" fmla="*/ 1261905 h 4433788"/>
                <a:gd name="connsiteX259" fmla="*/ 1529968 w 3447090"/>
                <a:gd name="connsiteY259" fmla="*/ 1229253 h 4433788"/>
                <a:gd name="connsiteX260" fmla="*/ 1525303 w 3447090"/>
                <a:gd name="connsiteY260" fmla="*/ 1203599 h 4433788"/>
                <a:gd name="connsiteX261" fmla="*/ 1492651 w 3447090"/>
                <a:gd name="connsiteY261" fmla="*/ 1268900 h 4433788"/>
                <a:gd name="connsiteX262" fmla="*/ 1550958 w 3447090"/>
                <a:gd name="connsiteY262" fmla="*/ 1418166 h 4433788"/>
                <a:gd name="connsiteX263" fmla="*/ 1618594 w 3447090"/>
                <a:gd name="connsiteY263" fmla="*/ 1698038 h 4433788"/>
                <a:gd name="connsiteX264" fmla="*/ 1604599 w 3447090"/>
                <a:gd name="connsiteY264" fmla="*/ 1691040 h 4433788"/>
                <a:gd name="connsiteX265" fmla="*/ 1571949 w 3447090"/>
                <a:gd name="connsiteY265" fmla="*/ 1581425 h 4433788"/>
                <a:gd name="connsiteX266" fmla="*/ 1536965 w 3447090"/>
                <a:gd name="connsiteY266" fmla="*/ 1460148 h 4433788"/>
                <a:gd name="connsiteX267" fmla="*/ 1534631 w 3447090"/>
                <a:gd name="connsiteY267" fmla="*/ 1432159 h 4433788"/>
                <a:gd name="connsiteX268" fmla="*/ 1473993 w 3447090"/>
                <a:gd name="connsiteY268" fmla="*/ 1261905 h 4433788"/>
                <a:gd name="connsiteX269" fmla="*/ 1506645 w 3447090"/>
                <a:gd name="connsiteY269" fmla="*/ 1182608 h 4433788"/>
                <a:gd name="connsiteX270" fmla="*/ 1485654 w 3447090"/>
                <a:gd name="connsiteY270" fmla="*/ 1114971 h 4433788"/>
                <a:gd name="connsiteX271" fmla="*/ 1520638 w 3447090"/>
                <a:gd name="connsiteY271" fmla="*/ 1096312 h 4433788"/>
                <a:gd name="connsiteX272" fmla="*/ 1504312 w 3447090"/>
                <a:gd name="connsiteY272" fmla="*/ 1024012 h 4433788"/>
                <a:gd name="connsiteX273" fmla="*/ 1464663 w 3447090"/>
                <a:gd name="connsiteY273" fmla="*/ 1045003 h 4433788"/>
                <a:gd name="connsiteX274" fmla="*/ 1478658 w 3447090"/>
                <a:gd name="connsiteY274" fmla="*/ 1210594 h 4433788"/>
                <a:gd name="connsiteX275" fmla="*/ 1466997 w 3447090"/>
                <a:gd name="connsiteY275" fmla="*/ 1231585 h 4433788"/>
                <a:gd name="connsiteX276" fmla="*/ 1457667 w 3447090"/>
                <a:gd name="connsiteY276" fmla="*/ 1226921 h 4433788"/>
                <a:gd name="connsiteX277" fmla="*/ 1446006 w 3447090"/>
                <a:gd name="connsiteY277" fmla="*/ 1086985 h 4433788"/>
                <a:gd name="connsiteX278" fmla="*/ 1434344 w 3447090"/>
                <a:gd name="connsiteY278" fmla="*/ 1065994 h 4433788"/>
                <a:gd name="connsiteX279" fmla="*/ 1434344 w 3447090"/>
                <a:gd name="connsiteY279" fmla="*/ 1154619 h 4433788"/>
                <a:gd name="connsiteX280" fmla="*/ 1418018 w 3447090"/>
                <a:gd name="connsiteY280" fmla="*/ 1175610 h 4433788"/>
                <a:gd name="connsiteX281" fmla="*/ 1418018 w 3447090"/>
                <a:gd name="connsiteY281" fmla="*/ 1096312 h 4433788"/>
                <a:gd name="connsiteX282" fmla="*/ 1392364 w 3447090"/>
                <a:gd name="connsiteY282" fmla="*/ 1119635 h 4433788"/>
                <a:gd name="connsiteX283" fmla="*/ 1359711 w 3447090"/>
                <a:gd name="connsiteY283" fmla="*/ 1555770 h 4433788"/>
                <a:gd name="connsiteX284" fmla="*/ 1359711 w 3447090"/>
                <a:gd name="connsiteY284" fmla="*/ 1642063 h 4433788"/>
                <a:gd name="connsiteX285" fmla="*/ 1399360 w 3447090"/>
                <a:gd name="connsiteY285" fmla="*/ 1926601 h 4433788"/>
                <a:gd name="connsiteX286" fmla="*/ 1441341 w 3447090"/>
                <a:gd name="connsiteY286" fmla="*/ 1989571 h 4433788"/>
                <a:gd name="connsiteX287" fmla="*/ 1457667 w 3447090"/>
                <a:gd name="connsiteY287" fmla="*/ 1989571 h 4433788"/>
                <a:gd name="connsiteX288" fmla="*/ 1508977 w 3447090"/>
                <a:gd name="connsiteY288" fmla="*/ 1842637 h 4433788"/>
                <a:gd name="connsiteX289" fmla="*/ 1441341 w 3447090"/>
                <a:gd name="connsiteY289" fmla="*/ 1299221 h 4433788"/>
                <a:gd name="connsiteX290" fmla="*/ 1446006 w 3447090"/>
                <a:gd name="connsiteY290" fmla="*/ 1215260 h 4433788"/>
                <a:gd name="connsiteX291" fmla="*/ 1457667 w 3447090"/>
                <a:gd name="connsiteY291" fmla="*/ 1226921 h 4433788"/>
                <a:gd name="connsiteX292" fmla="*/ 1497316 w 3447090"/>
                <a:gd name="connsiteY292" fmla="*/ 1595418 h 4433788"/>
                <a:gd name="connsiteX293" fmla="*/ 1532300 w 3447090"/>
                <a:gd name="connsiteY293" fmla="*/ 1833311 h 4433788"/>
                <a:gd name="connsiteX294" fmla="*/ 1487986 w 3447090"/>
                <a:gd name="connsiteY294" fmla="*/ 2019892 h 4433788"/>
                <a:gd name="connsiteX295" fmla="*/ 1550958 w 3447090"/>
                <a:gd name="connsiteY295" fmla="*/ 2229796 h 4433788"/>
                <a:gd name="connsiteX296" fmla="*/ 1597603 w 3447090"/>
                <a:gd name="connsiteY296" fmla="*/ 2241457 h 4433788"/>
                <a:gd name="connsiteX297" fmla="*/ 1737539 w 3447090"/>
                <a:gd name="connsiteY297" fmla="*/ 2043215 h 4433788"/>
                <a:gd name="connsiteX298" fmla="*/ 1746869 w 3447090"/>
                <a:gd name="connsiteY298" fmla="*/ 1996569 h 4433788"/>
                <a:gd name="connsiteX299" fmla="*/ 1735207 w 3447090"/>
                <a:gd name="connsiteY299" fmla="*/ 1919603 h 4433788"/>
                <a:gd name="connsiteX300" fmla="*/ 1625590 w 3447090"/>
                <a:gd name="connsiteY300" fmla="*/ 1821649 h 4433788"/>
                <a:gd name="connsiteX301" fmla="*/ 1616261 w 3447090"/>
                <a:gd name="connsiteY301" fmla="*/ 1723692 h 4433788"/>
                <a:gd name="connsiteX302" fmla="*/ 1611597 w 3447090"/>
                <a:gd name="connsiteY302" fmla="*/ 1721361 h 4433788"/>
                <a:gd name="connsiteX303" fmla="*/ 1630255 w 3447090"/>
                <a:gd name="connsiteY303" fmla="*/ 1712031 h 4433788"/>
                <a:gd name="connsiteX304" fmla="*/ 1641917 w 3447090"/>
                <a:gd name="connsiteY304" fmla="*/ 1802990 h 4433788"/>
                <a:gd name="connsiteX305" fmla="*/ 1800510 w 3447090"/>
                <a:gd name="connsiteY305" fmla="*/ 1919603 h 4433788"/>
                <a:gd name="connsiteX306" fmla="*/ 1870479 w 3447090"/>
                <a:gd name="connsiteY306" fmla="*/ 1898612 h 4433788"/>
                <a:gd name="connsiteX307" fmla="*/ 1891469 w 3447090"/>
                <a:gd name="connsiteY307" fmla="*/ 1858965 h 4433788"/>
                <a:gd name="connsiteX308" fmla="*/ 1966101 w 3447090"/>
                <a:gd name="connsiteY308" fmla="*/ 1723692 h 4433788"/>
                <a:gd name="connsiteX309" fmla="*/ 1966101 w 3447090"/>
                <a:gd name="connsiteY309" fmla="*/ 1674715 h 4433788"/>
                <a:gd name="connsiteX310" fmla="*/ 1977762 w 3447090"/>
                <a:gd name="connsiteY310" fmla="*/ 1623407 h 4433788"/>
                <a:gd name="connsiteX311" fmla="*/ 1989424 w 3447090"/>
                <a:gd name="connsiteY311" fmla="*/ 1565100 h 4433788"/>
                <a:gd name="connsiteX312" fmla="*/ 1989424 w 3447090"/>
                <a:gd name="connsiteY312" fmla="*/ 1537111 h 4433788"/>
                <a:gd name="connsiteX313" fmla="*/ 2068721 w 3447090"/>
                <a:gd name="connsiteY313" fmla="*/ 1280562 h 4433788"/>
                <a:gd name="connsiteX314" fmla="*/ 2087379 w 3447090"/>
                <a:gd name="connsiteY314" fmla="*/ 1261905 h 4433788"/>
                <a:gd name="connsiteX315" fmla="*/ 2015079 w 3447090"/>
                <a:gd name="connsiteY315" fmla="*/ 1537111 h 4433788"/>
                <a:gd name="connsiteX316" fmla="*/ 2012746 w 3447090"/>
                <a:gd name="connsiteY316" fmla="*/ 1625738 h 4433788"/>
                <a:gd name="connsiteX317" fmla="*/ 1980095 w 3447090"/>
                <a:gd name="connsiteY317" fmla="*/ 1679379 h 4433788"/>
                <a:gd name="connsiteX318" fmla="*/ 1991757 w 3447090"/>
                <a:gd name="connsiteY318" fmla="*/ 1733022 h 4433788"/>
                <a:gd name="connsiteX319" fmla="*/ 1933450 w 3447090"/>
                <a:gd name="connsiteY319" fmla="*/ 1833311 h 4433788"/>
                <a:gd name="connsiteX320" fmla="*/ 1847156 w 3447090"/>
                <a:gd name="connsiteY320" fmla="*/ 1935928 h 4433788"/>
                <a:gd name="connsiteX321" fmla="*/ 1767858 w 3447090"/>
                <a:gd name="connsiteY321" fmla="*/ 1924267 h 4433788"/>
                <a:gd name="connsiteX322" fmla="*/ 1781853 w 3447090"/>
                <a:gd name="connsiteY322" fmla="*/ 2003564 h 4433788"/>
                <a:gd name="connsiteX323" fmla="*/ 1842491 w 3447090"/>
                <a:gd name="connsiteY323" fmla="*/ 1952256 h 4433788"/>
                <a:gd name="connsiteX324" fmla="*/ 1737539 w 3447090"/>
                <a:gd name="connsiteY324" fmla="*/ 2089860 h 4433788"/>
                <a:gd name="connsiteX325" fmla="*/ 1343387 w 3447090"/>
                <a:gd name="connsiteY325" fmla="*/ 2675259 h 4433788"/>
                <a:gd name="connsiteX326" fmla="*/ 1282747 w 3447090"/>
                <a:gd name="connsiteY326" fmla="*/ 2565640 h 4433788"/>
                <a:gd name="connsiteX327" fmla="*/ 1355048 w 3447090"/>
                <a:gd name="connsiteY327" fmla="*/ 2442032 h 4433788"/>
                <a:gd name="connsiteX328" fmla="*/ 1399360 w 3447090"/>
                <a:gd name="connsiteY328" fmla="*/ 2400050 h 4433788"/>
                <a:gd name="connsiteX329" fmla="*/ 1397029 w 3447090"/>
                <a:gd name="connsiteY329" fmla="*/ 2379059 h 4433788"/>
                <a:gd name="connsiteX330" fmla="*/ 1446006 w 3447090"/>
                <a:gd name="connsiteY330" fmla="*/ 2323087 h 4433788"/>
                <a:gd name="connsiteX331" fmla="*/ 1522970 w 3447090"/>
                <a:gd name="connsiteY331" fmla="*/ 2267112 h 4433788"/>
                <a:gd name="connsiteX332" fmla="*/ 1499647 w 3447090"/>
                <a:gd name="connsiteY332" fmla="*/ 2243789 h 4433788"/>
                <a:gd name="connsiteX333" fmla="*/ 1418018 w 3447090"/>
                <a:gd name="connsiteY333" fmla="*/ 2325418 h 4433788"/>
                <a:gd name="connsiteX334" fmla="*/ 1261757 w 3447090"/>
                <a:gd name="connsiteY334" fmla="*/ 2560977 h 4433788"/>
                <a:gd name="connsiteX335" fmla="*/ 1245431 w 3447090"/>
                <a:gd name="connsiteY335" fmla="*/ 2885163 h 4433788"/>
                <a:gd name="connsiteX336" fmla="*/ 1168467 w 3447090"/>
                <a:gd name="connsiteY336" fmla="*/ 3113723 h 4433788"/>
                <a:gd name="connsiteX337" fmla="*/ 1147476 w 3447090"/>
                <a:gd name="connsiteY337" fmla="*/ 3302639 h 4433788"/>
                <a:gd name="connsiteX338" fmla="*/ 1201118 w 3447090"/>
                <a:gd name="connsiteY338" fmla="*/ 3314300 h 4433788"/>
                <a:gd name="connsiteX339" fmla="*/ 1499647 w 3447090"/>
                <a:gd name="connsiteY339" fmla="*/ 3251327 h 4433788"/>
                <a:gd name="connsiteX340" fmla="*/ 1681565 w 3447090"/>
                <a:gd name="connsiteY340" fmla="*/ 3155705 h 4433788"/>
                <a:gd name="connsiteX341" fmla="*/ 1718881 w 3447090"/>
                <a:gd name="connsiteY341" fmla="*/ 3025099 h 4433788"/>
                <a:gd name="connsiteX342" fmla="*/ 1963769 w 3447090"/>
                <a:gd name="connsiteY342" fmla="*/ 2588963 h 4433788"/>
                <a:gd name="connsiteX343" fmla="*/ 1980095 w 3447090"/>
                <a:gd name="connsiteY343" fmla="*/ 2826856 h 4433788"/>
                <a:gd name="connsiteX344" fmla="*/ 1991757 w 3447090"/>
                <a:gd name="connsiteY344" fmla="*/ 2899156 h 4433788"/>
                <a:gd name="connsiteX345" fmla="*/ 1998753 w 3447090"/>
                <a:gd name="connsiteY345" fmla="*/ 3027430 h 4433788"/>
                <a:gd name="connsiteX346" fmla="*/ 2038402 w 3447090"/>
                <a:gd name="connsiteY346" fmla="*/ 3130051 h 4433788"/>
                <a:gd name="connsiteX347" fmla="*/ 2134024 w 3447090"/>
                <a:gd name="connsiteY347" fmla="*/ 3615160 h 4433788"/>
                <a:gd name="connsiteX348" fmla="*/ 2185335 w 3447090"/>
                <a:gd name="connsiteY348" fmla="*/ 4016312 h 4433788"/>
                <a:gd name="connsiteX349" fmla="*/ 2134024 w 3447090"/>
                <a:gd name="connsiteY349" fmla="*/ 4027973 h 4433788"/>
                <a:gd name="connsiteX350" fmla="*/ 2320606 w 3447090"/>
                <a:gd name="connsiteY350" fmla="*/ 4158580 h 4433788"/>
                <a:gd name="connsiteX351" fmla="*/ 2602811 w 3447090"/>
                <a:gd name="connsiteY351" fmla="*/ 4265864 h 4433788"/>
                <a:gd name="connsiteX352" fmla="*/ 2609808 w 3447090"/>
                <a:gd name="connsiteY352" fmla="*/ 4289186 h 4433788"/>
                <a:gd name="connsiteX353" fmla="*/ 3444759 w 3447090"/>
                <a:gd name="connsiteY353" fmla="*/ 4289186 h 4433788"/>
                <a:gd name="connsiteX354" fmla="*/ 1425016 w 3447090"/>
                <a:gd name="connsiteY354" fmla="*/ 1063662 h 4433788"/>
                <a:gd name="connsiteX355" fmla="*/ 1429679 w 3447090"/>
                <a:gd name="connsiteY355" fmla="*/ 1075324 h 4433788"/>
                <a:gd name="connsiteX356" fmla="*/ 1425016 w 3447090"/>
                <a:gd name="connsiteY356" fmla="*/ 1063662 h 4433788"/>
                <a:gd name="connsiteX357" fmla="*/ 1515974 w 3447090"/>
                <a:gd name="connsiteY357" fmla="*/ 895738 h 4433788"/>
                <a:gd name="connsiteX358" fmla="*/ 1597603 w 3447090"/>
                <a:gd name="connsiteY358" fmla="*/ 741808 h 4433788"/>
                <a:gd name="connsiteX359" fmla="*/ 1436677 w 3447090"/>
                <a:gd name="connsiteY359" fmla="*/ 741808 h 4433788"/>
                <a:gd name="connsiteX360" fmla="*/ 1378371 w 3447090"/>
                <a:gd name="connsiteY360" fmla="*/ 692831 h 4433788"/>
                <a:gd name="connsiteX361" fmla="*/ 1504312 w 3447090"/>
                <a:gd name="connsiteY361" fmla="*/ 895738 h 4433788"/>
                <a:gd name="connsiteX362" fmla="*/ 1513642 w 3447090"/>
                <a:gd name="connsiteY362" fmla="*/ 895738 h 4433788"/>
                <a:gd name="connsiteX363" fmla="*/ 1683897 w 3447090"/>
                <a:gd name="connsiteY363" fmla="*/ 1140626 h 4433788"/>
                <a:gd name="connsiteX364" fmla="*/ 1686229 w 3447090"/>
                <a:gd name="connsiteY364" fmla="*/ 1121969 h 4433788"/>
                <a:gd name="connsiteX365" fmla="*/ 1672236 w 3447090"/>
                <a:gd name="connsiteY365" fmla="*/ 1063662 h 4433788"/>
                <a:gd name="connsiteX366" fmla="*/ 1613929 w 3447090"/>
                <a:gd name="connsiteY366" fmla="*/ 1093980 h 4433788"/>
                <a:gd name="connsiteX367" fmla="*/ 1546293 w 3447090"/>
                <a:gd name="connsiteY367" fmla="*/ 1110308 h 4433788"/>
                <a:gd name="connsiteX368" fmla="*/ 1511309 w 3447090"/>
                <a:gd name="connsiteY368" fmla="*/ 1119635 h 4433788"/>
                <a:gd name="connsiteX369" fmla="*/ 1557954 w 3447090"/>
                <a:gd name="connsiteY369" fmla="*/ 1231585 h 4433788"/>
                <a:gd name="connsiteX370" fmla="*/ 1637252 w 3447090"/>
                <a:gd name="connsiteY370" fmla="*/ 1203599 h 4433788"/>
                <a:gd name="connsiteX371" fmla="*/ 1693227 w 3447090"/>
                <a:gd name="connsiteY371" fmla="*/ 1154619 h 4433788"/>
                <a:gd name="connsiteX372" fmla="*/ 1681565 w 3447090"/>
                <a:gd name="connsiteY372" fmla="*/ 1142957 h 4433788"/>
                <a:gd name="connsiteX373" fmla="*/ 1744536 w 3447090"/>
                <a:gd name="connsiteY373" fmla="*/ 804779 h 4433788"/>
                <a:gd name="connsiteX374" fmla="*/ 1674568 w 3447090"/>
                <a:gd name="connsiteY374" fmla="*/ 1005356 h 4433788"/>
                <a:gd name="connsiteX375" fmla="*/ 1707220 w 3447090"/>
                <a:gd name="connsiteY375" fmla="*/ 1110308 h 4433788"/>
                <a:gd name="connsiteX376" fmla="*/ 1772523 w 3447090"/>
                <a:gd name="connsiteY376" fmla="*/ 1149955 h 4433788"/>
                <a:gd name="connsiteX377" fmla="*/ 1833163 w 3447090"/>
                <a:gd name="connsiteY377" fmla="*/ 1072989 h 4433788"/>
                <a:gd name="connsiteX378" fmla="*/ 1805175 w 3447090"/>
                <a:gd name="connsiteY378" fmla="*/ 958710 h 4433788"/>
                <a:gd name="connsiteX379" fmla="*/ 1744536 w 3447090"/>
                <a:gd name="connsiteY379" fmla="*/ 807113 h 4433788"/>
                <a:gd name="connsiteX380" fmla="*/ 1770191 w 3447090"/>
                <a:gd name="connsiteY380" fmla="*/ 461936 h 4433788"/>
                <a:gd name="connsiteX381" fmla="*/ 1753865 w 3447090"/>
                <a:gd name="connsiteY381" fmla="*/ 475929 h 4433788"/>
                <a:gd name="connsiteX382" fmla="*/ 1753865 w 3447090"/>
                <a:gd name="connsiteY382" fmla="*/ 653181 h 4433788"/>
                <a:gd name="connsiteX383" fmla="*/ 1730542 w 3447090"/>
                <a:gd name="connsiteY383" fmla="*/ 753470 h 4433788"/>
                <a:gd name="connsiteX384" fmla="*/ 1718881 w 3447090"/>
                <a:gd name="connsiteY384" fmla="*/ 744140 h 4433788"/>
                <a:gd name="connsiteX385" fmla="*/ 1735207 w 3447090"/>
                <a:gd name="connsiteY385" fmla="*/ 657847 h 4433788"/>
                <a:gd name="connsiteX386" fmla="*/ 1735207 w 3447090"/>
                <a:gd name="connsiteY386" fmla="*/ 506250 h 4433788"/>
                <a:gd name="connsiteX387" fmla="*/ 1718881 w 3447090"/>
                <a:gd name="connsiteY387" fmla="*/ 506250 h 4433788"/>
                <a:gd name="connsiteX388" fmla="*/ 1683897 w 3447090"/>
                <a:gd name="connsiteY388" fmla="*/ 737145 h 4433788"/>
                <a:gd name="connsiteX389" fmla="*/ 1672236 w 3447090"/>
                <a:gd name="connsiteY389" fmla="*/ 723149 h 4433788"/>
                <a:gd name="connsiteX390" fmla="*/ 1690894 w 3447090"/>
                <a:gd name="connsiteY390" fmla="*/ 601872 h 4433788"/>
                <a:gd name="connsiteX391" fmla="*/ 1679232 w 3447090"/>
                <a:gd name="connsiteY391" fmla="*/ 601872 h 4433788"/>
                <a:gd name="connsiteX392" fmla="*/ 1597603 w 3447090"/>
                <a:gd name="connsiteY392" fmla="*/ 802447 h 4433788"/>
                <a:gd name="connsiteX393" fmla="*/ 1541629 w 3447090"/>
                <a:gd name="connsiteY393" fmla="*/ 1075324 h 4433788"/>
                <a:gd name="connsiteX394" fmla="*/ 1644248 w 3447090"/>
                <a:gd name="connsiteY394" fmla="*/ 1058996 h 4433788"/>
                <a:gd name="connsiteX395" fmla="*/ 1646581 w 3447090"/>
                <a:gd name="connsiteY395" fmla="*/ 1019349 h 4433788"/>
                <a:gd name="connsiteX396" fmla="*/ 1777188 w 3447090"/>
                <a:gd name="connsiteY396" fmla="*/ 627527 h 4433788"/>
                <a:gd name="connsiteX397" fmla="*/ 1772523 w 3447090"/>
                <a:gd name="connsiteY397" fmla="*/ 464268 h 4433788"/>
                <a:gd name="connsiteX398" fmla="*/ 1816837 w 3447090"/>
                <a:gd name="connsiteY398" fmla="*/ 506250 h 4433788"/>
                <a:gd name="connsiteX399" fmla="*/ 1788849 w 3447090"/>
                <a:gd name="connsiteY399" fmla="*/ 569220 h 4433788"/>
                <a:gd name="connsiteX400" fmla="*/ 1807507 w 3447090"/>
                <a:gd name="connsiteY400" fmla="*/ 545897 h 4433788"/>
                <a:gd name="connsiteX401" fmla="*/ 1816837 w 3447090"/>
                <a:gd name="connsiteY401" fmla="*/ 506250 h 4433788"/>
                <a:gd name="connsiteX402" fmla="*/ 1520638 w 3447090"/>
                <a:gd name="connsiteY402" fmla="*/ 191394 h 4433788"/>
                <a:gd name="connsiteX403" fmla="*/ 1529968 w 3447090"/>
                <a:gd name="connsiteY403" fmla="*/ 144749 h 4433788"/>
                <a:gd name="connsiteX404" fmla="*/ 1553291 w 3447090"/>
                <a:gd name="connsiteY404" fmla="*/ 196057 h 4433788"/>
                <a:gd name="connsiteX405" fmla="*/ 1569615 w 3447090"/>
                <a:gd name="connsiteY405" fmla="*/ 58453 h 4433788"/>
                <a:gd name="connsiteX406" fmla="*/ 1632587 w 3447090"/>
                <a:gd name="connsiteY406" fmla="*/ 51458 h 4433788"/>
                <a:gd name="connsiteX407" fmla="*/ 1812172 w 3447090"/>
                <a:gd name="connsiteY407" fmla="*/ 112096 h 4433788"/>
                <a:gd name="connsiteX408" fmla="*/ 1861149 w 3447090"/>
                <a:gd name="connsiteY408" fmla="*/ 184396 h 4433788"/>
                <a:gd name="connsiteX409" fmla="*/ 1753865 w 3447090"/>
                <a:gd name="connsiteY409" fmla="*/ 109765 h 4433788"/>
                <a:gd name="connsiteX410" fmla="*/ 1842491 w 3447090"/>
                <a:gd name="connsiteY410" fmla="*/ 196057 h 4433788"/>
                <a:gd name="connsiteX411" fmla="*/ 1858817 w 3447090"/>
                <a:gd name="connsiteY411" fmla="*/ 408293 h 4433788"/>
                <a:gd name="connsiteX412" fmla="*/ 1816837 w 3447090"/>
                <a:gd name="connsiteY412" fmla="*/ 471266 h 4433788"/>
                <a:gd name="connsiteX413" fmla="*/ 1823833 w 3447090"/>
                <a:gd name="connsiteY413" fmla="*/ 485259 h 4433788"/>
                <a:gd name="connsiteX414" fmla="*/ 1900798 w 3447090"/>
                <a:gd name="connsiteY414" fmla="*/ 282353 h 4433788"/>
                <a:gd name="connsiteX415" fmla="*/ 1879808 w 3447090"/>
                <a:gd name="connsiteY415" fmla="*/ 235708 h 4433788"/>
                <a:gd name="connsiteX416" fmla="*/ 1891469 w 3447090"/>
                <a:gd name="connsiteY416" fmla="*/ 219380 h 4433788"/>
                <a:gd name="connsiteX417" fmla="*/ 1807507 w 3447090"/>
                <a:gd name="connsiteY417" fmla="*/ 88774 h 4433788"/>
                <a:gd name="connsiteX418" fmla="*/ 1548626 w 3447090"/>
                <a:gd name="connsiteY418" fmla="*/ 53790 h 4433788"/>
                <a:gd name="connsiteX419" fmla="*/ 1518307 w 3447090"/>
                <a:gd name="connsiteY419" fmla="*/ 105098 h 4433788"/>
                <a:gd name="connsiteX420" fmla="*/ 1529968 w 3447090"/>
                <a:gd name="connsiteY420" fmla="*/ 51458 h 4433788"/>
                <a:gd name="connsiteX421" fmla="*/ 1574280 w 3447090"/>
                <a:gd name="connsiteY421" fmla="*/ 14142 h 4433788"/>
                <a:gd name="connsiteX422" fmla="*/ 1520638 w 3447090"/>
                <a:gd name="connsiteY422" fmla="*/ 191394 h 4433788"/>
                <a:gd name="connsiteX423" fmla="*/ 1585942 w 3447090"/>
                <a:gd name="connsiteY423" fmla="*/ 158742 h 4433788"/>
                <a:gd name="connsiteX424" fmla="*/ 1578945 w 3447090"/>
                <a:gd name="connsiteY424" fmla="*/ 170403 h 4433788"/>
                <a:gd name="connsiteX425" fmla="*/ 1709552 w 3447090"/>
                <a:gd name="connsiteY425" fmla="*/ 322000 h 4433788"/>
                <a:gd name="connsiteX426" fmla="*/ 1723546 w 3447090"/>
                <a:gd name="connsiteY426" fmla="*/ 333662 h 4433788"/>
                <a:gd name="connsiteX427" fmla="*/ 1585942 w 3447090"/>
                <a:gd name="connsiteY427" fmla="*/ 158742 h 4433788"/>
                <a:gd name="connsiteX428" fmla="*/ 1385367 w 3447090"/>
                <a:gd name="connsiteY428" fmla="*/ 203055 h 4433788"/>
                <a:gd name="connsiteX429" fmla="*/ 1413355 w 3447090"/>
                <a:gd name="connsiteY429" fmla="*/ 154078 h 4433788"/>
                <a:gd name="connsiteX430" fmla="*/ 1476325 w 3447090"/>
                <a:gd name="connsiteY430" fmla="*/ 100435 h 4433788"/>
                <a:gd name="connsiteX431" fmla="*/ 1385367 w 3447090"/>
                <a:gd name="connsiteY431" fmla="*/ 191394 h 4433788"/>
                <a:gd name="connsiteX432" fmla="*/ 1385367 w 3447090"/>
                <a:gd name="connsiteY432" fmla="*/ 203055 h 4433788"/>
                <a:gd name="connsiteX433" fmla="*/ 1392364 w 3447090"/>
                <a:gd name="connsiteY433" fmla="*/ 254364 h 4433788"/>
                <a:gd name="connsiteX434" fmla="*/ 1392364 w 3447090"/>
                <a:gd name="connsiteY434" fmla="*/ 226378 h 4433788"/>
                <a:gd name="connsiteX435" fmla="*/ 1380702 w 3447090"/>
                <a:gd name="connsiteY435" fmla="*/ 226378 h 4433788"/>
                <a:gd name="connsiteX436" fmla="*/ 1392364 w 3447090"/>
                <a:gd name="connsiteY436" fmla="*/ 254364 h 4433788"/>
                <a:gd name="connsiteX437" fmla="*/ 1359711 w 3447090"/>
                <a:gd name="connsiteY437" fmla="*/ 604204 h 4433788"/>
                <a:gd name="connsiteX438" fmla="*/ 1585942 w 3447090"/>
                <a:gd name="connsiteY438" fmla="*/ 720817 h 4433788"/>
                <a:gd name="connsiteX439" fmla="*/ 1667571 w 3447090"/>
                <a:gd name="connsiteY439" fmla="*/ 585548 h 4433788"/>
                <a:gd name="connsiteX440" fmla="*/ 1690894 w 3447090"/>
                <a:gd name="connsiteY440" fmla="*/ 571552 h 4433788"/>
                <a:gd name="connsiteX441" fmla="*/ 1709552 w 3447090"/>
                <a:gd name="connsiteY441" fmla="*/ 499252 h 4433788"/>
                <a:gd name="connsiteX442" fmla="*/ 1737539 w 3447090"/>
                <a:gd name="connsiteY442" fmla="*/ 480596 h 4433788"/>
                <a:gd name="connsiteX443" fmla="*/ 1760862 w 3447090"/>
                <a:gd name="connsiteY443" fmla="*/ 429284 h 4433788"/>
                <a:gd name="connsiteX444" fmla="*/ 1697890 w 3447090"/>
                <a:gd name="connsiteY444" fmla="*/ 342991 h 4433788"/>
                <a:gd name="connsiteX445" fmla="*/ 1595271 w 3447090"/>
                <a:gd name="connsiteY445" fmla="*/ 221712 h 4433788"/>
                <a:gd name="connsiteX446" fmla="*/ 1548626 w 3447090"/>
                <a:gd name="connsiteY446" fmla="*/ 242703 h 4433788"/>
                <a:gd name="connsiteX447" fmla="*/ 1522970 w 3447090"/>
                <a:gd name="connsiteY447" fmla="*/ 210050 h 4433788"/>
                <a:gd name="connsiteX448" fmla="*/ 1499647 w 3447090"/>
                <a:gd name="connsiteY448" fmla="*/ 214717 h 4433788"/>
                <a:gd name="connsiteX449" fmla="*/ 1471661 w 3447090"/>
                <a:gd name="connsiteY449" fmla="*/ 198389 h 4433788"/>
                <a:gd name="connsiteX450" fmla="*/ 1457667 w 3447090"/>
                <a:gd name="connsiteY450" fmla="*/ 233373 h 4433788"/>
                <a:gd name="connsiteX451" fmla="*/ 1422683 w 3447090"/>
                <a:gd name="connsiteY451" fmla="*/ 294014 h 4433788"/>
                <a:gd name="connsiteX452" fmla="*/ 1411022 w 3447090"/>
                <a:gd name="connsiteY452" fmla="*/ 324332 h 4433788"/>
                <a:gd name="connsiteX453" fmla="*/ 1525303 w 3447090"/>
                <a:gd name="connsiteY453" fmla="*/ 315002 h 4433788"/>
                <a:gd name="connsiteX454" fmla="*/ 1432013 w 3447090"/>
                <a:gd name="connsiteY454" fmla="*/ 328998 h 4433788"/>
                <a:gd name="connsiteX455" fmla="*/ 1406357 w 3447090"/>
                <a:gd name="connsiteY455" fmla="*/ 333662 h 4433788"/>
                <a:gd name="connsiteX456" fmla="*/ 1362045 w 3447090"/>
                <a:gd name="connsiteY456" fmla="*/ 604204 h 4433788"/>
                <a:gd name="connsiteX457" fmla="*/ 1345718 w 3447090"/>
                <a:gd name="connsiteY457" fmla="*/ 615865 h 4433788"/>
                <a:gd name="connsiteX458" fmla="*/ 1299073 w 3447090"/>
                <a:gd name="connsiteY458" fmla="*/ 618197 h 4433788"/>
                <a:gd name="connsiteX459" fmla="*/ 1147476 w 3447090"/>
                <a:gd name="connsiteY459" fmla="*/ 753470 h 4433788"/>
                <a:gd name="connsiteX460" fmla="*/ 1065846 w 3447090"/>
                <a:gd name="connsiteY460" fmla="*/ 858422 h 4433788"/>
                <a:gd name="connsiteX461" fmla="*/ 1110160 w 3447090"/>
                <a:gd name="connsiteY461" fmla="*/ 935388 h 4433788"/>
                <a:gd name="connsiteX462" fmla="*/ 1124153 w 3447090"/>
                <a:gd name="connsiteY462" fmla="*/ 933053 h 4433788"/>
                <a:gd name="connsiteX463" fmla="*/ 1212779 w 3447090"/>
                <a:gd name="connsiteY463" fmla="*/ 877081 h 4433788"/>
                <a:gd name="connsiteX464" fmla="*/ 1264089 w 3447090"/>
                <a:gd name="connsiteY464" fmla="*/ 856090 h 4433788"/>
                <a:gd name="connsiteX465" fmla="*/ 1280415 w 3447090"/>
                <a:gd name="connsiteY465" fmla="*/ 793117 h 4433788"/>
                <a:gd name="connsiteX466" fmla="*/ 1345718 w 3447090"/>
                <a:gd name="connsiteY466" fmla="*/ 615865 h 4433788"/>
                <a:gd name="connsiteX467" fmla="*/ 1376038 w 3447090"/>
                <a:gd name="connsiteY467" fmla="*/ 914397 h 4433788"/>
                <a:gd name="connsiteX468" fmla="*/ 1425016 w 3447090"/>
                <a:gd name="connsiteY468" fmla="*/ 893406 h 4433788"/>
                <a:gd name="connsiteX469" fmla="*/ 1401693 w 3447090"/>
                <a:gd name="connsiteY469" fmla="*/ 867751 h 4433788"/>
                <a:gd name="connsiteX470" fmla="*/ 1350383 w 3447090"/>
                <a:gd name="connsiteY470" fmla="*/ 746472 h 4433788"/>
                <a:gd name="connsiteX471" fmla="*/ 1357380 w 3447090"/>
                <a:gd name="connsiteY471" fmla="*/ 650849 h 4433788"/>
                <a:gd name="connsiteX472" fmla="*/ 1345718 w 3447090"/>
                <a:gd name="connsiteY472" fmla="*/ 657847 h 4433788"/>
                <a:gd name="connsiteX473" fmla="*/ 1301405 w 3447090"/>
                <a:gd name="connsiteY473" fmla="*/ 807113 h 4433788"/>
                <a:gd name="connsiteX474" fmla="*/ 1313066 w 3447090"/>
                <a:gd name="connsiteY474" fmla="*/ 954044 h 4433788"/>
                <a:gd name="connsiteX475" fmla="*/ 1378371 w 3447090"/>
                <a:gd name="connsiteY475" fmla="*/ 912065 h 4433788"/>
                <a:gd name="connsiteX476" fmla="*/ 1427348 w 3447090"/>
                <a:gd name="connsiteY476" fmla="*/ 1012351 h 4433788"/>
                <a:gd name="connsiteX477" fmla="*/ 1457667 w 3447090"/>
                <a:gd name="connsiteY477" fmla="*/ 951713 h 4433788"/>
                <a:gd name="connsiteX478" fmla="*/ 1415686 w 3447090"/>
                <a:gd name="connsiteY478" fmla="*/ 933053 h 4433788"/>
                <a:gd name="connsiteX479" fmla="*/ 1427348 w 3447090"/>
                <a:gd name="connsiteY479" fmla="*/ 1012351 h 4433788"/>
                <a:gd name="connsiteX480" fmla="*/ 1420351 w 3447090"/>
                <a:gd name="connsiteY480" fmla="*/ 2194812 h 4433788"/>
                <a:gd name="connsiteX481" fmla="*/ 1494984 w 3447090"/>
                <a:gd name="connsiteY481" fmla="*/ 2143500 h 4433788"/>
                <a:gd name="connsiteX482" fmla="*/ 1420351 w 3447090"/>
                <a:gd name="connsiteY482" fmla="*/ 2194812 h 4433788"/>
                <a:gd name="connsiteX483" fmla="*/ 1334057 w 3447090"/>
                <a:gd name="connsiteY483" fmla="*/ 2001233 h 4433788"/>
                <a:gd name="connsiteX484" fmla="*/ 1432013 w 3447090"/>
                <a:gd name="connsiteY484" fmla="*/ 2001233 h 4433788"/>
                <a:gd name="connsiteX485" fmla="*/ 1394695 w 3447090"/>
                <a:gd name="connsiteY485" fmla="*/ 1931265 h 4433788"/>
                <a:gd name="connsiteX486" fmla="*/ 1334057 w 3447090"/>
                <a:gd name="connsiteY486" fmla="*/ 2001233 h 4433788"/>
                <a:gd name="connsiteX487" fmla="*/ 869935 w 3447090"/>
                <a:gd name="connsiteY487" fmla="*/ 1621072 h 4433788"/>
                <a:gd name="connsiteX488" fmla="*/ 893258 w 3447090"/>
                <a:gd name="connsiteY488" fmla="*/ 1425164 h 4433788"/>
                <a:gd name="connsiteX489" fmla="*/ 858274 w 3447090"/>
                <a:gd name="connsiteY489" fmla="*/ 1600084 h 4433788"/>
                <a:gd name="connsiteX490" fmla="*/ 869935 w 3447090"/>
                <a:gd name="connsiteY490" fmla="*/ 1621072 h 4433788"/>
                <a:gd name="connsiteX491" fmla="*/ 848946 w 3447090"/>
                <a:gd name="connsiteY491" fmla="*/ 2022224 h 4433788"/>
                <a:gd name="connsiteX492" fmla="*/ 839616 w 3447090"/>
                <a:gd name="connsiteY492" fmla="*/ 1987240 h 4433788"/>
                <a:gd name="connsiteX493" fmla="*/ 748659 w 3447090"/>
                <a:gd name="connsiteY493" fmla="*/ 2005896 h 4433788"/>
                <a:gd name="connsiteX494" fmla="*/ 716006 w 3447090"/>
                <a:gd name="connsiteY494" fmla="*/ 2124844 h 4433788"/>
                <a:gd name="connsiteX495" fmla="*/ 725336 w 3447090"/>
                <a:gd name="connsiteY495" fmla="*/ 2152830 h 4433788"/>
                <a:gd name="connsiteX496" fmla="*/ 848946 w 3447090"/>
                <a:gd name="connsiteY496" fmla="*/ 2024555 h 4433788"/>
                <a:gd name="connsiteX497" fmla="*/ 776645 w 3447090"/>
                <a:gd name="connsiteY497" fmla="*/ 2206473 h 4433788"/>
                <a:gd name="connsiteX498" fmla="*/ 825623 w 3447090"/>
                <a:gd name="connsiteY498" fmla="*/ 2138837 h 4433788"/>
                <a:gd name="connsiteX499" fmla="*/ 823290 w 3447090"/>
                <a:gd name="connsiteY499" fmla="*/ 2092192 h 4433788"/>
                <a:gd name="connsiteX500" fmla="*/ 760320 w 3447090"/>
                <a:gd name="connsiteY500" fmla="*/ 2129507 h 4433788"/>
                <a:gd name="connsiteX501" fmla="*/ 776645 w 3447090"/>
                <a:gd name="connsiteY501" fmla="*/ 2206473 h 4433788"/>
                <a:gd name="connsiteX502" fmla="*/ 932907 w 3447090"/>
                <a:gd name="connsiteY502" fmla="*/ 3176696 h 4433788"/>
                <a:gd name="connsiteX503" fmla="*/ 916581 w 3447090"/>
                <a:gd name="connsiteY503" fmla="*/ 3099730 h 4433788"/>
                <a:gd name="connsiteX504" fmla="*/ 916581 w 3447090"/>
                <a:gd name="connsiteY504" fmla="*/ 3027430 h 4433788"/>
                <a:gd name="connsiteX505" fmla="*/ 741661 w 3447090"/>
                <a:gd name="connsiteY505" fmla="*/ 2491009 h 4433788"/>
                <a:gd name="connsiteX506" fmla="*/ 727668 w 3447090"/>
                <a:gd name="connsiteY506" fmla="*/ 2472350 h 4433788"/>
                <a:gd name="connsiteX507" fmla="*/ 881597 w 3447090"/>
                <a:gd name="connsiteY507" fmla="*/ 3008771 h 4433788"/>
                <a:gd name="connsiteX508" fmla="*/ 872268 w 3447090"/>
                <a:gd name="connsiteY508" fmla="*/ 3088069 h 4433788"/>
                <a:gd name="connsiteX509" fmla="*/ 935240 w 3447090"/>
                <a:gd name="connsiteY509" fmla="*/ 3179028 h 4433788"/>
                <a:gd name="connsiteX510" fmla="*/ 928242 w 3447090"/>
                <a:gd name="connsiteY510" fmla="*/ 3260657 h 4433788"/>
                <a:gd name="connsiteX511" fmla="*/ 949233 w 3447090"/>
                <a:gd name="connsiteY511" fmla="*/ 3309634 h 4433788"/>
                <a:gd name="connsiteX512" fmla="*/ 960894 w 3447090"/>
                <a:gd name="connsiteY512" fmla="*/ 3325962 h 4433788"/>
                <a:gd name="connsiteX513" fmla="*/ 956230 w 3447090"/>
                <a:gd name="connsiteY513" fmla="*/ 3302639 h 4433788"/>
                <a:gd name="connsiteX514" fmla="*/ 956230 w 3447090"/>
                <a:gd name="connsiteY514" fmla="*/ 3279316 h 4433788"/>
                <a:gd name="connsiteX515" fmla="*/ 951565 w 3447090"/>
                <a:gd name="connsiteY515" fmla="*/ 3262989 h 4433788"/>
                <a:gd name="connsiteX516" fmla="*/ 951565 w 3447090"/>
                <a:gd name="connsiteY516" fmla="*/ 3251327 h 4433788"/>
                <a:gd name="connsiteX517" fmla="*/ 951565 w 3447090"/>
                <a:gd name="connsiteY517" fmla="*/ 3246664 h 4433788"/>
                <a:gd name="connsiteX518" fmla="*/ 902588 w 3447090"/>
                <a:gd name="connsiteY518" fmla="*/ 3176696 h 4433788"/>
                <a:gd name="connsiteX519" fmla="*/ 930575 w 3447090"/>
                <a:gd name="connsiteY519" fmla="*/ 3258325 h 4433788"/>
                <a:gd name="connsiteX520" fmla="*/ 1030862 w 3447090"/>
                <a:gd name="connsiteY520" fmla="*/ 3804076 h 4433788"/>
                <a:gd name="connsiteX521" fmla="*/ 942236 w 3447090"/>
                <a:gd name="connsiteY521" fmla="*/ 3325962 h 4433788"/>
                <a:gd name="connsiteX522" fmla="*/ 914249 w 3447090"/>
                <a:gd name="connsiteY522" fmla="*/ 3286311 h 4433788"/>
                <a:gd name="connsiteX523" fmla="*/ 1028531 w 3447090"/>
                <a:gd name="connsiteY523" fmla="*/ 3804076 h 4433788"/>
                <a:gd name="connsiteX524" fmla="*/ 1322396 w 3447090"/>
                <a:gd name="connsiteY524" fmla="*/ 4303179 h 4433788"/>
                <a:gd name="connsiteX525" fmla="*/ 1257093 w 3447090"/>
                <a:gd name="connsiteY525" fmla="*/ 4289186 h 4433788"/>
                <a:gd name="connsiteX526" fmla="*/ 1210447 w 3447090"/>
                <a:gd name="connsiteY526" fmla="*/ 4284523 h 4433788"/>
                <a:gd name="connsiteX527" fmla="*/ 1177795 w 3447090"/>
                <a:gd name="connsiteY527" fmla="*/ 4272862 h 4433788"/>
                <a:gd name="connsiteX528" fmla="*/ 1294408 w 3447090"/>
                <a:gd name="connsiteY528" fmla="*/ 4272862 h 4433788"/>
                <a:gd name="connsiteX529" fmla="*/ 1303738 w 3447090"/>
                <a:gd name="connsiteY529" fmla="*/ 4261200 h 4433788"/>
                <a:gd name="connsiteX530" fmla="*/ 1105495 w 3447090"/>
                <a:gd name="connsiteY530" fmla="*/ 4226216 h 4433788"/>
                <a:gd name="connsiteX531" fmla="*/ 1035527 w 3447090"/>
                <a:gd name="connsiteY531" fmla="*/ 4249539 h 4433788"/>
                <a:gd name="connsiteX532" fmla="*/ 1028531 w 3447090"/>
                <a:gd name="connsiteY532" fmla="*/ 4293853 h 4433788"/>
                <a:gd name="connsiteX533" fmla="*/ 1322396 w 3447090"/>
                <a:gd name="connsiteY533" fmla="*/ 4298516 h 4433788"/>
                <a:gd name="connsiteX534" fmla="*/ 1758530 w 3447090"/>
                <a:gd name="connsiteY534" fmla="*/ 4326502 h 4433788"/>
                <a:gd name="connsiteX535" fmla="*/ 1835495 w 3447090"/>
                <a:gd name="connsiteY535" fmla="*/ 4338163 h 4433788"/>
                <a:gd name="connsiteX536" fmla="*/ 1975431 w 3447090"/>
                <a:gd name="connsiteY536" fmla="*/ 4338163 h 4433788"/>
                <a:gd name="connsiteX537" fmla="*/ 1961437 w 3447090"/>
                <a:gd name="connsiteY537" fmla="*/ 4326502 h 4433788"/>
                <a:gd name="connsiteX538" fmla="*/ 1758530 w 3447090"/>
                <a:gd name="connsiteY538" fmla="*/ 4326502 h 4433788"/>
                <a:gd name="connsiteX539" fmla="*/ 2050063 w 3447090"/>
                <a:gd name="connsiteY539" fmla="*/ 3416918 h 4433788"/>
                <a:gd name="connsiteX540" fmla="*/ 2131693 w 3447090"/>
                <a:gd name="connsiteY540" fmla="*/ 3988323 h 4433788"/>
                <a:gd name="connsiteX541" fmla="*/ 2166677 w 3447090"/>
                <a:gd name="connsiteY541" fmla="*/ 3997653 h 4433788"/>
                <a:gd name="connsiteX542" fmla="*/ 2120031 w 3447090"/>
                <a:gd name="connsiteY542" fmla="*/ 3629156 h 4433788"/>
                <a:gd name="connsiteX543" fmla="*/ 1991757 w 3447090"/>
                <a:gd name="connsiteY543" fmla="*/ 3055416 h 4433788"/>
                <a:gd name="connsiteX544" fmla="*/ 1959104 w 3447090"/>
                <a:gd name="connsiteY544" fmla="*/ 2745227 h 4433788"/>
                <a:gd name="connsiteX545" fmla="*/ 1947443 w 3447090"/>
                <a:gd name="connsiteY545" fmla="*/ 2754556 h 4433788"/>
                <a:gd name="connsiteX546" fmla="*/ 1963769 w 3447090"/>
                <a:gd name="connsiteY546" fmla="*/ 3167366 h 4433788"/>
                <a:gd name="connsiteX547" fmla="*/ 2047730 w 3447090"/>
                <a:gd name="connsiteY547" fmla="*/ 3416918 h 4433788"/>
                <a:gd name="connsiteX548" fmla="*/ 2173673 w 3447090"/>
                <a:gd name="connsiteY548" fmla="*/ 4095610 h 4433788"/>
                <a:gd name="connsiteX549" fmla="*/ 2087379 w 3447090"/>
                <a:gd name="connsiteY549" fmla="*/ 4146918 h 4433788"/>
                <a:gd name="connsiteX550" fmla="*/ 2173673 w 3447090"/>
                <a:gd name="connsiteY550" fmla="*/ 4095610 h 4433788"/>
                <a:gd name="connsiteX551" fmla="*/ 2574824 w 3447090"/>
                <a:gd name="connsiteY551" fmla="*/ 4251871 h 4433788"/>
                <a:gd name="connsiteX552" fmla="*/ 2500191 w 3447090"/>
                <a:gd name="connsiteY552" fmla="*/ 4198227 h 4433788"/>
                <a:gd name="connsiteX553" fmla="*/ 2315941 w 3447090"/>
                <a:gd name="connsiteY553" fmla="*/ 4165578 h 4433788"/>
                <a:gd name="connsiteX554" fmla="*/ 2178338 w 3447090"/>
                <a:gd name="connsiteY554" fmla="*/ 4144587 h 4433788"/>
                <a:gd name="connsiteX555" fmla="*/ 2201661 w 3447090"/>
                <a:gd name="connsiteY555" fmla="*/ 4165578 h 4433788"/>
                <a:gd name="connsiteX556" fmla="*/ 2451214 w 3447090"/>
                <a:gd name="connsiteY556" fmla="*/ 4226216 h 4433788"/>
                <a:gd name="connsiteX557" fmla="*/ 2574824 w 3447090"/>
                <a:gd name="connsiteY557" fmla="*/ 4254202 h 4433788"/>
                <a:gd name="connsiteX558" fmla="*/ 646038 w 3447090"/>
                <a:gd name="connsiteY558" fmla="*/ 1844972 h 4433788"/>
                <a:gd name="connsiteX559" fmla="*/ 590063 w 3447090"/>
                <a:gd name="connsiteY559" fmla="*/ 1560434 h 4433788"/>
                <a:gd name="connsiteX560" fmla="*/ 566741 w 3447090"/>
                <a:gd name="connsiteY560" fmla="*/ 1567432 h 4433788"/>
                <a:gd name="connsiteX561" fmla="*/ 608723 w 3447090"/>
                <a:gd name="connsiteY561" fmla="*/ 1777336 h 4433788"/>
                <a:gd name="connsiteX562" fmla="*/ 646038 w 3447090"/>
                <a:gd name="connsiteY562" fmla="*/ 1844972 h 4433788"/>
                <a:gd name="connsiteX563" fmla="*/ 1907794 w 3447090"/>
                <a:gd name="connsiteY563" fmla="*/ 1632733 h 4433788"/>
                <a:gd name="connsiteX564" fmla="*/ 1931117 w 3447090"/>
                <a:gd name="connsiteY564" fmla="*/ 1621072 h 4433788"/>
                <a:gd name="connsiteX565" fmla="*/ 1910127 w 3447090"/>
                <a:gd name="connsiteY565" fmla="*/ 1609411 h 4433788"/>
                <a:gd name="connsiteX566" fmla="*/ 1893801 w 3447090"/>
                <a:gd name="connsiteY566" fmla="*/ 1602416 h 4433788"/>
                <a:gd name="connsiteX567" fmla="*/ 1863482 w 3447090"/>
                <a:gd name="connsiteY567" fmla="*/ 1551104 h 4433788"/>
                <a:gd name="connsiteX568" fmla="*/ 1875143 w 3447090"/>
                <a:gd name="connsiteY568" fmla="*/ 1728359 h 4433788"/>
                <a:gd name="connsiteX569" fmla="*/ 1891469 w 3447090"/>
                <a:gd name="connsiteY569" fmla="*/ 1723692 h 4433788"/>
                <a:gd name="connsiteX570" fmla="*/ 1896133 w 3447090"/>
                <a:gd name="connsiteY570" fmla="*/ 1630402 h 4433788"/>
                <a:gd name="connsiteX571" fmla="*/ 1907794 w 3447090"/>
                <a:gd name="connsiteY571" fmla="*/ 1630402 h 4433788"/>
                <a:gd name="connsiteX572" fmla="*/ 1695558 w 3447090"/>
                <a:gd name="connsiteY572" fmla="*/ 403630 h 4433788"/>
                <a:gd name="connsiteX573" fmla="*/ 1662906 w 3447090"/>
                <a:gd name="connsiteY573" fmla="*/ 373309 h 4433788"/>
                <a:gd name="connsiteX574" fmla="*/ 1623259 w 3447090"/>
                <a:gd name="connsiteY574" fmla="*/ 340660 h 4433788"/>
                <a:gd name="connsiteX575" fmla="*/ 1695558 w 3447090"/>
                <a:gd name="connsiteY575" fmla="*/ 403630 h 4433788"/>
                <a:gd name="connsiteX576" fmla="*/ 1436677 w 3447090"/>
                <a:gd name="connsiteY576" fmla="*/ 585548 h 4433788"/>
                <a:gd name="connsiteX577" fmla="*/ 1473993 w 3447090"/>
                <a:gd name="connsiteY577" fmla="*/ 587879 h 4433788"/>
                <a:gd name="connsiteX578" fmla="*/ 1534631 w 3447090"/>
                <a:gd name="connsiteY578" fmla="*/ 646186 h 4433788"/>
                <a:gd name="connsiteX579" fmla="*/ 1436677 w 3447090"/>
                <a:gd name="connsiteY579" fmla="*/ 585548 h 4433788"/>
                <a:gd name="connsiteX580" fmla="*/ 1492651 w 3447090"/>
                <a:gd name="connsiteY580" fmla="*/ 513245 h 4433788"/>
                <a:gd name="connsiteX581" fmla="*/ 1497316 w 3447090"/>
                <a:gd name="connsiteY581" fmla="*/ 482927 h 4433788"/>
                <a:gd name="connsiteX582" fmla="*/ 1513642 w 3447090"/>
                <a:gd name="connsiteY582" fmla="*/ 443277 h 4433788"/>
                <a:gd name="connsiteX583" fmla="*/ 1473993 w 3447090"/>
                <a:gd name="connsiteY583" fmla="*/ 510913 h 4433788"/>
                <a:gd name="connsiteX584" fmla="*/ 1492651 w 3447090"/>
                <a:gd name="connsiteY584" fmla="*/ 510913 h 4433788"/>
                <a:gd name="connsiteX585" fmla="*/ 1623259 w 3447090"/>
                <a:gd name="connsiteY585" fmla="*/ 419954 h 4433788"/>
                <a:gd name="connsiteX586" fmla="*/ 1597603 w 3447090"/>
                <a:gd name="connsiteY586" fmla="*/ 478261 h 4433788"/>
                <a:gd name="connsiteX587" fmla="*/ 1623259 w 3447090"/>
                <a:gd name="connsiteY587" fmla="*/ 419954 h 4433788"/>
                <a:gd name="connsiteX588" fmla="*/ 1434344 w 3447090"/>
                <a:gd name="connsiteY588" fmla="*/ 431616 h 4433788"/>
                <a:gd name="connsiteX589" fmla="*/ 1446006 w 3447090"/>
                <a:gd name="connsiteY589" fmla="*/ 380307 h 4433788"/>
                <a:gd name="connsiteX590" fmla="*/ 1434344 w 3447090"/>
                <a:gd name="connsiteY590" fmla="*/ 431616 h 4433788"/>
                <a:gd name="connsiteX591" fmla="*/ 1420351 w 3447090"/>
                <a:gd name="connsiteY591" fmla="*/ 1168615 h 4433788"/>
                <a:gd name="connsiteX592" fmla="*/ 1420351 w 3447090"/>
                <a:gd name="connsiteY592" fmla="*/ 1175610 h 4433788"/>
                <a:gd name="connsiteX593" fmla="*/ 1420351 w 3447090"/>
                <a:gd name="connsiteY593" fmla="*/ 1168615 h 4433788"/>
                <a:gd name="connsiteX594" fmla="*/ 1425016 w 3447090"/>
                <a:gd name="connsiteY594" fmla="*/ 1224587 h 4433788"/>
                <a:gd name="connsiteX595" fmla="*/ 1420351 w 3447090"/>
                <a:gd name="connsiteY595" fmla="*/ 1175610 h 4433788"/>
                <a:gd name="connsiteX596" fmla="*/ 1425016 w 3447090"/>
                <a:gd name="connsiteY596" fmla="*/ 1224587 h 4433788"/>
                <a:gd name="connsiteX597" fmla="*/ 1564952 w 3447090"/>
                <a:gd name="connsiteY597" fmla="*/ 954044 h 4433788"/>
                <a:gd name="connsiteX598" fmla="*/ 1630255 w 3447090"/>
                <a:gd name="connsiteY598" fmla="*/ 818774 h 4433788"/>
                <a:gd name="connsiteX599" fmla="*/ 1546293 w 3447090"/>
                <a:gd name="connsiteY599" fmla="*/ 1003021 h 4433788"/>
                <a:gd name="connsiteX600" fmla="*/ 1564952 w 3447090"/>
                <a:gd name="connsiteY600" fmla="*/ 956376 h 443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Lst>
              <a:rect l="l" t="t" r="r" b="b"/>
              <a:pathLst>
                <a:path w="3447090" h="4433788">
                  <a:moveTo>
                    <a:pt x="270544" y="4417461"/>
                  </a:moveTo>
                  <a:lnTo>
                    <a:pt x="1924120" y="4417461"/>
                  </a:lnTo>
                  <a:lnTo>
                    <a:pt x="1924120" y="4433789"/>
                  </a:lnTo>
                  <a:lnTo>
                    <a:pt x="270544" y="4433789"/>
                  </a:lnTo>
                  <a:lnTo>
                    <a:pt x="270544" y="4417461"/>
                  </a:lnTo>
                  <a:close/>
                  <a:moveTo>
                    <a:pt x="3195206" y="4177239"/>
                  </a:moveTo>
                  <a:cubicBezTo>
                    <a:pt x="3178880" y="4200562"/>
                    <a:pt x="3244184" y="4202894"/>
                    <a:pt x="3246516" y="4200562"/>
                  </a:cubicBezTo>
                  <a:cubicBezTo>
                    <a:pt x="3246516" y="4200562"/>
                    <a:pt x="3246516" y="4186566"/>
                    <a:pt x="3246516" y="4184234"/>
                  </a:cubicBezTo>
                  <a:cubicBezTo>
                    <a:pt x="3244184" y="4179571"/>
                    <a:pt x="3197539" y="4174905"/>
                    <a:pt x="3195206" y="4177239"/>
                  </a:cubicBezTo>
                  <a:close/>
                  <a:moveTo>
                    <a:pt x="181917" y="501584"/>
                  </a:moveTo>
                  <a:cubicBezTo>
                    <a:pt x="345175" y="324332"/>
                    <a:pt x="564409" y="151744"/>
                    <a:pt x="790639" y="65451"/>
                  </a:cubicBezTo>
                  <a:cubicBezTo>
                    <a:pt x="834951" y="49126"/>
                    <a:pt x="895591" y="37465"/>
                    <a:pt x="935240" y="21137"/>
                  </a:cubicBezTo>
                  <a:cubicBezTo>
                    <a:pt x="944568" y="16474"/>
                    <a:pt x="951565" y="14142"/>
                    <a:pt x="949233" y="2481"/>
                  </a:cubicBezTo>
                  <a:cubicBezTo>
                    <a:pt x="732332" y="44460"/>
                    <a:pt x="529425" y="168071"/>
                    <a:pt x="361501" y="308007"/>
                  </a:cubicBezTo>
                  <a:cubicBezTo>
                    <a:pt x="293867" y="363982"/>
                    <a:pt x="172588" y="471266"/>
                    <a:pt x="125943" y="543566"/>
                  </a:cubicBezTo>
                  <a:cubicBezTo>
                    <a:pt x="118946" y="552895"/>
                    <a:pt x="114282" y="559891"/>
                    <a:pt x="116613" y="571552"/>
                  </a:cubicBezTo>
                  <a:cubicBezTo>
                    <a:pt x="125943" y="580881"/>
                    <a:pt x="174920" y="508582"/>
                    <a:pt x="181917" y="501584"/>
                  </a:cubicBezTo>
                  <a:close/>
                  <a:moveTo>
                    <a:pt x="2353258" y="4088612"/>
                  </a:moveTo>
                  <a:cubicBezTo>
                    <a:pt x="2334600" y="4097941"/>
                    <a:pt x="2299616" y="4111934"/>
                    <a:pt x="2313609" y="4135257"/>
                  </a:cubicBezTo>
                  <a:cubicBezTo>
                    <a:pt x="2406900" y="4060626"/>
                    <a:pt x="2507187" y="4083948"/>
                    <a:pt x="2588817" y="4158580"/>
                  </a:cubicBezTo>
                  <a:cubicBezTo>
                    <a:pt x="2696102" y="4095610"/>
                    <a:pt x="2850031" y="4086280"/>
                    <a:pt x="2938657" y="4186566"/>
                  </a:cubicBezTo>
                  <a:cubicBezTo>
                    <a:pt x="2957314" y="4207557"/>
                    <a:pt x="2943321" y="4223885"/>
                    <a:pt x="2980637" y="4209889"/>
                  </a:cubicBezTo>
                  <a:cubicBezTo>
                    <a:pt x="2899008" y="4086280"/>
                    <a:pt x="2775398" y="4067621"/>
                    <a:pt x="2637795" y="4111934"/>
                  </a:cubicBezTo>
                  <a:cubicBezTo>
                    <a:pt x="2626134" y="4116598"/>
                    <a:pt x="2593481" y="4135257"/>
                    <a:pt x="2586485" y="4132925"/>
                  </a:cubicBezTo>
                  <a:cubicBezTo>
                    <a:pt x="2579488" y="4132925"/>
                    <a:pt x="2553833" y="4107271"/>
                    <a:pt x="2544504" y="4100273"/>
                  </a:cubicBezTo>
                  <a:cubicBezTo>
                    <a:pt x="2476868" y="4060626"/>
                    <a:pt x="2420893" y="4053628"/>
                    <a:pt x="2348593" y="4086280"/>
                  </a:cubicBezTo>
                  <a:close/>
                  <a:moveTo>
                    <a:pt x="443131" y="1705036"/>
                  </a:moveTo>
                  <a:cubicBezTo>
                    <a:pt x="443131" y="1800658"/>
                    <a:pt x="468787" y="1933596"/>
                    <a:pt x="485111" y="2031553"/>
                  </a:cubicBezTo>
                  <a:cubicBezTo>
                    <a:pt x="501437" y="2138837"/>
                    <a:pt x="520095" y="2271775"/>
                    <a:pt x="548083" y="2374395"/>
                  </a:cubicBezTo>
                  <a:cubicBezTo>
                    <a:pt x="548083" y="2379059"/>
                    <a:pt x="562077" y="2432702"/>
                    <a:pt x="576070" y="2418709"/>
                  </a:cubicBezTo>
                  <a:cubicBezTo>
                    <a:pt x="524760" y="2173821"/>
                    <a:pt x="482780" y="1926601"/>
                    <a:pt x="461789" y="1677047"/>
                  </a:cubicBezTo>
                  <a:cubicBezTo>
                    <a:pt x="445464" y="1677047"/>
                    <a:pt x="443131" y="1688708"/>
                    <a:pt x="443131" y="1702701"/>
                  </a:cubicBezTo>
                  <a:close/>
                  <a:moveTo>
                    <a:pt x="2936325" y="189062"/>
                  </a:moveTo>
                  <a:cubicBezTo>
                    <a:pt x="3045942" y="366314"/>
                    <a:pt x="3094919" y="573886"/>
                    <a:pt x="3148561" y="774461"/>
                  </a:cubicBezTo>
                  <a:lnTo>
                    <a:pt x="3167218" y="788454"/>
                  </a:lnTo>
                  <a:cubicBezTo>
                    <a:pt x="3174216" y="779124"/>
                    <a:pt x="3113577" y="578550"/>
                    <a:pt x="3106580" y="548229"/>
                  </a:cubicBezTo>
                  <a:cubicBezTo>
                    <a:pt x="3059935" y="398966"/>
                    <a:pt x="3008625" y="256696"/>
                    <a:pt x="2917667" y="128421"/>
                  </a:cubicBezTo>
                  <a:cubicBezTo>
                    <a:pt x="2913002" y="121426"/>
                    <a:pt x="2861692" y="46792"/>
                    <a:pt x="2852362" y="58453"/>
                  </a:cubicBezTo>
                  <a:cubicBezTo>
                    <a:pt x="2850031" y="70114"/>
                    <a:pt x="2857027" y="74781"/>
                    <a:pt x="2861692" y="81776"/>
                  </a:cubicBezTo>
                  <a:cubicBezTo>
                    <a:pt x="2882683" y="116760"/>
                    <a:pt x="2915334" y="151744"/>
                    <a:pt x="2938657" y="189062"/>
                  </a:cubicBezTo>
                  <a:close/>
                  <a:moveTo>
                    <a:pt x="2187666" y="2763883"/>
                  </a:moveTo>
                  <a:cubicBezTo>
                    <a:pt x="2236645" y="2689252"/>
                    <a:pt x="2301948" y="2619284"/>
                    <a:pt x="2369584" y="2560977"/>
                  </a:cubicBezTo>
                  <a:cubicBezTo>
                    <a:pt x="2413897" y="2518995"/>
                    <a:pt x="2481533" y="2479348"/>
                    <a:pt x="2521182" y="2437366"/>
                  </a:cubicBezTo>
                  <a:cubicBezTo>
                    <a:pt x="2525845" y="2432702"/>
                    <a:pt x="2542171" y="2416377"/>
                    <a:pt x="2535175" y="2409379"/>
                  </a:cubicBezTo>
                  <a:cubicBezTo>
                    <a:pt x="2528178" y="2402382"/>
                    <a:pt x="2516517" y="2414043"/>
                    <a:pt x="2511852" y="2418709"/>
                  </a:cubicBezTo>
                  <a:cubicBezTo>
                    <a:pt x="2437219" y="2465354"/>
                    <a:pt x="2215654" y="2670592"/>
                    <a:pt x="2180670" y="2747558"/>
                  </a:cubicBezTo>
                  <a:cubicBezTo>
                    <a:pt x="2176005" y="2759220"/>
                    <a:pt x="2171342" y="2766217"/>
                    <a:pt x="2173673" y="2777879"/>
                  </a:cubicBezTo>
                  <a:cubicBezTo>
                    <a:pt x="2189999" y="2780211"/>
                    <a:pt x="2183003" y="2773213"/>
                    <a:pt x="2187666" y="2766217"/>
                  </a:cubicBezTo>
                  <a:close/>
                  <a:moveTo>
                    <a:pt x="862939" y="3729442"/>
                  </a:moveTo>
                  <a:cubicBezTo>
                    <a:pt x="862939" y="3825064"/>
                    <a:pt x="883930" y="3995321"/>
                    <a:pt x="951565" y="4067621"/>
                  </a:cubicBezTo>
                  <a:cubicBezTo>
                    <a:pt x="965559" y="4081614"/>
                    <a:pt x="979552" y="4083948"/>
                    <a:pt x="972556" y="4065289"/>
                  </a:cubicBezTo>
                  <a:cubicBezTo>
                    <a:pt x="963226" y="4044298"/>
                    <a:pt x="942236" y="4020975"/>
                    <a:pt x="932907" y="3995321"/>
                  </a:cubicBezTo>
                  <a:cubicBezTo>
                    <a:pt x="902588" y="3930016"/>
                    <a:pt x="890926" y="3860048"/>
                    <a:pt x="881597" y="3787749"/>
                  </a:cubicBezTo>
                  <a:cubicBezTo>
                    <a:pt x="879265" y="3766758"/>
                    <a:pt x="890926" y="3729442"/>
                    <a:pt x="862939" y="3727110"/>
                  </a:cubicBezTo>
                  <a:close/>
                  <a:moveTo>
                    <a:pt x="3027282" y="4200562"/>
                  </a:moveTo>
                  <a:cubicBezTo>
                    <a:pt x="3048273" y="4200562"/>
                    <a:pt x="3066931" y="4202894"/>
                    <a:pt x="3085589" y="4207557"/>
                  </a:cubicBezTo>
                  <a:cubicBezTo>
                    <a:pt x="3092587" y="4207557"/>
                    <a:pt x="3164887" y="4237878"/>
                    <a:pt x="3141564" y="4207557"/>
                  </a:cubicBezTo>
                  <a:cubicBezTo>
                    <a:pt x="3141564" y="4205225"/>
                    <a:pt x="3094919" y="4186566"/>
                    <a:pt x="3085589" y="4186566"/>
                  </a:cubicBezTo>
                  <a:cubicBezTo>
                    <a:pt x="3064600" y="4181902"/>
                    <a:pt x="3017954" y="4172573"/>
                    <a:pt x="3027282" y="4202894"/>
                  </a:cubicBezTo>
                  <a:close/>
                  <a:moveTo>
                    <a:pt x="3199871" y="636856"/>
                  </a:moveTo>
                  <a:cubicBezTo>
                    <a:pt x="3283832" y="977367"/>
                    <a:pt x="3234855" y="1317877"/>
                    <a:pt x="3106580" y="1637400"/>
                  </a:cubicBezTo>
                  <a:cubicBezTo>
                    <a:pt x="3076261" y="1714363"/>
                    <a:pt x="3031947" y="1786665"/>
                    <a:pt x="2999296" y="1863628"/>
                  </a:cubicBezTo>
                  <a:cubicBezTo>
                    <a:pt x="2996963" y="1870626"/>
                    <a:pt x="2978305" y="1907942"/>
                    <a:pt x="2982970" y="1912605"/>
                  </a:cubicBezTo>
                  <a:cubicBezTo>
                    <a:pt x="2989967" y="1919603"/>
                    <a:pt x="2999296" y="1903279"/>
                    <a:pt x="3001628" y="1898612"/>
                  </a:cubicBezTo>
                  <a:cubicBezTo>
                    <a:pt x="3094919" y="1761008"/>
                    <a:pt x="3185878" y="1488134"/>
                    <a:pt x="3220862" y="1327207"/>
                  </a:cubicBezTo>
                  <a:cubicBezTo>
                    <a:pt x="3272170" y="1089317"/>
                    <a:pt x="3279168" y="746472"/>
                    <a:pt x="3178880" y="517911"/>
                  </a:cubicBezTo>
                  <a:cubicBezTo>
                    <a:pt x="3171883" y="499252"/>
                    <a:pt x="3155557" y="487591"/>
                    <a:pt x="3160222" y="513245"/>
                  </a:cubicBezTo>
                  <a:cubicBezTo>
                    <a:pt x="3164887" y="548229"/>
                    <a:pt x="3188209" y="597209"/>
                    <a:pt x="3197539" y="636856"/>
                  </a:cubicBezTo>
                  <a:close/>
                  <a:moveTo>
                    <a:pt x="1877475" y="4279857"/>
                  </a:moveTo>
                  <a:cubicBezTo>
                    <a:pt x="1924120" y="4275193"/>
                    <a:pt x="1905463" y="4256534"/>
                    <a:pt x="1865814" y="4256534"/>
                  </a:cubicBezTo>
                  <a:cubicBezTo>
                    <a:pt x="1847156" y="4256534"/>
                    <a:pt x="1830830" y="4263532"/>
                    <a:pt x="1814504" y="4263532"/>
                  </a:cubicBezTo>
                  <a:cubicBezTo>
                    <a:pt x="1688562" y="4265864"/>
                    <a:pt x="1541629" y="4272862"/>
                    <a:pt x="1427348" y="4223885"/>
                  </a:cubicBezTo>
                  <a:cubicBezTo>
                    <a:pt x="1422683" y="4223885"/>
                    <a:pt x="1415686" y="4223885"/>
                    <a:pt x="1411022" y="4223885"/>
                  </a:cubicBezTo>
                  <a:cubicBezTo>
                    <a:pt x="1411022" y="4237878"/>
                    <a:pt x="1418018" y="4237878"/>
                    <a:pt x="1427348" y="4244873"/>
                  </a:cubicBezTo>
                  <a:cubicBezTo>
                    <a:pt x="1506645" y="4289186"/>
                    <a:pt x="1781853" y="4289186"/>
                    <a:pt x="1877475" y="4282191"/>
                  </a:cubicBezTo>
                  <a:close/>
                  <a:moveTo>
                    <a:pt x="832620" y="4158580"/>
                  </a:moveTo>
                  <a:cubicBezTo>
                    <a:pt x="704345" y="4167909"/>
                    <a:pt x="571405" y="4191232"/>
                    <a:pt x="445464" y="4219218"/>
                  </a:cubicBezTo>
                  <a:cubicBezTo>
                    <a:pt x="410480" y="4226216"/>
                    <a:pt x="314856" y="4247207"/>
                    <a:pt x="289202" y="4261200"/>
                  </a:cubicBezTo>
                  <a:cubicBezTo>
                    <a:pt x="282205" y="4265864"/>
                    <a:pt x="286869" y="4270530"/>
                    <a:pt x="284537" y="4277525"/>
                  </a:cubicBezTo>
                  <a:cubicBezTo>
                    <a:pt x="382492" y="4251871"/>
                    <a:pt x="482780" y="4228548"/>
                    <a:pt x="583067" y="4209889"/>
                  </a:cubicBezTo>
                  <a:cubicBezTo>
                    <a:pt x="664696" y="4195896"/>
                    <a:pt x="942236" y="4149250"/>
                    <a:pt x="1005208" y="4186566"/>
                  </a:cubicBezTo>
                  <a:cubicBezTo>
                    <a:pt x="1019201" y="4195896"/>
                    <a:pt x="1026198" y="4214555"/>
                    <a:pt x="1042524" y="4214555"/>
                  </a:cubicBezTo>
                  <a:cubicBezTo>
                    <a:pt x="1023866" y="4130594"/>
                    <a:pt x="897923" y="4151582"/>
                    <a:pt x="832620" y="4156248"/>
                  </a:cubicBezTo>
                  <a:close/>
                  <a:moveTo>
                    <a:pt x="3447091" y="4279857"/>
                  </a:moveTo>
                  <a:lnTo>
                    <a:pt x="3437762" y="4291518"/>
                  </a:lnTo>
                  <a:cubicBezTo>
                    <a:pt x="3094919" y="4293853"/>
                    <a:pt x="2752075" y="4286855"/>
                    <a:pt x="2409232" y="4291518"/>
                  </a:cubicBezTo>
                  <a:cubicBezTo>
                    <a:pt x="2392907" y="4291518"/>
                    <a:pt x="2378913" y="4298516"/>
                    <a:pt x="2364919" y="4298516"/>
                  </a:cubicBezTo>
                  <a:cubicBezTo>
                    <a:pt x="2224983" y="4298516"/>
                    <a:pt x="2071053" y="4286855"/>
                    <a:pt x="1933450" y="4303179"/>
                  </a:cubicBezTo>
                  <a:cubicBezTo>
                    <a:pt x="1921789" y="4303179"/>
                    <a:pt x="1924120" y="4303179"/>
                    <a:pt x="1924120" y="4314841"/>
                  </a:cubicBezTo>
                  <a:lnTo>
                    <a:pt x="2528178" y="4314841"/>
                  </a:lnTo>
                  <a:cubicBezTo>
                    <a:pt x="2528178" y="4324170"/>
                    <a:pt x="2516517" y="4326502"/>
                    <a:pt x="2507187" y="4326502"/>
                  </a:cubicBezTo>
                  <a:cubicBezTo>
                    <a:pt x="2455877" y="4331168"/>
                    <a:pt x="2399903" y="4335832"/>
                    <a:pt x="2346262" y="4338163"/>
                  </a:cubicBezTo>
                  <a:cubicBezTo>
                    <a:pt x="2278625" y="4342830"/>
                    <a:pt x="2208657" y="4340498"/>
                    <a:pt x="2138689" y="4342830"/>
                  </a:cubicBezTo>
                  <a:cubicBezTo>
                    <a:pt x="2131693" y="4342830"/>
                    <a:pt x="2117698" y="4338163"/>
                    <a:pt x="2117698" y="4347493"/>
                  </a:cubicBezTo>
                  <a:cubicBezTo>
                    <a:pt x="2418561" y="4366152"/>
                    <a:pt x="2721756" y="4368484"/>
                    <a:pt x="3020286" y="4417461"/>
                  </a:cubicBezTo>
                  <a:cubicBezTo>
                    <a:pt x="3020286" y="4422127"/>
                    <a:pt x="2996963" y="4429122"/>
                    <a:pt x="2994632" y="4429122"/>
                  </a:cubicBezTo>
                  <a:lnTo>
                    <a:pt x="2159680" y="4429122"/>
                  </a:lnTo>
                  <a:lnTo>
                    <a:pt x="2159680" y="4412798"/>
                  </a:lnTo>
                  <a:lnTo>
                    <a:pt x="2819712" y="4412798"/>
                  </a:lnTo>
                  <a:lnTo>
                    <a:pt x="2679776" y="4396470"/>
                  </a:lnTo>
                  <a:cubicBezTo>
                    <a:pt x="1949776" y="4349825"/>
                    <a:pt x="1222109" y="4319507"/>
                    <a:pt x="492109" y="4310177"/>
                  </a:cubicBezTo>
                  <a:cubicBezTo>
                    <a:pt x="328851" y="4310177"/>
                    <a:pt x="163259" y="4314841"/>
                    <a:pt x="0" y="4305514"/>
                  </a:cubicBezTo>
                  <a:lnTo>
                    <a:pt x="0" y="4289186"/>
                  </a:lnTo>
                  <a:cubicBezTo>
                    <a:pt x="2333" y="4289186"/>
                    <a:pt x="1007540" y="4300848"/>
                    <a:pt x="1007540" y="4300848"/>
                  </a:cubicBezTo>
                  <a:cubicBezTo>
                    <a:pt x="1012204" y="4270530"/>
                    <a:pt x="1019201" y="4244873"/>
                    <a:pt x="1040192" y="4219218"/>
                  </a:cubicBezTo>
                  <a:cubicBezTo>
                    <a:pt x="1056517" y="4195896"/>
                    <a:pt x="1096166" y="4163243"/>
                    <a:pt x="1112492" y="4132925"/>
                  </a:cubicBezTo>
                  <a:cubicBezTo>
                    <a:pt x="1119488" y="4123596"/>
                    <a:pt x="1121821" y="4116598"/>
                    <a:pt x="1119488" y="4102605"/>
                  </a:cubicBezTo>
                  <a:cubicBezTo>
                    <a:pt x="1133483" y="4114266"/>
                    <a:pt x="1191789" y="4130594"/>
                    <a:pt x="1210447" y="4137589"/>
                  </a:cubicBezTo>
                  <a:cubicBezTo>
                    <a:pt x="1229105" y="4142255"/>
                    <a:pt x="1240766" y="4149250"/>
                    <a:pt x="1261757" y="4149250"/>
                  </a:cubicBezTo>
                  <a:cubicBezTo>
                    <a:pt x="1261757" y="4163243"/>
                    <a:pt x="1289743" y="4172573"/>
                    <a:pt x="1299073" y="4177239"/>
                  </a:cubicBezTo>
                  <a:cubicBezTo>
                    <a:pt x="1320064" y="4186566"/>
                    <a:pt x="1366709" y="4191232"/>
                    <a:pt x="1364376" y="4219218"/>
                  </a:cubicBezTo>
                  <a:cubicBezTo>
                    <a:pt x="1345718" y="4219218"/>
                    <a:pt x="1329392" y="4226216"/>
                    <a:pt x="1313066" y="4230880"/>
                  </a:cubicBezTo>
                  <a:cubicBezTo>
                    <a:pt x="1324727" y="4254202"/>
                    <a:pt x="1341054" y="4277525"/>
                    <a:pt x="1336389" y="4305514"/>
                  </a:cubicBezTo>
                  <a:lnTo>
                    <a:pt x="1921789" y="4293853"/>
                  </a:lnTo>
                  <a:cubicBezTo>
                    <a:pt x="1921789" y="4282191"/>
                    <a:pt x="1903131" y="4289186"/>
                    <a:pt x="1905463" y="4275193"/>
                  </a:cubicBezTo>
                  <a:cubicBezTo>
                    <a:pt x="1905463" y="4272862"/>
                    <a:pt x="1921789" y="4242541"/>
                    <a:pt x="1926453" y="4233211"/>
                  </a:cubicBezTo>
                  <a:cubicBezTo>
                    <a:pt x="1949776" y="4170241"/>
                    <a:pt x="1973099" y="4102605"/>
                    <a:pt x="1973099" y="4037303"/>
                  </a:cubicBezTo>
                  <a:cubicBezTo>
                    <a:pt x="1954440" y="4037303"/>
                    <a:pt x="1928785" y="4044298"/>
                    <a:pt x="1919456" y="4023307"/>
                  </a:cubicBezTo>
                  <a:cubicBezTo>
                    <a:pt x="1882140" y="3909028"/>
                    <a:pt x="1844824" y="3792415"/>
                    <a:pt x="1812172" y="3675802"/>
                  </a:cubicBezTo>
                  <a:cubicBezTo>
                    <a:pt x="1774856" y="3535866"/>
                    <a:pt x="1744536" y="3414586"/>
                    <a:pt x="1758530" y="3267655"/>
                  </a:cubicBezTo>
                  <a:cubicBezTo>
                    <a:pt x="1602268" y="3323627"/>
                    <a:pt x="1443674" y="3372607"/>
                    <a:pt x="1275750" y="3377270"/>
                  </a:cubicBezTo>
                  <a:cubicBezTo>
                    <a:pt x="1275750" y="3412254"/>
                    <a:pt x="1280415" y="3447238"/>
                    <a:pt x="1271086" y="3479891"/>
                  </a:cubicBezTo>
                  <a:cubicBezTo>
                    <a:pt x="1124153" y="3540529"/>
                    <a:pt x="1037859" y="3717781"/>
                    <a:pt x="1030862" y="3869378"/>
                  </a:cubicBezTo>
                  <a:lnTo>
                    <a:pt x="1009871" y="3853053"/>
                  </a:lnTo>
                  <a:cubicBezTo>
                    <a:pt x="958563" y="3640818"/>
                    <a:pt x="928242" y="3423916"/>
                    <a:pt x="883930" y="3211680"/>
                  </a:cubicBezTo>
                  <a:cubicBezTo>
                    <a:pt x="867604" y="3134714"/>
                    <a:pt x="830288" y="3069412"/>
                    <a:pt x="853611" y="2983117"/>
                  </a:cubicBezTo>
                  <a:cubicBezTo>
                    <a:pt x="818627" y="2798867"/>
                    <a:pt x="690352" y="2563309"/>
                    <a:pt x="699680" y="2379059"/>
                  </a:cubicBezTo>
                  <a:cubicBezTo>
                    <a:pt x="702013" y="2320752"/>
                    <a:pt x="725336" y="2255450"/>
                    <a:pt x="727668" y="2194812"/>
                  </a:cubicBezTo>
                  <a:cubicBezTo>
                    <a:pt x="683354" y="2190146"/>
                    <a:pt x="695015" y="2129507"/>
                    <a:pt x="681022" y="2108516"/>
                  </a:cubicBezTo>
                  <a:cubicBezTo>
                    <a:pt x="678691" y="2103853"/>
                    <a:pt x="662364" y="2106185"/>
                    <a:pt x="650703" y="2096855"/>
                  </a:cubicBezTo>
                  <a:cubicBezTo>
                    <a:pt x="646038" y="2092192"/>
                    <a:pt x="622716" y="2052541"/>
                    <a:pt x="622716" y="2050210"/>
                  </a:cubicBezTo>
                  <a:lnTo>
                    <a:pt x="622716" y="1861297"/>
                  </a:lnTo>
                  <a:cubicBezTo>
                    <a:pt x="622716" y="1861297"/>
                    <a:pt x="632045" y="1849635"/>
                    <a:pt x="634377" y="1856633"/>
                  </a:cubicBezTo>
                  <a:cubicBezTo>
                    <a:pt x="653035" y="1921935"/>
                    <a:pt x="639042" y="1994235"/>
                    <a:pt x="650703" y="2059539"/>
                  </a:cubicBezTo>
                  <a:cubicBezTo>
                    <a:pt x="660031" y="2057208"/>
                    <a:pt x="660031" y="2040880"/>
                    <a:pt x="664696" y="2031553"/>
                  </a:cubicBezTo>
                  <a:cubicBezTo>
                    <a:pt x="697348" y="1980242"/>
                    <a:pt x="760320" y="1938263"/>
                    <a:pt x="823290" y="1952256"/>
                  </a:cubicBezTo>
                  <a:cubicBezTo>
                    <a:pt x="834951" y="1952256"/>
                    <a:pt x="879265" y="1984908"/>
                    <a:pt x="883930" y="1980242"/>
                  </a:cubicBezTo>
                  <a:cubicBezTo>
                    <a:pt x="883930" y="1949924"/>
                    <a:pt x="881597" y="1917272"/>
                    <a:pt x="876933" y="1886951"/>
                  </a:cubicBezTo>
                  <a:cubicBezTo>
                    <a:pt x="865272" y="1800658"/>
                    <a:pt x="851277" y="1698038"/>
                    <a:pt x="795304" y="1630402"/>
                  </a:cubicBezTo>
                  <a:cubicBezTo>
                    <a:pt x="760320" y="1586088"/>
                    <a:pt x="711341" y="1551104"/>
                    <a:pt x="655368" y="1541777"/>
                  </a:cubicBezTo>
                  <a:cubicBezTo>
                    <a:pt x="655368" y="1518455"/>
                    <a:pt x="762652" y="1560434"/>
                    <a:pt x="774313" y="1567432"/>
                  </a:cubicBezTo>
                  <a:cubicBezTo>
                    <a:pt x="792971" y="1576761"/>
                    <a:pt x="802300" y="1600084"/>
                    <a:pt x="827955" y="1597749"/>
                  </a:cubicBezTo>
                  <a:cubicBezTo>
                    <a:pt x="832620" y="1560434"/>
                    <a:pt x="811629" y="1525450"/>
                    <a:pt x="811629" y="1488134"/>
                  </a:cubicBezTo>
                  <a:lnTo>
                    <a:pt x="827955" y="1504459"/>
                  </a:lnTo>
                  <a:cubicBezTo>
                    <a:pt x="834951" y="1467143"/>
                    <a:pt x="865272" y="1425164"/>
                    <a:pt x="874600" y="1390180"/>
                  </a:cubicBezTo>
                  <a:cubicBezTo>
                    <a:pt x="897923" y="1390180"/>
                    <a:pt x="893258" y="1348198"/>
                    <a:pt x="890926" y="1336537"/>
                  </a:cubicBezTo>
                  <a:cubicBezTo>
                    <a:pt x="888595" y="1259571"/>
                    <a:pt x="865272" y="1175610"/>
                    <a:pt x="862939" y="1096312"/>
                  </a:cubicBezTo>
                  <a:cubicBezTo>
                    <a:pt x="860607" y="1026344"/>
                    <a:pt x="865272" y="956376"/>
                    <a:pt x="862939" y="886408"/>
                  </a:cubicBezTo>
                  <a:cubicBezTo>
                    <a:pt x="865272" y="879413"/>
                    <a:pt x="855942" y="872415"/>
                    <a:pt x="874600" y="874747"/>
                  </a:cubicBezTo>
                  <a:cubicBezTo>
                    <a:pt x="879265" y="972703"/>
                    <a:pt x="883930" y="1072989"/>
                    <a:pt x="890926" y="1170946"/>
                  </a:cubicBezTo>
                  <a:cubicBezTo>
                    <a:pt x="895591" y="1224587"/>
                    <a:pt x="911917" y="1287560"/>
                    <a:pt x="914249" y="1336537"/>
                  </a:cubicBezTo>
                  <a:cubicBezTo>
                    <a:pt x="914249" y="1348198"/>
                    <a:pt x="907252" y="1362191"/>
                    <a:pt x="907252" y="1376184"/>
                  </a:cubicBezTo>
                  <a:cubicBezTo>
                    <a:pt x="907252" y="1387845"/>
                    <a:pt x="921246" y="1385514"/>
                    <a:pt x="923579" y="1394843"/>
                  </a:cubicBezTo>
                  <a:cubicBezTo>
                    <a:pt x="937572" y="1434491"/>
                    <a:pt x="869935" y="1637400"/>
                    <a:pt x="867604" y="1705036"/>
                  </a:cubicBezTo>
                  <a:cubicBezTo>
                    <a:pt x="865272" y="1775004"/>
                    <a:pt x="925910" y="1949924"/>
                    <a:pt x="902588" y="1996569"/>
                  </a:cubicBezTo>
                  <a:cubicBezTo>
                    <a:pt x="895591" y="2010562"/>
                    <a:pt x="839616" y="2066537"/>
                    <a:pt x="839616" y="2075864"/>
                  </a:cubicBezTo>
                  <a:cubicBezTo>
                    <a:pt x="902588" y="2145832"/>
                    <a:pt x="893258" y="2260114"/>
                    <a:pt x="904919" y="2348741"/>
                  </a:cubicBezTo>
                  <a:cubicBezTo>
                    <a:pt x="937572" y="2313757"/>
                    <a:pt x="977220" y="2281105"/>
                    <a:pt x="1007540" y="2246121"/>
                  </a:cubicBezTo>
                  <a:cubicBezTo>
                    <a:pt x="1019201" y="2232128"/>
                    <a:pt x="1075176" y="2164491"/>
                    <a:pt x="1061182" y="2148167"/>
                  </a:cubicBezTo>
                  <a:cubicBezTo>
                    <a:pt x="1049520" y="2134171"/>
                    <a:pt x="1040192" y="2194812"/>
                    <a:pt x="1028531" y="2199475"/>
                  </a:cubicBezTo>
                  <a:cubicBezTo>
                    <a:pt x="1014536" y="2206473"/>
                    <a:pt x="1021533" y="2180816"/>
                    <a:pt x="1021533" y="2176153"/>
                  </a:cubicBezTo>
                  <a:cubicBezTo>
                    <a:pt x="1030862" y="2110848"/>
                    <a:pt x="1068178" y="2040880"/>
                    <a:pt x="1089169" y="1982573"/>
                  </a:cubicBezTo>
                  <a:lnTo>
                    <a:pt x="1121821" y="1998901"/>
                  </a:lnTo>
                  <a:lnTo>
                    <a:pt x="1112492" y="1959251"/>
                  </a:lnTo>
                  <a:lnTo>
                    <a:pt x="1128818" y="1959251"/>
                  </a:lnTo>
                  <a:cubicBezTo>
                    <a:pt x="1184791" y="1991903"/>
                    <a:pt x="1250096" y="2001233"/>
                    <a:pt x="1313066" y="2005896"/>
                  </a:cubicBezTo>
                  <a:cubicBezTo>
                    <a:pt x="1296741" y="1942926"/>
                    <a:pt x="1222109" y="1886951"/>
                    <a:pt x="1226773" y="1819315"/>
                  </a:cubicBezTo>
                  <a:cubicBezTo>
                    <a:pt x="1231437" y="1756345"/>
                    <a:pt x="1259424" y="1681713"/>
                    <a:pt x="1266421" y="1618740"/>
                  </a:cubicBezTo>
                  <a:lnTo>
                    <a:pt x="1278082" y="1604747"/>
                  </a:lnTo>
                  <a:lnTo>
                    <a:pt x="1261757" y="1677047"/>
                  </a:lnTo>
                  <a:lnTo>
                    <a:pt x="1273419" y="1667717"/>
                  </a:lnTo>
                  <a:cubicBezTo>
                    <a:pt x="1273419" y="1672384"/>
                    <a:pt x="1273419" y="1698038"/>
                    <a:pt x="1273419" y="1709699"/>
                  </a:cubicBezTo>
                  <a:cubicBezTo>
                    <a:pt x="1268754" y="1740020"/>
                    <a:pt x="1243098" y="1821649"/>
                    <a:pt x="1247763" y="1844972"/>
                  </a:cubicBezTo>
                  <a:cubicBezTo>
                    <a:pt x="1250096" y="1856633"/>
                    <a:pt x="1317731" y="1961585"/>
                    <a:pt x="1322396" y="1966249"/>
                  </a:cubicBezTo>
                  <a:cubicBezTo>
                    <a:pt x="1336389" y="1973247"/>
                    <a:pt x="1362045" y="1928933"/>
                    <a:pt x="1364376" y="1917272"/>
                  </a:cubicBezTo>
                  <a:cubicBezTo>
                    <a:pt x="1366709" y="1896281"/>
                    <a:pt x="1350383" y="1865960"/>
                    <a:pt x="1348050" y="1842637"/>
                  </a:cubicBezTo>
                  <a:cubicBezTo>
                    <a:pt x="1331725" y="1705036"/>
                    <a:pt x="1336389" y="1565100"/>
                    <a:pt x="1336389" y="1427496"/>
                  </a:cubicBezTo>
                  <a:cubicBezTo>
                    <a:pt x="1320064" y="1425164"/>
                    <a:pt x="1327061" y="1432159"/>
                    <a:pt x="1324727" y="1441489"/>
                  </a:cubicBezTo>
                  <a:cubicBezTo>
                    <a:pt x="1317731" y="1474141"/>
                    <a:pt x="1308403" y="1504459"/>
                    <a:pt x="1301405" y="1537111"/>
                  </a:cubicBezTo>
                  <a:lnTo>
                    <a:pt x="1285080" y="1583756"/>
                  </a:lnTo>
                  <a:cubicBezTo>
                    <a:pt x="1273419" y="1581425"/>
                    <a:pt x="1280415" y="1551104"/>
                    <a:pt x="1280415" y="1541777"/>
                  </a:cubicBezTo>
                  <a:cubicBezTo>
                    <a:pt x="1299073" y="1418166"/>
                    <a:pt x="1334057" y="1275898"/>
                    <a:pt x="1362045" y="1152287"/>
                  </a:cubicBezTo>
                  <a:cubicBezTo>
                    <a:pt x="1369041" y="1126633"/>
                    <a:pt x="1394695" y="1052001"/>
                    <a:pt x="1394695" y="1035674"/>
                  </a:cubicBezTo>
                  <a:cubicBezTo>
                    <a:pt x="1394695" y="1014683"/>
                    <a:pt x="1362045" y="989028"/>
                    <a:pt x="1366709" y="963374"/>
                  </a:cubicBezTo>
                  <a:cubicBezTo>
                    <a:pt x="1362045" y="958710"/>
                    <a:pt x="1327061" y="1014683"/>
                    <a:pt x="1303738" y="1000690"/>
                  </a:cubicBezTo>
                  <a:cubicBezTo>
                    <a:pt x="1289743" y="991360"/>
                    <a:pt x="1292077" y="949381"/>
                    <a:pt x="1275750" y="940051"/>
                  </a:cubicBezTo>
                  <a:cubicBezTo>
                    <a:pt x="1264089" y="1014683"/>
                    <a:pt x="1250096" y="1089317"/>
                    <a:pt x="1240766" y="1163948"/>
                  </a:cubicBezTo>
                  <a:cubicBezTo>
                    <a:pt x="1194121" y="1362191"/>
                    <a:pt x="1184791" y="1567432"/>
                    <a:pt x="1147476" y="1768006"/>
                  </a:cubicBezTo>
                  <a:cubicBezTo>
                    <a:pt x="1133483" y="1847304"/>
                    <a:pt x="1117157" y="1900944"/>
                    <a:pt x="1091501" y="1973247"/>
                  </a:cubicBezTo>
                  <a:cubicBezTo>
                    <a:pt x="1072843" y="1975578"/>
                    <a:pt x="1079839" y="1966249"/>
                    <a:pt x="1082173" y="1954587"/>
                  </a:cubicBezTo>
                  <a:cubicBezTo>
                    <a:pt x="1086837" y="1910274"/>
                    <a:pt x="1105495" y="1858965"/>
                    <a:pt x="1112492" y="1812320"/>
                  </a:cubicBezTo>
                  <a:cubicBezTo>
                    <a:pt x="1168467" y="1504459"/>
                    <a:pt x="1189456" y="1189603"/>
                    <a:pt x="1252428" y="884076"/>
                  </a:cubicBezTo>
                  <a:cubicBezTo>
                    <a:pt x="1245431" y="877081"/>
                    <a:pt x="1229105" y="888742"/>
                    <a:pt x="1222109" y="893406"/>
                  </a:cubicBezTo>
                  <a:cubicBezTo>
                    <a:pt x="1161469" y="928390"/>
                    <a:pt x="1100830" y="970372"/>
                    <a:pt x="1040192" y="1007687"/>
                  </a:cubicBezTo>
                  <a:cubicBezTo>
                    <a:pt x="1047188" y="1089317"/>
                    <a:pt x="1047188" y="1173278"/>
                    <a:pt x="1056517" y="1257239"/>
                  </a:cubicBezTo>
                  <a:cubicBezTo>
                    <a:pt x="1070511" y="1376184"/>
                    <a:pt x="1124153" y="1532448"/>
                    <a:pt x="1131150" y="1642063"/>
                  </a:cubicBezTo>
                  <a:cubicBezTo>
                    <a:pt x="1131150" y="1646729"/>
                    <a:pt x="1131150" y="1674715"/>
                    <a:pt x="1119488" y="1663054"/>
                  </a:cubicBezTo>
                  <a:cubicBezTo>
                    <a:pt x="1114823" y="1658391"/>
                    <a:pt x="1091501" y="1565100"/>
                    <a:pt x="1084504" y="1548772"/>
                  </a:cubicBezTo>
                  <a:cubicBezTo>
                    <a:pt x="1058850" y="1378519"/>
                    <a:pt x="1019201" y="1222255"/>
                    <a:pt x="1026198" y="1049667"/>
                  </a:cubicBezTo>
                  <a:cubicBezTo>
                    <a:pt x="1028531" y="989028"/>
                    <a:pt x="1030862" y="991360"/>
                    <a:pt x="1082173" y="954044"/>
                  </a:cubicBezTo>
                  <a:lnTo>
                    <a:pt x="1030862" y="856090"/>
                  </a:lnTo>
                  <a:lnTo>
                    <a:pt x="1196453" y="669509"/>
                  </a:lnTo>
                  <a:cubicBezTo>
                    <a:pt x="1098499" y="702161"/>
                    <a:pt x="970224" y="695163"/>
                    <a:pt x="876933" y="725484"/>
                  </a:cubicBezTo>
                  <a:cubicBezTo>
                    <a:pt x="832620" y="739477"/>
                    <a:pt x="813962" y="762799"/>
                    <a:pt x="797636" y="807113"/>
                  </a:cubicBezTo>
                  <a:cubicBezTo>
                    <a:pt x="767316" y="879413"/>
                    <a:pt x="750990" y="968037"/>
                    <a:pt x="725336" y="1045003"/>
                  </a:cubicBezTo>
                  <a:cubicBezTo>
                    <a:pt x="699680" y="1117303"/>
                    <a:pt x="604058" y="1327207"/>
                    <a:pt x="601725" y="1387845"/>
                  </a:cubicBezTo>
                  <a:cubicBezTo>
                    <a:pt x="601725" y="1420498"/>
                    <a:pt x="622716" y="1464811"/>
                    <a:pt x="587732" y="1492797"/>
                  </a:cubicBezTo>
                  <a:lnTo>
                    <a:pt x="571405" y="1476473"/>
                  </a:lnTo>
                  <a:cubicBezTo>
                    <a:pt x="520095" y="1527781"/>
                    <a:pt x="450127" y="1511457"/>
                    <a:pt x="387157" y="1495132"/>
                  </a:cubicBezTo>
                  <a:cubicBezTo>
                    <a:pt x="282205" y="1467143"/>
                    <a:pt x="205239" y="1399507"/>
                    <a:pt x="132940" y="1322544"/>
                  </a:cubicBezTo>
                  <a:cubicBezTo>
                    <a:pt x="228562" y="1355196"/>
                    <a:pt x="349840" y="1397175"/>
                    <a:pt x="447796" y="1418166"/>
                  </a:cubicBezTo>
                  <a:cubicBezTo>
                    <a:pt x="478115" y="1425164"/>
                    <a:pt x="517764" y="1425164"/>
                    <a:pt x="545751" y="1432159"/>
                  </a:cubicBezTo>
                  <a:cubicBezTo>
                    <a:pt x="555079" y="1432159"/>
                    <a:pt x="555079" y="1462480"/>
                    <a:pt x="573739" y="1427496"/>
                  </a:cubicBezTo>
                  <a:cubicBezTo>
                    <a:pt x="587732" y="1399507"/>
                    <a:pt x="592396" y="1341200"/>
                    <a:pt x="604058" y="1306216"/>
                  </a:cubicBezTo>
                  <a:cubicBezTo>
                    <a:pt x="641373" y="1184939"/>
                    <a:pt x="695015" y="1058996"/>
                    <a:pt x="734664" y="933053"/>
                  </a:cubicBezTo>
                  <a:cubicBezTo>
                    <a:pt x="743994" y="905067"/>
                    <a:pt x="753322" y="874747"/>
                    <a:pt x="762652" y="846760"/>
                  </a:cubicBezTo>
                  <a:cubicBezTo>
                    <a:pt x="778978" y="797783"/>
                    <a:pt x="790639" y="753470"/>
                    <a:pt x="837284" y="723149"/>
                  </a:cubicBezTo>
                  <a:cubicBezTo>
                    <a:pt x="886262" y="692831"/>
                    <a:pt x="928242" y="699827"/>
                    <a:pt x="979552" y="690500"/>
                  </a:cubicBezTo>
                  <a:cubicBezTo>
                    <a:pt x="998210" y="688165"/>
                    <a:pt x="1014536" y="681170"/>
                    <a:pt x="1030862" y="678838"/>
                  </a:cubicBezTo>
                  <a:cubicBezTo>
                    <a:pt x="1093834" y="667177"/>
                    <a:pt x="1168467" y="662511"/>
                    <a:pt x="1226773" y="648518"/>
                  </a:cubicBezTo>
                  <a:cubicBezTo>
                    <a:pt x="1252428" y="643854"/>
                    <a:pt x="1287412" y="601872"/>
                    <a:pt x="1322396" y="601872"/>
                  </a:cubicBezTo>
                  <a:cubicBezTo>
                    <a:pt x="1324727" y="571552"/>
                    <a:pt x="1322396" y="541234"/>
                    <a:pt x="1322396" y="510913"/>
                  </a:cubicBezTo>
                  <a:cubicBezTo>
                    <a:pt x="1322396" y="503918"/>
                    <a:pt x="1327061" y="485259"/>
                    <a:pt x="1327061" y="475929"/>
                  </a:cubicBezTo>
                  <a:cubicBezTo>
                    <a:pt x="1343387" y="410628"/>
                    <a:pt x="1350383" y="422289"/>
                    <a:pt x="1350383" y="347655"/>
                  </a:cubicBezTo>
                  <a:cubicBezTo>
                    <a:pt x="1350383" y="266025"/>
                    <a:pt x="1331725" y="163405"/>
                    <a:pt x="1408690" y="112096"/>
                  </a:cubicBezTo>
                  <a:cubicBezTo>
                    <a:pt x="1432013" y="98103"/>
                    <a:pt x="1462332" y="98103"/>
                    <a:pt x="1464663" y="98103"/>
                  </a:cubicBezTo>
                  <a:cubicBezTo>
                    <a:pt x="1464663" y="98103"/>
                    <a:pt x="1464663" y="77112"/>
                    <a:pt x="1471661" y="67783"/>
                  </a:cubicBezTo>
                  <a:cubicBezTo>
                    <a:pt x="1490319" y="23469"/>
                    <a:pt x="1529968" y="-2185"/>
                    <a:pt x="1576613" y="146"/>
                  </a:cubicBezTo>
                  <a:cubicBezTo>
                    <a:pt x="1604599" y="146"/>
                    <a:pt x="1604599" y="18806"/>
                    <a:pt x="1623259" y="23469"/>
                  </a:cubicBezTo>
                  <a:cubicBezTo>
                    <a:pt x="1665239" y="32799"/>
                    <a:pt x="1693227" y="23469"/>
                    <a:pt x="1739872" y="44460"/>
                  </a:cubicBezTo>
                  <a:cubicBezTo>
                    <a:pt x="1919456" y="121426"/>
                    <a:pt x="1942778" y="333662"/>
                    <a:pt x="1849488" y="489922"/>
                  </a:cubicBezTo>
                  <a:cubicBezTo>
                    <a:pt x="1849488" y="492257"/>
                    <a:pt x="1837826" y="489922"/>
                    <a:pt x="1826165" y="517911"/>
                  </a:cubicBezTo>
                  <a:cubicBezTo>
                    <a:pt x="1819168" y="536568"/>
                    <a:pt x="1809840" y="548229"/>
                    <a:pt x="1814504" y="569220"/>
                  </a:cubicBezTo>
                  <a:cubicBezTo>
                    <a:pt x="1798179" y="569220"/>
                    <a:pt x="1781853" y="606536"/>
                    <a:pt x="1777188" y="620532"/>
                  </a:cubicBezTo>
                  <a:cubicBezTo>
                    <a:pt x="1772523" y="634525"/>
                    <a:pt x="1751533" y="762799"/>
                    <a:pt x="1751533" y="772129"/>
                  </a:cubicBezTo>
                  <a:cubicBezTo>
                    <a:pt x="1756197" y="795452"/>
                    <a:pt x="1823833" y="851424"/>
                    <a:pt x="1847156" y="867751"/>
                  </a:cubicBezTo>
                  <a:cubicBezTo>
                    <a:pt x="1980095" y="963374"/>
                    <a:pt x="2127028" y="928390"/>
                    <a:pt x="2106037" y="1147624"/>
                  </a:cubicBezTo>
                  <a:cubicBezTo>
                    <a:pt x="2106037" y="1170946"/>
                    <a:pt x="2094376" y="1194269"/>
                    <a:pt x="2089712" y="1215260"/>
                  </a:cubicBezTo>
                  <a:cubicBezTo>
                    <a:pt x="2085047" y="1215260"/>
                    <a:pt x="2075718" y="1215260"/>
                    <a:pt x="2073386" y="1215260"/>
                  </a:cubicBezTo>
                  <a:cubicBezTo>
                    <a:pt x="2073386" y="1210594"/>
                    <a:pt x="2073386" y="1205930"/>
                    <a:pt x="2073386" y="1203599"/>
                  </a:cubicBezTo>
                  <a:cubicBezTo>
                    <a:pt x="2073386" y="1203599"/>
                    <a:pt x="2078051" y="1203599"/>
                    <a:pt x="2078051" y="1198932"/>
                  </a:cubicBezTo>
                  <a:cubicBezTo>
                    <a:pt x="2085047" y="1166280"/>
                    <a:pt x="2087379" y="1103310"/>
                    <a:pt x="2082714" y="1070658"/>
                  </a:cubicBezTo>
                  <a:cubicBezTo>
                    <a:pt x="2073386" y="977367"/>
                    <a:pt x="1970766" y="963374"/>
                    <a:pt x="1903131" y="928390"/>
                  </a:cubicBezTo>
                  <a:cubicBezTo>
                    <a:pt x="1844824" y="898069"/>
                    <a:pt x="1798179" y="863085"/>
                    <a:pt x="1756197" y="814108"/>
                  </a:cubicBezTo>
                  <a:cubicBezTo>
                    <a:pt x="1772523" y="865420"/>
                    <a:pt x="1795846" y="916728"/>
                    <a:pt x="1809840" y="968037"/>
                  </a:cubicBezTo>
                  <a:cubicBezTo>
                    <a:pt x="1819168" y="998358"/>
                    <a:pt x="1844824" y="1084651"/>
                    <a:pt x="1830830" y="1107973"/>
                  </a:cubicBezTo>
                  <a:cubicBezTo>
                    <a:pt x="1823833" y="1121969"/>
                    <a:pt x="1763195" y="1177941"/>
                    <a:pt x="1763195" y="1182608"/>
                  </a:cubicBezTo>
                  <a:cubicBezTo>
                    <a:pt x="1758530" y="1194269"/>
                    <a:pt x="1774856" y="1252576"/>
                    <a:pt x="1781853" y="1252576"/>
                  </a:cubicBezTo>
                  <a:cubicBezTo>
                    <a:pt x="1802842" y="1217592"/>
                    <a:pt x="1823833" y="1177941"/>
                    <a:pt x="1865814" y="1166280"/>
                  </a:cubicBezTo>
                  <a:cubicBezTo>
                    <a:pt x="1870479" y="1187271"/>
                    <a:pt x="1854152" y="1184939"/>
                    <a:pt x="1842491" y="1198932"/>
                  </a:cubicBezTo>
                  <a:cubicBezTo>
                    <a:pt x="1819168" y="1229253"/>
                    <a:pt x="1802842" y="1264237"/>
                    <a:pt x="1791181" y="1301553"/>
                  </a:cubicBezTo>
                  <a:cubicBezTo>
                    <a:pt x="1798179" y="1331873"/>
                    <a:pt x="1863482" y="1541777"/>
                    <a:pt x="1854152" y="1551104"/>
                  </a:cubicBezTo>
                  <a:cubicBezTo>
                    <a:pt x="1854152" y="1551104"/>
                    <a:pt x="1842491" y="1551104"/>
                    <a:pt x="1837826" y="1551104"/>
                  </a:cubicBezTo>
                  <a:cubicBezTo>
                    <a:pt x="1837826" y="1520786"/>
                    <a:pt x="1823833" y="1492797"/>
                    <a:pt x="1814504" y="1464811"/>
                  </a:cubicBezTo>
                  <a:cubicBezTo>
                    <a:pt x="1800510" y="1418166"/>
                    <a:pt x="1786517" y="1371521"/>
                    <a:pt x="1774856" y="1327207"/>
                  </a:cubicBezTo>
                  <a:cubicBezTo>
                    <a:pt x="1774856" y="1320212"/>
                    <a:pt x="1774856" y="1308551"/>
                    <a:pt x="1772523" y="1299221"/>
                  </a:cubicBezTo>
                  <a:cubicBezTo>
                    <a:pt x="1765526" y="1275898"/>
                    <a:pt x="1730542" y="1135962"/>
                    <a:pt x="1721213" y="1133631"/>
                  </a:cubicBezTo>
                  <a:cubicBezTo>
                    <a:pt x="1702555" y="1135962"/>
                    <a:pt x="1707220" y="1163948"/>
                    <a:pt x="1700223" y="1180276"/>
                  </a:cubicBezTo>
                  <a:cubicBezTo>
                    <a:pt x="1681565" y="1224587"/>
                    <a:pt x="1574280" y="1292223"/>
                    <a:pt x="1529968" y="1261905"/>
                  </a:cubicBezTo>
                  <a:cubicBezTo>
                    <a:pt x="1506645" y="1245578"/>
                    <a:pt x="1529968" y="1243246"/>
                    <a:pt x="1529968" y="1229253"/>
                  </a:cubicBezTo>
                  <a:cubicBezTo>
                    <a:pt x="1529968" y="1229253"/>
                    <a:pt x="1525303" y="1203599"/>
                    <a:pt x="1525303" y="1203599"/>
                  </a:cubicBezTo>
                  <a:cubicBezTo>
                    <a:pt x="1506645" y="1189603"/>
                    <a:pt x="1487986" y="1247909"/>
                    <a:pt x="1492651" y="1268900"/>
                  </a:cubicBezTo>
                  <a:cubicBezTo>
                    <a:pt x="1499647" y="1303884"/>
                    <a:pt x="1536965" y="1373852"/>
                    <a:pt x="1550958" y="1418166"/>
                  </a:cubicBezTo>
                  <a:cubicBezTo>
                    <a:pt x="1560287" y="1450818"/>
                    <a:pt x="1627922" y="1686377"/>
                    <a:pt x="1618594" y="1698038"/>
                  </a:cubicBezTo>
                  <a:cubicBezTo>
                    <a:pt x="1611597" y="1698038"/>
                    <a:pt x="1609264" y="1698038"/>
                    <a:pt x="1604599" y="1691040"/>
                  </a:cubicBezTo>
                  <a:cubicBezTo>
                    <a:pt x="1592938" y="1672384"/>
                    <a:pt x="1578945" y="1607079"/>
                    <a:pt x="1571949" y="1581425"/>
                  </a:cubicBezTo>
                  <a:cubicBezTo>
                    <a:pt x="1560287" y="1541777"/>
                    <a:pt x="1548626" y="1499795"/>
                    <a:pt x="1536965" y="1460148"/>
                  </a:cubicBezTo>
                  <a:cubicBezTo>
                    <a:pt x="1536965" y="1453150"/>
                    <a:pt x="1536965" y="1439157"/>
                    <a:pt x="1534631" y="1432159"/>
                  </a:cubicBezTo>
                  <a:cubicBezTo>
                    <a:pt x="1529968" y="1385514"/>
                    <a:pt x="1476325" y="1301553"/>
                    <a:pt x="1473993" y="1261905"/>
                  </a:cubicBezTo>
                  <a:cubicBezTo>
                    <a:pt x="1473993" y="1226921"/>
                    <a:pt x="1506645" y="1187271"/>
                    <a:pt x="1506645" y="1182608"/>
                  </a:cubicBezTo>
                  <a:cubicBezTo>
                    <a:pt x="1506645" y="1173278"/>
                    <a:pt x="1476325" y="1138294"/>
                    <a:pt x="1485654" y="1114971"/>
                  </a:cubicBezTo>
                  <a:cubicBezTo>
                    <a:pt x="1490319" y="1100978"/>
                    <a:pt x="1518307" y="1107973"/>
                    <a:pt x="1520638" y="1096312"/>
                  </a:cubicBezTo>
                  <a:cubicBezTo>
                    <a:pt x="1520638" y="1089317"/>
                    <a:pt x="1494984" y="1040340"/>
                    <a:pt x="1504312" y="1024012"/>
                  </a:cubicBezTo>
                  <a:cubicBezTo>
                    <a:pt x="1499647" y="1019349"/>
                    <a:pt x="1466997" y="1035674"/>
                    <a:pt x="1464663" y="1045003"/>
                  </a:cubicBezTo>
                  <a:cubicBezTo>
                    <a:pt x="1453002" y="1077656"/>
                    <a:pt x="1483323" y="1173278"/>
                    <a:pt x="1478658" y="1210594"/>
                  </a:cubicBezTo>
                  <a:cubicBezTo>
                    <a:pt x="1478658" y="1217592"/>
                    <a:pt x="1471661" y="1226921"/>
                    <a:pt x="1466997" y="1231585"/>
                  </a:cubicBezTo>
                  <a:cubicBezTo>
                    <a:pt x="1466997" y="1229253"/>
                    <a:pt x="1460000" y="1226921"/>
                    <a:pt x="1457667" y="1226921"/>
                  </a:cubicBezTo>
                  <a:cubicBezTo>
                    <a:pt x="1453002" y="1180276"/>
                    <a:pt x="1453002" y="1131296"/>
                    <a:pt x="1446006" y="1086985"/>
                  </a:cubicBezTo>
                  <a:cubicBezTo>
                    <a:pt x="1446006" y="1077656"/>
                    <a:pt x="1446006" y="1068326"/>
                    <a:pt x="1434344" y="1065994"/>
                  </a:cubicBezTo>
                  <a:lnTo>
                    <a:pt x="1434344" y="1154619"/>
                  </a:lnTo>
                  <a:cubicBezTo>
                    <a:pt x="1434344" y="1168615"/>
                    <a:pt x="1418018" y="1182608"/>
                    <a:pt x="1418018" y="1175610"/>
                  </a:cubicBezTo>
                  <a:lnTo>
                    <a:pt x="1418018" y="1096312"/>
                  </a:lnTo>
                  <a:cubicBezTo>
                    <a:pt x="1404025" y="1096312"/>
                    <a:pt x="1397029" y="1107973"/>
                    <a:pt x="1392364" y="1119635"/>
                  </a:cubicBezTo>
                  <a:cubicBezTo>
                    <a:pt x="1352715" y="1233916"/>
                    <a:pt x="1359711" y="1432159"/>
                    <a:pt x="1359711" y="1555770"/>
                  </a:cubicBezTo>
                  <a:cubicBezTo>
                    <a:pt x="1359711" y="1583756"/>
                    <a:pt x="1359711" y="1614077"/>
                    <a:pt x="1359711" y="1642063"/>
                  </a:cubicBezTo>
                  <a:cubicBezTo>
                    <a:pt x="1359711" y="1730690"/>
                    <a:pt x="1357380" y="1849635"/>
                    <a:pt x="1399360" y="1926601"/>
                  </a:cubicBezTo>
                  <a:cubicBezTo>
                    <a:pt x="1404025" y="1935928"/>
                    <a:pt x="1439009" y="1989571"/>
                    <a:pt x="1441341" y="1989571"/>
                  </a:cubicBezTo>
                  <a:cubicBezTo>
                    <a:pt x="1443674" y="1989571"/>
                    <a:pt x="1455335" y="1991903"/>
                    <a:pt x="1457667" y="1989571"/>
                  </a:cubicBezTo>
                  <a:cubicBezTo>
                    <a:pt x="1464663" y="1984908"/>
                    <a:pt x="1497316" y="1858965"/>
                    <a:pt x="1508977" y="1842637"/>
                  </a:cubicBezTo>
                  <a:cubicBezTo>
                    <a:pt x="1494984" y="1663054"/>
                    <a:pt x="1453002" y="1476473"/>
                    <a:pt x="1441341" y="1299221"/>
                  </a:cubicBezTo>
                  <a:cubicBezTo>
                    <a:pt x="1441341" y="1271232"/>
                    <a:pt x="1441341" y="1243246"/>
                    <a:pt x="1446006" y="1215260"/>
                  </a:cubicBezTo>
                  <a:cubicBezTo>
                    <a:pt x="1453002" y="1215260"/>
                    <a:pt x="1453002" y="1222255"/>
                    <a:pt x="1457667" y="1226921"/>
                  </a:cubicBezTo>
                  <a:cubicBezTo>
                    <a:pt x="1469328" y="1348198"/>
                    <a:pt x="1483323" y="1471809"/>
                    <a:pt x="1497316" y="1595418"/>
                  </a:cubicBezTo>
                  <a:cubicBezTo>
                    <a:pt x="1504312" y="1660722"/>
                    <a:pt x="1532300" y="1772669"/>
                    <a:pt x="1532300" y="1833311"/>
                  </a:cubicBezTo>
                  <a:cubicBezTo>
                    <a:pt x="1532300" y="1891617"/>
                    <a:pt x="1483323" y="1942926"/>
                    <a:pt x="1487986" y="2019892"/>
                  </a:cubicBezTo>
                  <a:cubicBezTo>
                    <a:pt x="1487986" y="2064203"/>
                    <a:pt x="1522970" y="2199475"/>
                    <a:pt x="1550958" y="2229796"/>
                  </a:cubicBezTo>
                  <a:cubicBezTo>
                    <a:pt x="1560287" y="2241457"/>
                    <a:pt x="1585942" y="2260114"/>
                    <a:pt x="1597603" y="2241457"/>
                  </a:cubicBezTo>
                  <a:cubicBezTo>
                    <a:pt x="1639584" y="2176153"/>
                    <a:pt x="1700223" y="2110848"/>
                    <a:pt x="1737539" y="2043215"/>
                  </a:cubicBezTo>
                  <a:cubicBezTo>
                    <a:pt x="1753865" y="2015226"/>
                    <a:pt x="1746869" y="2024555"/>
                    <a:pt x="1746869" y="1996569"/>
                  </a:cubicBezTo>
                  <a:cubicBezTo>
                    <a:pt x="1746869" y="1975578"/>
                    <a:pt x="1746869" y="1938263"/>
                    <a:pt x="1735207" y="1919603"/>
                  </a:cubicBezTo>
                  <a:cubicBezTo>
                    <a:pt x="1721213" y="1898612"/>
                    <a:pt x="1641917" y="1861297"/>
                    <a:pt x="1625590" y="1821649"/>
                  </a:cubicBezTo>
                  <a:cubicBezTo>
                    <a:pt x="1616261" y="1798327"/>
                    <a:pt x="1618594" y="1749347"/>
                    <a:pt x="1616261" y="1723692"/>
                  </a:cubicBezTo>
                  <a:cubicBezTo>
                    <a:pt x="1616261" y="1721361"/>
                    <a:pt x="1613929" y="1721361"/>
                    <a:pt x="1611597" y="1721361"/>
                  </a:cubicBezTo>
                  <a:cubicBezTo>
                    <a:pt x="1609264" y="1705036"/>
                    <a:pt x="1620926" y="1707368"/>
                    <a:pt x="1630255" y="1712031"/>
                  </a:cubicBezTo>
                  <a:cubicBezTo>
                    <a:pt x="1639584" y="1719029"/>
                    <a:pt x="1639584" y="1786665"/>
                    <a:pt x="1641917" y="1802990"/>
                  </a:cubicBezTo>
                  <a:cubicBezTo>
                    <a:pt x="1651245" y="1837974"/>
                    <a:pt x="1767858" y="1921935"/>
                    <a:pt x="1800510" y="1919603"/>
                  </a:cubicBezTo>
                  <a:cubicBezTo>
                    <a:pt x="1809840" y="1919603"/>
                    <a:pt x="1865814" y="1903279"/>
                    <a:pt x="1870479" y="1898612"/>
                  </a:cubicBezTo>
                  <a:cubicBezTo>
                    <a:pt x="1875143" y="1893949"/>
                    <a:pt x="1889136" y="1865960"/>
                    <a:pt x="1891469" y="1858965"/>
                  </a:cubicBezTo>
                  <a:cubicBezTo>
                    <a:pt x="1905463" y="1828644"/>
                    <a:pt x="1966101" y="1754013"/>
                    <a:pt x="1966101" y="1723692"/>
                  </a:cubicBezTo>
                  <a:cubicBezTo>
                    <a:pt x="1966101" y="1702701"/>
                    <a:pt x="1963769" y="1700370"/>
                    <a:pt x="1966101" y="1674715"/>
                  </a:cubicBezTo>
                  <a:cubicBezTo>
                    <a:pt x="1968434" y="1653724"/>
                    <a:pt x="1970766" y="1642063"/>
                    <a:pt x="1977762" y="1623407"/>
                  </a:cubicBezTo>
                  <a:cubicBezTo>
                    <a:pt x="1987092" y="1595418"/>
                    <a:pt x="1989424" y="1600084"/>
                    <a:pt x="1989424" y="1565100"/>
                  </a:cubicBezTo>
                  <a:cubicBezTo>
                    <a:pt x="1989424" y="1555770"/>
                    <a:pt x="1989424" y="1546441"/>
                    <a:pt x="1989424" y="1537111"/>
                  </a:cubicBezTo>
                  <a:cubicBezTo>
                    <a:pt x="2019744" y="1455482"/>
                    <a:pt x="2036069" y="1359859"/>
                    <a:pt x="2068721" y="1280562"/>
                  </a:cubicBezTo>
                  <a:cubicBezTo>
                    <a:pt x="2073386" y="1271232"/>
                    <a:pt x="2073386" y="1261905"/>
                    <a:pt x="2087379" y="1261905"/>
                  </a:cubicBezTo>
                  <a:cubicBezTo>
                    <a:pt x="2068721" y="1345866"/>
                    <a:pt x="2024408" y="1460148"/>
                    <a:pt x="2015079" y="1537111"/>
                  </a:cubicBezTo>
                  <a:cubicBezTo>
                    <a:pt x="2012746" y="1565100"/>
                    <a:pt x="2017411" y="1602416"/>
                    <a:pt x="2012746" y="1625738"/>
                  </a:cubicBezTo>
                  <a:cubicBezTo>
                    <a:pt x="2008083" y="1639731"/>
                    <a:pt x="1984760" y="1660722"/>
                    <a:pt x="1980095" y="1679379"/>
                  </a:cubicBezTo>
                  <a:cubicBezTo>
                    <a:pt x="1977762" y="1700370"/>
                    <a:pt x="1994088" y="1712031"/>
                    <a:pt x="1991757" y="1733022"/>
                  </a:cubicBezTo>
                  <a:cubicBezTo>
                    <a:pt x="1970766" y="1763343"/>
                    <a:pt x="1952108" y="1800658"/>
                    <a:pt x="1933450" y="1833311"/>
                  </a:cubicBezTo>
                  <a:cubicBezTo>
                    <a:pt x="1912459" y="1870626"/>
                    <a:pt x="1900798" y="1924267"/>
                    <a:pt x="1847156" y="1935928"/>
                  </a:cubicBezTo>
                  <a:cubicBezTo>
                    <a:pt x="1819168" y="1940594"/>
                    <a:pt x="1793514" y="1931265"/>
                    <a:pt x="1767858" y="1924267"/>
                  </a:cubicBezTo>
                  <a:cubicBezTo>
                    <a:pt x="1767858" y="1935928"/>
                    <a:pt x="1772523" y="2005896"/>
                    <a:pt x="1781853" y="2003564"/>
                  </a:cubicBezTo>
                  <a:cubicBezTo>
                    <a:pt x="1805175" y="1989571"/>
                    <a:pt x="1812172" y="1952256"/>
                    <a:pt x="1842491" y="1952256"/>
                  </a:cubicBezTo>
                  <a:cubicBezTo>
                    <a:pt x="1823833" y="1998901"/>
                    <a:pt x="1767858" y="2050210"/>
                    <a:pt x="1737539" y="2089860"/>
                  </a:cubicBezTo>
                  <a:cubicBezTo>
                    <a:pt x="1597603" y="2271775"/>
                    <a:pt x="1450670" y="2472350"/>
                    <a:pt x="1343387" y="2675259"/>
                  </a:cubicBezTo>
                  <a:cubicBezTo>
                    <a:pt x="1329392" y="2654268"/>
                    <a:pt x="1278082" y="2586631"/>
                    <a:pt x="1282747" y="2565640"/>
                  </a:cubicBezTo>
                  <a:cubicBezTo>
                    <a:pt x="1282747" y="2558645"/>
                    <a:pt x="1348050" y="2449027"/>
                    <a:pt x="1355048" y="2442032"/>
                  </a:cubicBezTo>
                  <a:cubicBezTo>
                    <a:pt x="1371373" y="2425704"/>
                    <a:pt x="1397029" y="2423373"/>
                    <a:pt x="1399360" y="2400050"/>
                  </a:cubicBezTo>
                  <a:cubicBezTo>
                    <a:pt x="1399360" y="2393055"/>
                    <a:pt x="1394695" y="2386057"/>
                    <a:pt x="1397029" y="2379059"/>
                  </a:cubicBezTo>
                  <a:cubicBezTo>
                    <a:pt x="1399360" y="2365066"/>
                    <a:pt x="1432013" y="2334748"/>
                    <a:pt x="1446006" y="2323087"/>
                  </a:cubicBezTo>
                  <a:cubicBezTo>
                    <a:pt x="1464663" y="2306759"/>
                    <a:pt x="1511309" y="2281105"/>
                    <a:pt x="1522970" y="2267112"/>
                  </a:cubicBezTo>
                  <a:cubicBezTo>
                    <a:pt x="1539296" y="2248453"/>
                    <a:pt x="1515974" y="2236791"/>
                    <a:pt x="1499647" y="2243789"/>
                  </a:cubicBezTo>
                  <a:cubicBezTo>
                    <a:pt x="1492651" y="2246121"/>
                    <a:pt x="1429679" y="2313757"/>
                    <a:pt x="1418018" y="2325418"/>
                  </a:cubicBezTo>
                  <a:cubicBezTo>
                    <a:pt x="1355048" y="2397718"/>
                    <a:pt x="1313066" y="2484011"/>
                    <a:pt x="1261757" y="2560977"/>
                  </a:cubicBezTo>
                  <a:cubicBezTo>
                    <a:pt x="1252428" y="2665929"/>
                    <a:pt x="1254759" y="2780211"/>
                    <a:pt x="1245431" y="2885163"/>
                  </a:cubicBezTo>
                  <a:cubicBezTo>
                    <a:pt x="1240766" y="2938803"/>
                    <a:pt x="1182460" y="3046090"/>
                    <a:pt x="1168467" y="3113723"/>
                  </a:cubicBezTo>
                  <a:cubicBezTo>
                    <a:pt x="1159137" y="3155705"/>
                    <a:pt x="1138146" y="3265320"/>
                    <a:pt x="1147476" y="3302639"/>
                  </a:cubicBezTo>
                  <a:cubicBezTo>
                    <a:pt x="1152141" y="3318964"/>
                    <a:pt x="1187125" y="3314300"/>
                    <a:pt x="1201118" y="3314300"/>
                  </a:cubicBezTo>
                  <a:cubicBezTo>
                    <a:pt x="1287412" y="3309634"/>
                    <a:pt x="1418018" y="3279316"/>
                    <a:pt x="1499647" y="3251327"/>
                  </a:cubicBezTo>
                  <a:cubicBezTo>
                    <a:pt x="1541629" y="3237334"/>
                    <a:pt x="1651245" y="3186026"/>
                    <a:pt x="1681565" y="3155705"/>
                  </a:cubicBezTo>
                  <a:cubicBezTo>
                    <a:pt x="1702555" y="3134714"/>
                    <a:pt x="1709552" y="3060083"/>
                    <a:pt x="1718881" y="3025099"/>
                  </a:cubicBezTo>
                  <a:cubicBezTo>
                    <a:pt x="1765526" y="2868835"/>
                    <a:pt x="1868147" y="2719572"/>
                    <a:pt x="1963769" y="2588963"/>
                  </a:cubicBezTo>
                  <a:lnTo>
                    <a:pt x="1980095" y="2826856"/>
                  </a:lnTo>
                  <a:cubicBezTo>
                    <a:pt x="1982427" y="2850179"/>
                    <a:pt x="1989424" y="2875833"/>
                    <a:pt x="1991757" y="2899156"/>
                  </a:cubicBezTo>
                  <a:cubicBezTo>
                    <a:pt x="1996421" y="2941138"/>
                    <a:pt x="1991757" y="2983117"/>
                    <a:pt x="1998753" y="3027430"/>
                  </a:cubicBezTo>
                  <a:cubicBezTo>
                    <a:pt x="2005750" y="3064746"/>
                    <a:pt x="2033737" y="3099730"/>
                    <a:pt x="2038402" y="3130051"/>
                  </a:cubicBezTo>
                  <a:cubicBezTo>
                    <a:pt x="2073386" y="3288643"/>
                    <a:pt x="2108370" y="3451902"/>
                    <a:pt x="2134024" y="3615160"/>
                  </a:cubicBezTo>
                  <a:cubicBezTo>
                    <a:pt x="2155015" y="3748101"/>
                    <a:pt x="2169008" y="3881039"/>
                    <a:pt x="2185335" y="4016312"/>
                  </a:cubicBezTo>
                  <a:cubicBezTo>
                    <a:pt x="2176005" y="4041966"/>
                    <a:pt x="2152682" y="4023307"/>
                    <a:pt x="2134024" y="4027973"/>
                  </a:cubicBezTo>
                  <a:cubicBezTo>
                    <a:pt x="2159680" y="4107271"/>
                    <a:pt x="2245973" y="4139920"/>
                    <a:pt x="2320606" y="4158580"/>
                  </a:cubicBezTo>
                  <a:cubicBezTo>
                    <a:pt x="2413897" y="4181902"/>
                    <a:pt x="2549168" y="4170241"/>
                    <a:pt x="2602811" y="4265864"/>
                  </a:cubicBezTo>
                  <a:cubicBezTo>
                    <a:pt x="2602811" y="4268195"/>
                    <a:pt x="2600478" y="4289186"/>
                    <a:pt x="2609808" y="4289186"/>
                  </a:cubicBezTo>
                  <a:lnTo>
                    <a:pt x="3444759" y="4289186"/>
                  </a:lnTo>
                  <a:close/>
                  <a:moveTo>
                    <a:pt x="1425016" y="1063662"/>
                  </a:moveTo>
                  <a:cubicBezTo>
                    <a:pt x="1420351" y="1070658"/>
                    <a:pt x="1429679" y="1079987"/>
                    <a:pt x="1429679" y="1075324"/>
                  </a:cubicBezTo>
                  <a:cubicBezTo>
                    <a:pt x="1434344" y="1068326"/>
                    <a:pt x="1425016" y="1058996"/>
                    <a:pt x="1425016" y="1063662"/>
                  </a:cubicBezTo>
                  <a:close/>
                  <a:moveTo>
                    <a:pt x="1515974" y="895738"/>
                  </a:moveTo>
                  <a:cubicBezTo>
                    <a:pt x="1522970" y="872415"/>
                    <a:pt x="1611597" y="755802"/>
                    <a:pt x="1597603" y="741808"/>
                  </a:cubicBezTo>
                  <a:cubicBezTo>
                    <a:pt x="1541629" y="758133"/>
                    <a:pt x="1492651" y="755802"/>
                    <a:pt x="1436677" y="741808"/>
                  </a:cubicBezTo>
                  <a:lnTo>
                    <a:pt x="1378371" y="692831"/>
                  </a:lnTo>
                  <a:cubicBezTo>
                    <a:pt x="1334057" y="772129"/>
                    <a:pt x="1420351" y="900404"/>
                    <a:pt x="1504312" y="895738"/>
                  </a:cubicBezTo>
                  <a:cubicBezTo>
                    <a:pt x="1506645" y="895738"/>
                    <a:pt x="1511309" y="895738"/>
                    <a:pt x="1513642" y="895738"/>
                  </a:cubicBezTo>
                  <a:close/>
                  <a:moveTo>
                    <a:pt x="1683897" y="1140626"/>
                  </a:moveTo>
                  <a:cubicBezTo>
                    <a:pt x="1683897" y="1135962"/>
                    <a:pt x="1688562" y="1128964"/>
                    <a:pt x="1686229" y="1121969"/>
                  </a:cubicBezTo>
                  <a:cubicBezTo>
                    <a:pt x="1681565" y="1103310"/>
                    <a:pt x="1674568" y="1084651"/>
                    <a:pt x="1672236" y="1063662"/>
                  </a:cubicBezTo>
                  <a:cubicBezTo>
                    <a:pt x="1651245" y="1070658"/>
                    <a:pt x="1637252" y="1086985"/>
                    <a:pt x="1613929" y="1093980"/>
                  </a:cubicBezTo>
                  <a:cubicBezTo>
                    <a:pt x="1590606" y="1100978"/>
                    <a:pt x="1564952" y="1093980"/>
                    <a:pt x="1546293" y="1110308"/>
                  </a:cubicBezTo>
                  <a:cubicBezTo>
                    <a:pt x="1536965" y="1110308"/>
                    <a:pt x="1508977" y="1105642"/>
                    <a:pt x="1511309" y="1119635"/>
                  </a:cubicBezTo>
                  <a:cubicBezTo>
                    <a:pt x="1515974" y="1152287"/>
                    <a:pt x="1557954" y="1194269"/>
                    <a:pt x="1557954" y="1231585"/>
                  </a:cubicBezTo>
                  <a:cubicBezTo>
                    <a:pt x="1567284" y="1238583"/>
                    <a:pt x="1625590" y="1210594"/>
                    <a:pt x="1637252" y="1203599"/>
                  </a:cubicBezTo>
                  <a:cubicBezTo>
                    <a:pt x="1655910" y="1194269"/>
                    <a:pt x="1688562" y="1177941"/>
                    <a:pt x="1693227" y="1154619"/>
                  </a:cubicBezTo>
                  <a:cubicBezTo>
                    <a:pt x="1695558" y="1142957"/>
                    <a:pt x="1683897" y="1147624"/>
                    <a:pt x="1681565" y="1142957"/>
                  </a:cubicBezTo>
                  <a:close/>
                  <a:moveTo>
                    <a:pt x="1744536" y="804779"/>
                  </a:moveTo>
                  <a:cubicBezTo>
                    <a:pt x="1707220" y="865420"/>
                    <a:pt x="1693227" y="937719"/>
                    <a:pt x="1674568" y="1005356"/>
                  </a:cubicBezTo>
                  <a:lnTo>
                    <a:pt x="1707220" y="1110308"/>
                  </a:lnTo>
                  <a:cubicBezTo>
                    <a:pt x="1742204" y="1079987"/>
                    <a:pt x="1751533" y="1131296"/>
                    <a:pt x="1772523" y="1149955"/>
                  </a:cubicBezTo>
                  <a:cubicBezTo>
                    <a:pt x="1784184" y="1131296"/>
                    <a:pt x="1830830" y="1091649"/>
                    <a:pt x="1833163" y="1072989"/>
                  </a:cubicBezTo>
                  <a:cubicBezTo>
                    <a:pt x="1833163" y="1054333"/>
                    <a:pt x="1812172" y="979699"/>
                    <a:pt x="1805175" y="958710"/>
                  </a:cubicBezTo>
                  <a:cubicBezTo>
                    <a:pt x="1800510" y="940051"/>
                    <a:pt x="1753865" y="807113"/>
                    <a:pt x="1744536" y="807113"/>
                  </a:cubicBezTo>
                  <a:close/>
                  <a:moveTo>
                    <a:pt x="1770191" y="461936"/>
                  </a:moveTo>
                  <a:cubicBezTo>
                    <a:pt x="1758530" y="461936"/>
                    <a:pt x="1753865" y="466600"/>
                    <a:pt x="1753865" y="475929"/>
                  </a:cubicBezTo>
                  <a:cubicBezTo>
                    <a:pt x="1744536" y="524906"/>
                    <a:pt x="1758530" y="599541"/>
                    <a:pt x="1753865" y="653181"/>
                  </a:cubicBezTo>
                  <a:cubicBezTo>
                    <a:pt x="1751533" y="688165"/>
                    <a:pt x="1732874" y="718486"/>
                    <a:pt x="1730542" y="753470"/>
                  </a:cubicBezTo>
                  <a:cubicBezTo>
                    <a:pt x="1718881" y="753470"/>
                    <a:pt x="1718881" y="755802"/>
                    <a:pt x="1718881" y="744140"/>
                  </a:cubicBezTo>
                  <a:cubicBezTo>
                    <a:pt x="1718881" y="718486"/>
                    <a:pt x="1732874" y="685833"/>
                    <a:pt x="1735207" y="657847"/>
                  </a:cubicBezTo>
                  <a:cubicBezTo>
                    <a:pt x="1739872" y="608870"/>
                    <a:pt x="1732874" y="555227"/>
                    <a:pt x="1735207" y="506250"/>
                  </a:cubicBezTo>
                  <a:lnTo>
                    <a:pt x="1718881" y="506250"/>
                  </a:lnTo>
                  <a:cubicBezTo>
                    <a:pt x="1718881" y="506250"/>
                    <a:pt x="1683897" y="737145"/>
                    <a:pt x="1683897" y="737145"/>
                  </a:cubicBezTo>
                  <a:cubicBezTo>
                    <a:pt x="1669904" y="737145"/>
                    <a:pt x="1672236" y="734811"/>
                    <a:pt x="1672236" y="723149"/>
                  </a:cubicBezTo>
                  <a:cubicBezTo>
                    <a:pt x="1672236" y="685833"/>
                    <a:pt x="1686229" y="641520"/>
                    <a:pt x="1690894" y="601872"/>
                  </a:cubicBezTo>
                  <a:cubicBezTo>
                    <a:pt x="1690894" y="597209"/>
                    <a:pt x="1683897" y="597209"/>
                    <a:pt x="1679232" y="601872"/>
                  </a:cubicBezTo>
                  <a:cubicBezTo>
                    <a:pt x="1669904" y="611202"/>
                    <a:pt x="1611597" y="772129"/>
                    <a:pt x="1597603" y="802447"/>
                  </a:cubicBezTo>
                  <a:cubicBezTo>
                    <a:pt x="1550958" y="895738"/>
                    <a:pt x="1483323" y="958710"/>
                    <a:pt x="1541629" y="1075324"/>
                  </a:cubicBezTo>
                  <a:cubicBezTo>
                    <a:pt x="1557954" y="1107973"/>
                    <a:pt x="1618594" y="1068326"/>
                    <a:pt x="1644248" y="1058996"/>
                  </a:cubicBezTo>
                  <a:cubicBezTo>
                    <a:pt x="1644248" y="1045003"/>
                    <a:pt x="1644248" y="1031010"/>
                    <a:pt x="1646581" y="1019349"/>
                  </a:cubicBezTo>
                  <a:cubicBezTo>
                    <a:pt x="1672236" y="881744"/>
                    <a:pt x="1772523" y="765131"/>
                    <a:pt x="1777188" y="627527"/>
                  </a:cubicBezTo>
                  <a:cubicBezTo>
                    <a:pt x="1777188" y="576218"/>
                    <a:pt x="1765526" y="517911"/>
                    <a:pt x="1772523" y="464268"/>
                  </a:cubicBezTo>
                  <a:close/>
                  <a:moveTo>
                    <a:pt x="1816837" y="506250"/>
                  </a:moveTo>
                  <a:cubicBezTo>
                    <a:pt x="1798179" y="487591"/>
                    <a:pt x="1779520" y="555227"/>
                    <a:pt x="1788849" y="569220"/>
                  </a:cubicBezTo>
                  <a:cubicBezTo>
                    <a:pt x="1802842" y="573886"/>
                    <a:pt x="1805175" y="555227"/>
                    <a:pt x="1807507" y="545897"/>
                  </a:cubicBezTo>
                  <a:cubicBezTo>
                    <a:pt x="1809840" y="538902"/>
                    <a:pt x="1821501" y="510913"/>
                    <a:pt x="1816837" y="506250"/>
                  </a:cubicBezTo>
                  <a:close/>
                  <a:moveTo>
                    <a:pt x="1520638" y="191394"/>
                  </a:moveTo>
                  <a:lnTo>
                    <a:pt x="1529968" y="144749"/>
                  </a:lnTo>
                  <a:lnTo>
                    <a:pt x="1553291" y="196057"/>
                  </a:lnTo>
                  <a:cubicBezTo>
                    <a:pt x="1550958" y="149412"/>
                    <a:pt x="1518307" y="91105"/>
                    <a:pt x="1569615" y="58453"/>
                  </a:cubicBezTo>
                  <a:cubicBezTo>
                    <a:pt x="1602268" y="37465"/>
                    <a:pt x="1604599" y="51458"/>
                    <a:pt x="1632587" y="51458"/>
                  </a:cubicBezTo>
                  <a:cubicBezTo>
                    <a:pt x="1714216" y="51458"/>
                    <a:pt x="1749200" y="53790"/>
                    <a:pt x="1812172" y="112096"/>
                  </a:cubicBezTo>
                  <a:cubicBezTo>
                    <a:pt x="1830830" y="128421"/>
                    <a:pt x="1863482" y="158742"/>
                    <a:pt x="1861149" y="184396"/>
                  </a:cubicBezTo>
                  <a:cubicBezTo>
                    <a:pt x="1830830" y="156410"/>
                    <a:pt x="1798179" y="114428"/>
                    <a:pt x="1753865" y="109765"/>
                  </a:cubicBezTo>
                  <a:lnTo>
                    <a:pt x="1842491" y="196057"/>
                  </a:lnTo>
                  <a:cubicBezTo>
                    <a:pt x="1889136" y="254364"/>
                    <a:pt x="1891469" y="342991"/>
                    <a:pt x="1858817" y="408293"/>
                  </a:cubicBezTo>
                  <a:cubicBezTo>
                    <a:pt x="1849488" y="429284"/>
                    <a:pt x="1826165" y="450275"/>
                    <a:pt x="1816837" y="471266"/>
                  </a:cubicBezTo>
                  <a:cubicBezTo>
                    <a:pt x="1814504" y="478261"/>
                    <a:pt x="1814504" y="487591"/>
                    <a:pt x="1823833" y="485259"/>
                  </a:cubicBezTo>
                  <a:cubicBezTo>
                    <a:pt x="1863482" y="468934"/>
                    <a:pt x="1907794" y="324332"/>
                    <a:pt x="1900798" y="282353"/>
                  </a:cubicBezTo>
                  <a:cubicBezTo>
                    <a:pt x="1898466" y="266025"/>
                    <a:pt x="1879808" y="249701"/>
                    <a:pt x="1879808" y="235708"/>
                  </a:cubicBezTo>
                  <a:cubicBezTo>
                    <a:pt x="1879808" y="224046"/>
                    <a:pt x="1893801" y="231041"/>
                    <a:pt x="1891469" y="219380"/>
                  </a:cubicBezTo>
                  <a:cubicBezTo>
                    <a:pt x="1879808" y="172735"/>
                    <a:pt x="1844824" y="121426"/>
                    <a:pt x="1807507" y="88774"/>
                  </a:cubicBezTo>
                  <a:cubicBezTo>
                    <a:pt x="1749200" y="39797"/>
                    <a:pt x="1611597" y="-9180"/>
                    <a:pt x="1548626" y="53790"/>
                  </a:cubicBezTo>
                  <a:lnTo>
                    <a:pt x="1518307" y="105098"/>
                  </a:lnTo>
                  <a:cubicBezTo>
                    <a:pt x="1518307" y="86442"/>
                    <a:pt x="1518307" y="67783"/>
                    <a:pt x="1529968" y="51458"/>
                  </a:cubicBezTo>
                  <a:lnTo>
                    <a:pt x="1574280" y="14142"/>
                  </a:lnTo>
                  <a:cubicBezTo>
                    <a:pt x="1483323" y="11808"/>
                    <a:pt x="1473993" y="135419"/>
                    <a:pt x="1520638" y="191394"/>
                  </a:cubicBezTo>
                  <a:close/>
                  <a:moveTo>
                    <a:pt x="1585942" y="158742"/>
                  </a:moveTo>
                  <a:cubicBezTo>
                    <a:pt x="1585942" y="158742"/>
                    <a:pt x="1567284" y="172735"/>
                    <a:pt x="1578945" y="170403"/>
                  </a:cubicBezTo>
                  <a:cubicBezTo>
                    <a:pt x="1674568" y="128421"/>
                    <a:pt x="1688562" y="261362"/>
                    <a:pt x="1709552" y="322000"/>
                  </a:cubicBezTo>
                  <a:cubicBezTo>
                    <a:pt x="1711885" y="331330"/>
                    <a:pt x="1707220" y="338325"/>
                    <a:pt x="1723546" y="333662"/>
                  </a:cubicBezTo>
                  <a:cubicBezTo>
                    <a:pt x="1711885" y="275355"/>
                    <a:pt x="1679232" y="107433"/>
                    <a:pt x="1585942" y="158742"/>
                  </a:cubicBezTo>
                  <a:close/>
                  <a:moveTo>
                    <a:pt x="1385367" y="203055"/>
                  </a:moveTo>
                  <a:lnTo>
                    <a:pt x="1413355" y="154078"/>
                  </a:lnTo>
                  <a:lnTo>
                    <a:pt x="1476325" y="100435"/>
                  </a:lnTo>
                  <a:cubicBezTo>
                    <a:pt x="1420351" y="109765"/>
                    <a:pt x="1399360" y="142417"/>
                    <a:pt x="1385367" y="191394"/>
                  </a:cubicBezTo>
                  <a:cubicBezTo>
                    <a:pt x="1385367" y="193726"/>
                    <a:pt x="1373706" y="200724"/>
                    <a:pt x="1385367" y="203055"/>
                  </a:cubicBezTo>
                  <a:close/>
                  <a:moveTo>
                    <a:pt x="1392364" y="254364"/>
                  </a:moveTo>
                  <a:lnTo>
                    <a:pt x="1392364" y="226378"/>
                  </a:lnTo>
                  <a:cubicBezTo>
                    <a:pt x="1392364" y="226378"/>
                    <a:pt x="1380702" y="226378"/>
                    <a:pt x="1380702" y="226378"/>
                  </a:cubicBezTo>
                  <a:cubicBezTo>
                    <a:pt x="1378371" y="228710"/>
                    <a:pt x="1385367" y="259030"/>
                    <a:pt x="1392364" y="254364"/>
                  </a:cubicBezTo>
                  <a:close/>
                  <a:moveTo>
                    <a:pt x="1359711" y="604204"/>
                  </a:moveTo>
                  <a:cubicBezTo>
                    <a:pt x="1383034" y="711488"/>
                    <a:pt x="1480990" y="769795"/>
                    <a:pt x="1585942" y="720817"/>
                  </a:cubicBezTo>
                  <a:cubicBezTo>
                    <a:pt x="1646581" y="690500"/>
                    <a:pt x="1634920" y="625195"/>
                    <a:pt x="1667571" y="585548"/>
                  </a:cubicBezTo>
                  <a:cubicBezTo>
                    <a:pt x="1674568" y="576218"/>
                    <a:pt x="1686229" y="580881"/>
                    <a:pt x="1690894" y="571552"/>
                  </a:cubicBezTo>
                  <a:cubicBezTo>
                    <a:pt x="1700223" y="555227"/>
                    <a:pt x="1695558" y="515580"/>
                    <a:pt x="1709552" y="499252"/>
                  </a:cubicBezTo>
                  <a:cubicBezTo>
                    <a:pt x="1716549" y="489922"/>
                    <a:pt x="1728211" y="492257"/>
                    <a:pt x="1737539" y="480596"/>
                  </a:cubicBezTo>
                  <a:cubicBezTo>
                    <a:pt x="1742204" y="475929"/>
                    <a:pt x="1760862" y="433950"/>
                    <a:pt x="1760862" y="429284"/>
                  </a:cubicBezTo>
                  <a:cubicBezTo>
                    <a:pt x="1751533" y="398966"/>
                    <a:pt x="1716549" y="368646"/>
                    <a:pt x="1697890" y="342991"/>
                  </a:cubicBezTo>
                  <a:cubicBezTo>
                    <a:pt x="1672236" y="303341"/>
                    <a:pt x="1655910" y="224046"/>
                    <a:pt x="1595271" y="221712"/>
                  </a:cubicBezTo>
                  <a:cubicBezTo>
                    <a:pt x="1574280" y="221712"/>
                    <a:pt x="1553291" y="242703"/>
                    <a:pt x="1548626" y="242703"/>
                  </a:cubicBezTo>
                  <a:cubicBezTo>
                    <a:pt x="1539296" y="242703"/>
                    <a:pt x="1522970" y="210050"/>
                    <a:pt x="1522970" y="210050"/>
                  </a:cubicBezTo>
                  <a:cubicBezTo>
                    <a:pt x="1518307" y="207719"/>
                    <a:pt x="1506645" y="217048"/>
                    <a:pt x="1499647" y="214717"/>
                  </a:cubicBezTo>
                  <a:cubicBezTo>
                    <a:pt x="1490319" y="214717"/>
                    <a:pt x="1485654" y="196057"/>
                    <a:pt x="1471661" y="198389"/>
                  </a:cubicBezTo>
                  <a:cubicBezTo>
                    <a:pt x="1483323" y="228710"/>
                    <a:pt x="1471661" y="217048"/>
                    <a:pt x="1457667" y="233373"/>
                  </a:cubicBezTo>
                  <a:cubicBezTo>
                    <a:pt x="1432013" y="261362"/>
                    <a:pt x="1432013" y="263694"/>
                    <a:pt x="1422683" y="294014"/>
                  </a:cubicBezTo>
                  <a:cubicBezTo>
                    <a:pt x="1418018" y="305676"/>
                    <a:pt x="1408690" y="312671"/>
                    <a:pt x="1411022" y="324332"/>
                  </a:cubicBezTo>
                  <a:cubicBezTo>
                    <a:pt x="1448339" y="310339"/>
                    <a:pt x="1485654" y="298678"/>
                    <a:pt x="1525303" y="315002"/>
                  </a:cubicBezTo>
                  <a:cubicBezTo>
                    <a:pt x="1508977" y="354653"/>
                    <a:pt x="1460000" y="322000"/>
                    <a:pt x="1432013" y="328998"/>
                  </a:cubicBezTo>
                  <a:cubicBezTo>
                    <a:pt x="1427348" y="328998"/>
                    <a:pt x="1432013" y="347655"/>
                    <a:pt x="1406357" y="333662"/>
                  </a:cubicBezTo>
                  <a:cubicBezTo>
                    <a:pt x="1387699" y="438614"/>
                    <a:pt x="1338722" y="492257"/>
                    <a:pt x="1362045" y="604204"/>
                  </a:cubicBezTo>
                  <a:close/>
                  <a:moveTo>
                    <a:pt x="1345718" y="615865"/>
                  </a:moveTo>
                  <a:cubicBezTo>
                    <a:pt x="1329392" y="615865"/>
                    <a:pt x="1315399" y="615865"/>
                    <a:pt x="1299073" y="618197"/>
                  </a:cubicBezTo>
                  <a:cubicBezTo>
                    <a:pt x="1268754" y="625195"/>
                    <a:pt x="1173130" y="725484"/>
                    <a:pt x="1147476" y="753470"/>
                  </a:cubicBezTo>
                  <a:cubicBezTo>
                    <a:pt x="1133483" y="767463"/>
                    <a:pt x="1063515" y="846760"/>
                    <a:pt x="1065846" y="858422"/>
                  </a:cubicBezTo>
                  <a:cubicBezTo>
                    <a:pt x="1065846" y="863085"/>
                    <a:pt x="1107827" y="933053"/>
                    <a:pt x="1110160" y="935388"/>
                  </a:cubicBezTo>
                  <a:cubicBezTo>
                    <a:pt x="1119488" y="940051"/>
                    <a:pt x="1119488" y="935388"/>
                    <a:pt x="1124153" y="933053"/>
                  </a:cubicBezTo>
                  <a:cubicBezTo>
                    <a:pt x="1152141" y="921392"/>
                    <a:pt x="1184791" y="893406"/>
                    <a:pt x="1212779" y="877081"/>
                  </a:cubicBezTo>
                  <a:cubicBezTo>
                    <a:pt x="1224440" y="870083"/>
                    <a:pt x="1261757" y="858422"/>
                    <a:pt x="1264089" y="856090"/>
                  </a:cubicBezTo>
                  <a:cubicBezTo>
                    <a:pt x="1264089" y="853758"/>
                    <a:pt x="1275750" y="804779"/>
                    <a:pt x="1280415" y="793117"/>
                  </a:cubicBezTo>
                  <a:cubicBezTo>
                    <a:pt x="1301405" y="732479"/>
                    <a:pt x="1322396" y="674172"/>
                    <a:pt x="1345718" y="615865"/>
                  </a:cubicBezTo>
                  <a:close/>
                  <a:moveTo>
                    <a:pt x="1376038" y="914397"/>
                  </a:moveTo>
                  <a:lnTo>
                    <a:pt x="1425016" y="893406"/>
                  </a:lnTo>
                  <a:cubicBezTo>
                    <a:pt x="1427348" y="879413"/>
                    <a:pt x="1411022" y="877081"/>
                    <a:pt x="1401693" y="867751"/>
                  </a:cubicBezTo>
                  <a:cubicBezTo>
                    <a:pt x="1371373" y="832767"/>
                    <a:pt x="1350383" y="793117"/>
                    <a:pt x="1350383" y="746472"/>
                  </a:cubicBezTo>
                  <a:cubicBezTo>
                    <a:pt x="1350383" y="725484"/>
                    <a:pt x="1366709" y="664843"/>
                    <a:pt x="1357380" y="650849"/>
                  </a:cubicBezTo>
                  <a:cubicBezTo>
                    <a:pt x="1348050" y="639188"/>
                    <a:pt x="1348050" y="655516"/>
                    <a:pt x="1345718" y="657847"/>
                  </a:cubicBezTo>
                  <a:cubicBezTo>
                    <a:pt x="1334057" y="683502"/>
                    <a:pt x="1303738" y="779124"/>
                    <a:pt x="1301405" y="807113"/>
                  </a:cubicBezTo>
                  <a:cubicBezTo>
                    <a:pt x="1294408" y="853758"/>
                    <a:pt x="1310734" y="905067"/>
                    <a:pt x="1313066" y="954044"/>
                  </a:cubicBezTo>
                  <a:lnTo>
                    <a:pt x="1378371" y="912065"/>
                  </a:lnTo>
                  <a:close/>
                  <a:moveTo>
                    <a:pt x="1427348" y="1012351"/>
                  </a:moveTo>
                  <a:cubicBezTo>
                    <a:pt x="1450670" y="1012351"/>
                    <a:pt x="1476325" y="968037"/>
                    <a:pt x="1457667" y="951713"/>
                  </a:cubicBezTo>
                  <a:cubicBezTo>
                    <a:pt x="1453002" y="947049"/>
                    <a:pt x="1420351" y="935388"/>
                    <a:pt x="1415686" y="933053"/>
                  </a:cubicBezTo>
                  <a:cubicBezTo>
                    <a:pt x="1373706" y="928390"/>
                    <a:pt x="1387699" y="1012351"/>
                    <a:pt x="1427348" y="1012351"/>
                  </a:cubicBezTo>
                  <a:close/>
                  <a:moveTo>
                    <a:pt x="1420351" y="2194812"/>
                  </a:moveTo>
                  <a:cubicBezTo>
                    <a:pt x="1434344" y="2197144"/>
                    <a:pt x="1504312" y="2152830"/>
                    <a:pt x="1494984" y="2143500"/>
                  </a:cubicBezTo>
                  <a:cubicBezTo>
                    <a:pt x="1487986" y="2136505"/>
                    <a:pt x="1425016" y="2180816"/>
                    <a:pt x="1420351" y="2194812"/>
                  </a:cubicBezTo>
                  <a:close/>
                  <a:moveTo>
                    <a:pt x="1334057" y="2001233"/>
                  </a:moveTo>
                  <a:lnTo>
                    <a:pt x="1432013" y="2001233"/>
                  </a:lnTo>
                  <a:cubicBezTo>
                    <a:pt x="1439009" y="1989571"/>
                    <a:pt x="1399360" y="1933596"/>
                    <a:pt x="1394695" y="1931265"/>
                  </a:cubicBezTo>
                  <a:cubicBezTo>
                    <a:pt x="1380702" y="1928933"/>
                    <a:pt x="1348050" y="1989571"/>
                    <a:pt x="1334057" y="2001233"/>
                  </a:cubicBezTo>
                  <a:close/>
                  <a:moveTo>
                    <a:pt x="869935" y="1621072"/>
                  </a:moveTo>
                  <a:cubicBezTo>
                    <a:pt x="874600" y="1553439"/>
                    <a:pt x="909584" y="1492797"/>
                    <a:pt x="893258" y="1425164"/>
                  </a:cubicBezTo>
                  <a:cubicBezTo>
                    <a:pt x="851277" y="1478804"/>
                    <a:pt x="848946" y="1534779"/>
                    <a:pt x="858274" y="1600084"/>
                  </a:cubicBezTo>
                  <a:cubicBezTo>
                    <a:pt x="858274" y="1607079"/>
                    <a:pt x="858274" y="1621072"/>
                    <a:pt x="869935" y="1621072"/>
                  </a:cubicBezTo>
                  <a:close/>
                  <a:moveTo>
                    <a:pt x="848946" y="2022224"/>
                  </a:moveTo>
                  <a:cubicBezTo>
                    <a:pt x="848946" y="2015226"/>
                    <a:pt x="844281" y="1989571"/>
                    <a:pt x="839616" y="1987240"/>
                  </a:cubicBezTo>
                  <a:cubicBezTo>
                    <a:pt x="818627" y="1973247"/>
                    <a:pt x="767316" y="1991903"/>
                    <a:pt x="748659" y="2005896"/>
                  </a:cubicBezTo>
                  <a:cubicBezTo>
                    <a:pt x="702013" y="2040880"/>
                    <a:pt x="706677" y="2073532"/>
                    <a:pt x="716006" y="2124844"/>
                  </a:cubicBezTo>
                  <a:cubicBezTo>
                    <a:pt x="716006" y="2131839"/>
                    <a:pt x="716006" y="2152830"/>
                    <a:pt x="725336" y="2152830"/>
                  </a:cubicBezTo>
                  <a:cubicBezTo>
                    <a:pt x="729999" y="2103853"/>
                    <a:pt x="848946" y="2066537"/>
                    <a:pt x="848946" y="2024555"/>
                  </a:cubicBezTo>
                  <a:close/>
                  <a:moveTo>
                    <a:pt x="776645" y="2206473"/>
                  </a:moveTo>
                  <a:cubicBezTo>
                    <a:pt x="785974" y="2215800"/>
                    <a:pt x="823290" y="2145832"/>
                    <a:pt x="825623" y="2138837"/>
                  </a:cubicBezTo>
                  <a:cubicBezTo>
                    <a:pt x="830288" y="2120178"/>
                    <a:pt x="827955" y="2110848"/>
                    <a:pt x="823290" y="2092192"/>
                  </a:cubicBezTo>
                  <a:cubicBezTo>
                    <a:pt x="811629" y="2085194"/>
                    <a:pt x="762652" y="2124844"/>
                    <a:pt x="760320" y="2129507"/>
                  </a:cubicBezTo>
                  <a:cubicBezTo>
                    <a:pt x="757987" y="2138837"/>
                    <a:pt x="783643" y="2187814"/>
                    <a:pt x="776645" y="2206473"/>
                  </a:cubicBezTo>
                  <a:close/>
                  <a:moveTo>
                    <a:pt x="932907" y="3176696"/>
                  </a:moveTo>
                  <a:cubicBezTo>
                    <a:pt x="937572" y="3148707"/>
                    <a:pt x="918914" y="3123053"/>
                    <a:pt x="916581" y="3099730"/>
                  </a:cubicBezTo>
                  <a:cubicBezTo>
                    <a:pt x="914249" y="3076407"/>
                    <a:pt x="916581" y="3050753"/>
                    <a:pt x="916581" y="3027430"/>
                  </a:cubicBezTo>
                  <a:cubicBezTo>
                    <a:pt x="893258" y="2847847"/>
                    <a:pt x="790639" y="2665929"/>
                    <a:pt x="741661" y="2491009"/>
                  </a:cubicBezTo>
                  <a:lnTo>
                    <a:pt x="727668" y="2472350"/>
                  </a:lnTo>
                  <a:cubicBezTo>
                    <a:pt x="781309" y="2649604"/>
                    <a:pt x="837284" y="2829188"/>
                    <a:pt x="881597" y="3008771"/>
                  </a:cubicBezTo>
                  <a:cubicBezTo>
                    <a:pt x="858274" y="3020432"/>
                    <a:pt x="872268" y="3064746"/>
                    <a:pt x="872268" y="3088069"/>
                  </a:cubicBezTo>
                  <a:lnTo>
                    <a:pt x="935240" y="3179028"/>
                  </a:lnTo>
                  <a:close/>
                  <a:moveTo>
                    <a:pt x="928242" y="3260657"/>
                  </a:moveTo>
                  <a:cubicBezTo>
                    <a:pt x="935240" y="3276982"/>
                    <a:pt x="942236" y="3293309"/>
                    <a:pt x="949233" y="3309634"/>
                  </a:cubicBezTo>
                  <a:cubicBezTo>
                    <a:pt x="951565" y="3314300"/>
                    <a:pt x="949233" y="3325962"/>
                    <a:pt x="960894" y="3325962"/>
                  </a:cubicBezTo>
                  <a:cubicBezTo>
                    <a:pt x="965559" y="3316632"/>
                    <a:pt x="956230" y="3307302"/>
                    <a:pt x="956230" y="3302639"/>
                  </a:cubicBezTo>
                  <a:cubicBezTo>
                    <a:pt x="956230" y="3295641"/>
                    <a:pt x="956230" y="3286311"/>
                    <a:pt x="956230" y="3279316"/>
                  </a:cubicBezTo>
                  <a:cubicBezTo>
                    <a:pt x="956230" y="3267655"/>
                    <a:pt x="951565" y="3262989"/>
                    <a:pt x="951565" y="3262989"/>
                  </a:cubicBezTo>
                  <a:cubicBezTo>
                    <a:pt x="951565" y="3258325"/>
                    <a:pt x="951565" y="3255994"/>
                    <a:pt x="951565" y="3251327"/>
                  </a:cubicBezTo>
                  <a:cubicBezTo>
                    <a:pt x="951565" y="3251327"/>
                    <a:pt x="951565" y="3251327"/>
                    <a:pt x="951565" y="3246664"/>
                  </a:cubicBezTo>
                  <a:cubicBezTo>
                    <a:pt x="939903" y="3214012"/>
                    <a:pt x="928242" y="3200019"/>
                    <a:pt x="902588" y="3176696"/>
                  </a:cubicBezTo>
                  <a:cubicBezTo>
                    <a:pt x="886262" y="3211680"/>
                    <a:pt x="916581" y="3232671"/>
                    <a:pt x="930575" y="3258325"/>
                  </a:cubicBezTo>
                  <a:close/>
                  <a:moveTo>
                    <a:pt x="1030862" y="3804076"/>
                  </a:moveTo>
                  <a:cubicBezTo>
                    <a:pt x="1014536" y="3650144"/>
                    <a:pt x="1000543" y="3470561"/>
                    <a:pt x="942236" y="3325962"/>
                  </a:cubicBezTo>
                  <a:cubicBezTo>
                    <a:pt x="942236" y="3321295"/>
                    <a:pt x="925910" y="3274650"/>
                    <a:pt x="914249" y="3286311"/>
                  </a:cubicBezTo>
                  <a:lnTo>
                    <a:pt x="1028531" y="3804076"/>
                  </a:lnTo>
                  <a:close/>
                  <a:moveTo>
                    <a:pt x="1322396" y="4303179"/>
                  </a:moveTo>
                  <a:cubicBezTo>
                    <a:pt x="1320064" y="4268195"/>
                    <a:pt x="1280415" y="4289186"/>
                    <a:pt x="1257093" y="4289186"/>
                  </a:cubicBezTo>
                  <a:cubicBezTo>
                    <a:pt x="1243098" y="4289186"/>
                    <a:pt x="1224440" y="4286855"/>
                    <a:pt x="1210447" y="4284523"/>
                  </a:cubicBezTo>
                  <a:cubicBezTo>
                    <a:pt x="1203451" y="4284523"/>
                    <a:pt x="1180128" y="4284523"/>
                    <a:pt x="1177795" y="4272862"/>
                  </a:cubicBezTo>
                  <a:lnTo>
                    <a:pt x="1294408" y="4272862"/>
                  </a:lnTo>
                  <a:cubicBezTo>
                    <a:pt x="1294408" y="4272862"/>
                    <a:pt x="1303738" y="4263532"/>
                    <a:pt x="1303738" y="4261200"/>
                  </a:cubicBezTo>
                  <a:cubicBezTo>
                    <a:pt x="1243098" y="4244873"/>
                    <a:pt x="1168467" y="4219218"/>
                    <a:pt x="1105495" y="4226216"/>
                  </a:cubicBezTo>
                  <a:cubicBezTo>
                    <a:pt x="1093834" y="4226216"/>
                    <a:pt x="1037859" y="4244873"/>
                    <a:pt x="1035527" y="4249539"/>
                  </a:cubicBezTo>
                  <a:cubicBezTo>
                    <a:pt x="1030862" y="4256534"/>
                    <a:pt x="1030862" y="4284523"/>
                    <a:pt x="1028531" y="4293853"/>
                  </a:cubicBezTo>
                  <a:lnTo>
                    <a:pt x="1322396" y="4298516"/>
                  </a:lnTo>
                  <a:close/>
                  <a:moveTo>
                    <a:pt x="1758530" y="4326502"/>
                  </a:moveTo>
                  <a:lnTo>
                    <a:pt x="1835495" y="4338163"/>
                  </a:lnTo>
                  <a:lnTo>
                    <a:pt x="1975431" y="4338163"/>
                  </a:lnTo>
                  <a:cubicBezTo>
                    <a:pt x="1975431" y="4331168"/>
                    <a:pt x="1963769" y="4326502"/>
                    <a:pt x="1961437" y="4326502"/>
                  </a:cubicBezTo>
                  <a:cubicBezTo>
                    <a:pt x="1900798" y="4317175"/>
                    <a:pt x="1821501" y="4333500"/>
                    <a:pt x="1758530" y="4326502"/>
                  </a:cubicBezTo>
                  <a:close/>
                  <a:moveTo>
                    <a:pt x="2050063" y="3416918"/>
                  </a:moveTo>
                  <a:cubicBezTo>
                    <a:pt x="2064056" y="3493884"/>
                    <a:pt x="2101374" y="3962669"/>
                    <a:pt x="2131693" y="3988323"/>
                  </a:cubicBezTo>
                  <a:cubicBezTo>
                    <a:pt x="2136358" y="3992989"/>
                    <a:pt x="2164344" y="3999984"/>
                    <a:pt x="2166677" y="3997653"/>
                  </a:cubicBezTo>
                  <a:cubicBezTo>
                    <a:pt x="2155015" y="3874044"/>
                    <a:pt x="2138689" y="3750433"/>
                    <a:pt x="2120031" y="3629156"/>
                  </a:cubicBezTo>
                  <a:cubicBezTo>
                    <a:pt x="2089712" y="3433245"/>
                    <a:pt x="2052395" y="3241998"/>
                    <a:pt x="1991757" y="3055416"/>
                  </a:cubicBezTo>
                  <a:cubicBezTo>
                    <a:pt x="1961437" y="2962126"/>
                    <a:pt x="1970766" y="2843181"/>
                    <a:pt x="1959104" y="2745227"/>
                  </a:cubicBezTo>
                  <a:lnTo>
                    <a:pt x="1947443" y="2754556"/>
                  </a:lnTo>
                  <a:cubicBezTo>
                    <a:pt x="1956773" y="2892158"/>
                    <a:pt x="1917124" y="3034428"/>
                    <a:pt x="1963769" y="3167366"/>
                  </a:cubicBezTo>
                  <a:cubicBezTo>
                    <a:pt x="1996421" y="3258325"/>
                    <a:pt x="2031406" y="3311966"/>
                    <a:pt x="2047730" y="3416918"/>
                  </a:cubicBezTo>
                  <a:close/>
                  <a:moveTo>
                    <a:pt x="2173673" y="4095610"/>
                  </a:moveTo>
                  <a:cubicBezTo>
                    <a:pt x="2141021" y="4095610"/>
                    <a:pt x="2108370" y="4123596"/>
                    <a:pt x="2087379" y="4146918"/>
                  </a:cubicBezTo>
                  <a:cubicBezTo>
                    <a:pt x="2117698" y="4142255"/>
                    <a:pt x="2152682" y="4118932"/>
                    <a:pt x="2173673" y="4095610"/>
                  </a:cubicBezTo>
                  <a:close/>
                  <a:moveTo>
                    <a:pt x="2574824" y="4251871"/>
                  </a:moveTo>
                  <a:cubicBezTo>
                    <a:pt x="2556166" y="4223885"/>
                    <a:pt x="2530510" y="4205225"/>
                    <a:pt x="2500191" y="4198227"/>
                  </a:cubicBezTo>
                  <a:cubicBezTo>
                    <a:pt x="2444216" y="4181902"/>
                    <a:pt x="2374248" y="4179571"/>
                    <a:pt x="2315941" y="4165578"/>
                  </a:cubicBezTo>
                  <a:cubicBezTo>
                    <a:pt x="2269296" y="4153916"/>
                    <a:pt x="2227315" y="4125927"/>
                    <a:pt x="2178338" y="4144587"/>
                  </a:cubicBezTo>
                  <a:cubicBezTo>
                    <a:pt x="2180670" y="4156248"/>
                    <a:pt x="2192331" y="4160911"/>
                    <a:pt x="2201661" y="4165578"/>
                  </a:cubicBezTo>
                  <a:cubicBezTo>
                    <a:pt x="2276294" y="4205225"/>
                    <a:pt x="2371916" y="4212223"/>
                    <a:pt x="2451214" y="4226216"/>
                  </a:cubicBezTo>
                  <a:cubicBezTo>
                    <a:pt x="2495526" y="4233211"/>
                    <a:pt x="2530510" y="4261200"/>
                    <a:pt x="2574824" y="4254202"/>
                  </a:cubicBezTo>
                  <a:close/>
                  <a:moveTo>
                    <a:pt x="646038" y="1844972"/>
                  </a:moveTo>
                  <a:cubicBezTo>
                    <a:pt x="622716" y="1756345"/>
                    <a:pt x="618051" y="1644395"/>
                    <a:pt x="590063" y="1560434"/>
                  </a:cubicBezTo>
                  <a:cubicBezTo>
                    <a:pt x="578402" y="1530116"/>
                    <a:pt x="564409" y="1539443"/>
                    <a:pt x="566741" y="1567432"/>
                  </a:cubicBezTo>
                  <a:cubicBezTo>
                    <a:pt x="571405" y="1618740"/>
                    <a:pt x="597061" y="1723692"/>
                    <a:pt x="608723" y="1777336"/>
                  </a:cubicBezTo>
                  <a:cubicBezTo>
                    <a:pt x="611054" y="1786665"/>
                    <a:pt x="625047" y="1865960"/>
                    <a:pt x="646038" y="1844972"/>
                  </a:cubicBezTo>
                  <a:close/>
                  <a:moveTo>
                    <a:pt x="1907794" y="1632733"/>
                  </a:moveTo>
                  <a:cubicBezTo>
                    <a:pt x="1917124" y="1630402"/>
                    <a:pt x="1926453" y="1632733"/>
                    <a:pt x="1931117" y="1621072"/>
                  </a:cubicBezTo>
                  <a:cubicBezTo>
                    <a:pt x="1924120" y="1616409"/>
                    <a:pt x="1921789" y="1618740"/>
                    <a:pt x="1910127" y="1609411"/>
                  </a:cubicBezTo>
                  <a:cubicBezTo>
                    <a:pt x="1905463" y="1607079"/>
                    <a:pt x="1896133" y="1607079"/>
                    <a:pt x="1893801" y="1602416"/>
                  </a:cubicBezTo>
                  <a:cubicBezTo>
                    <a:pt x="1882140" y="1590754"/>
                    <a:pt x="1889136" y="1551104"/>
                    <a:pt x="1863482" y="1551104"/>
                  </a:cubicBezTo>
                  <a:cubicBezTo>
                    <a:pt x="1863482" y="1611745"/>
                    <a:pt x="1896133" y="1670052"/>
                    <a:pt x="1875143" y="1728359"/>
                  </a:cubicBezTo>
                  <a:cubicBezTo>
                    <a:pt x="1882140" y="1728359"/>
                    <a:pt x="1889136" y="1733022"/>
                    <a:pt x="1891469" y="1723692"/>
                  </a:cubicBezTo>
                  <a:cubicBezTo>
                    <a:pt x="1905463" y="1700370"/>
                    <a:pt x="1893801" y="1632733"/>
                    <a:pt x="1896133" y="1630402"/>
                  </a:cubicBezTo>
                  <a:cubicBezTo>
                    <a:pt x="1896133" y="1630402"/>
                    <a:pt x="1905463" y="1630402"/>
                    <a:pt x="1907794" y="1630402"/>
                  </a:cubicBezTo>
                  <a:close/>
                  <a:moveTo>
                    <a:pt x="1695558" y="403630"/>
                  </a:moveTo>
                  <a:cubicBezTo>
                    <a:pt x="1695558" y="384970"/>
                    <a:pt x="1672236" y="382639"/>
                    <a:pt x="1662906" y="373309"/>
                  </a:cubicBezTo>
                  <a:cubicBezTo>
                    <a:pt x="1655910" y="366314"/>
                    <a:pt x="1637252" y="319669"/>
                    <a:pt x="1623259" y="340660"/>
                  </a:cubicBezTo>
                  <a:cubicBezTo>
                    <a:pt x="1602268" y="370977"/>
                    <a:pt x="1669904" y="408293"/>
                    <a:pt x="1695558" y="403630"/>
                  </a:cubicBezTo>
                  <a:close/>
                  <a:moveTo>
                    <a:pt x="1436677" y="585548"/>
                  </a:moveTo>
                  <a:cubicBezTo>
                    <a:pt x="1429679" y="601872"/>
                    <a:pt x="1466997" y="585548"/>
                    <a:pt x="1473993" y="587879"/>
                  </a:cubicBezTo>
                  <a:cubicBezTo>
                    <a:pt x="1508977" y="590211"/>
                    <a:pt x="1511309" y="629859"/>
                    <a:pt x="1534631" y="646186"/>
                  </a:cubicBezTo>
                  <a:cubicBezTo>
                    <a:pt x="1541629" y="597209"/>
                    <a:pt x="1478658" y="545897"/>
                    <a:pt x="1436677" y="585548"/>
                  </a:cubicBezTo>
                  <a:close/>
                  <a:moveTo>
                    <a:pt x="1492651" y="513245"/>
                  </a:moveTo>
                  <a:cubicBezTo>
                    <a:pt x="1497316" y="503918"/>
                    <a:pt x="1492651" y="492257"/>
                    <a:pt x="1497316" y="482927"/>
                  </a:cubicBezTo>
                  <a:cubicBezTo>
                    <a:pt x="1501981" y="468934"/>
                    <a:pt x="1515974" y="459605"/>
                    <a:pt x="1513642" y="443277"/>
                  </a:cubicBezTo>
                  <a:cubicBezTo>
                    <a:pt x="1490319" y="445612"/>
                    <a:pt x="1460000" y="494589"/>
                    <a:pt x="1473993" y="510913"/>
                  </a:cubicBezTo>
                  <a:cubicBezTo>
                    <a:pt x="1473993" y="510913"/>
                    <a:pt x="1490319" y="517911"/>
                    <a:pt x="1492651" y="510913"/>
                  </a:cubicBezTo>
                  <a:close/>
                  <a:moveTo>
                    <a:pt x="1623259" y="419954"/>
                  </a:moveTo>
                  <a:cubicBezTo>
                    <a:pt x="1599936" y="412959"/>
                    <a:pt x="1588275" y="468934"/>
                    <a:pt x="1597603" y="478261"/>
                  </a:cubicBezTo>
                  <a:cubicBezTo>
                    <a:pt x="1609264" y="487591"/>
                    <a:pt x="1644248" y="433950"/>
                    <a:pt x="1623259" y="419954"/>
                  </a:cubicBezTo>
                  <a:close/>
                  <a:moveTo>
                    <a:pt x="1434344" y="431616"/>
                  </a:moveTo>
                  <a:cubicBezTo>
                    <a:pt x="1450670" y="433950"/>
                    <a:pt x="1473993" y="373309"/>
                    <a:pt x="1446006" y="380307"/>
                  </a:cubicBezTo>
                  <a:cubicBezTo>
                    <a:pt x="1432013" y="382639"/>
                    <a:pt x="1415686" y="426952"/>
                    <a:pt x="1434344" y="431616"/>
                  </a:cubicBezTo>
                  <a:close/>
                  <a:moveTo>
                    <a:pt x="1420351" y="1168615"/>
                  </a:moveTo>
                  <a:lnTo>
                    <a:pt x="1420351" y="1175610"/>
                  </a:lnTo>
                  <a:cubicBezTo>
                    <a:pt x="1420351" y="1173278"/>
                    <a:pt x="1420351" y="1170946"/>
                    <a:pt x="1420351" y="1168615"/>
                  </a:cubicBezTo>
                  <a:close/>
                  <a:moveTo>
                    <a:pt x="1425016" y="1224587"/>
                  </a:moveTo>
                  <a:lnTo>
                    <a:pt x="1420351" y="1175610"/>
                  </a:lnTo>
                  <a:cubicBezTo>
                    <a:pt x="1420351" y="1194269"/>
                    <a:pt x="1401693" y="1226921"/>
                    <a:pt x="1425016" y="1224587"/>
                  </a:cubicBezTo>
                  <a:close/>
                  <a:moveTo>
                    <a:pt x="1564952" y="954044"/>
                  </a:moveTo>
                  <a:cubicBezTo>
                    <a:pt x="1576613" y="902735"/>
                    <a:pt x="1609264" y="865420"/>
                    <a:pt x="1630255" y="818774"/>
                  </a:cubicBezTo>
                  <a:cubicBezTo>
                    <a:pt x="1583610" y="865420"/>
                    <a:pt x="1543961" y="935388"/>
                    <a:pt x="1546293" y="1003021"/>
                  </a:cubicBezTo>
                  <a:cubicBezTo>
                    <a:pt x="1571949" y="1003021"/>
                    <a:pt x="1560287" y="972703"/>
                    <a:pt x="1564952" y="956376"/>
                  </a:cubicBezTo>
                  <a:close/>
                </a:path>
              </a:pathLst>
            </a:custGeom>
            <a:solidFill>
              <a:schemeClr val="tx1"/>
            </a:solidFill>
            <a:ln w="233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grpSp>
      <p:sp>
        <p:nvSpPr>
          <p:cNvPr id="10" name="TextBox 9">
            <a:extLst>
              <a:ext uri="{FF2B5EF4-FFF2-40B4-BE49-F238E27FC236}">
                <a16:creationId xmlns:a16="http://schemas.microsoft.com/office/drawing/2014/main" id="{E7716AE9-9BDE-61CE-A2F5-B87485E0B1C1}"/>
              </a:ext>
            </a:extLst>
          </p:cNvPr>
          <p:cNvSpPr txBox="1"/>
          <p:nvPr/>
        </p:nvSpPr>
        <p:spPr>
          <a:xfrm>
            <a:off x="7849574" y="199382"/>
            <a:ext cx="6098058" cy="369332"/>
          </a:xfrm>
          <a:prstGeom prst="rect">
            <a:avLst/>
          </a:prstGeom>
          <a:noFill/>
        </p:spPr>
        <p:txBody>
          <a:bodyPr wrap="square">
            <a:spAutoFit/>
          </a:bodyPr>
          <a:lstStyle/>
          <a:p>
            <a:r>
              <a:rPr lang="en-US" dirty="0"/>
              <a:t>Ambiguity is the death of your Agent!</a:t>
            </a:r>
          </a:p>
        </p:txBody>
      </p:sp>
    </p:spTree>
    <p:extLst>
      <p:ext uri="{BB962C8B-B14F-4D97-AF65-F5344CB8AC3E}">
        <p14:creationId xmlns:p14="http://schemas.microsoft.com/office/powerpoint/2010/main" val="7303971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D06C8-F25B-1648-BDF9-1589DE28AAFB}"/>
              </a:ext>
            </a:extLst>
          </p:cNvPr>
          <p:cNvSpPr>
            <a:spLocks noGrp="1"/>
          </p:cNvSpPr>
          <p:nvPr>
            <p:ph type="title"/>
          </p:nvPr>
        </p:nvSpPr>
        <p:spPr/>
        <p:txBody>
          <a:bodyPr/>
          <a:lstStyle/>
          <a:p>
            <a:r>
              <a:rPr lang="en-US" dirty="0"/>
              <a:t>Let’s Solve A Crime with Tools</a:t>
            </a:r>
          </a:p>
        </p:txBody>
      </p:sp>
      <p:sp>
        <p:nvSpPr>
          <p:cNvPr id="3" name="Text Placeholder 2">
            <a:extLst>
              <a:ext uri="{FF2B5EF4-FFF2-40B4-BE49-F238E27FC236}">
                <a16:creationId xmlns:a16="http://schemas.microsoft.com/office/drawing/2014/main" id="{B7892420-6183-7398-C1A2-114BFB7270FE}"/>
              </a:ext>
            </a:extLst>
          </p:cNvPr>
          <p:cNvSpPr>
            <a:spLocks noGrp="1"/>
          </p:cNvSpPr>
          <p:nvPr>
            <p:ph type="body" sz="quarter" idx="10"/>
          </p:nvPr>
        </p:nvSpPr>
        <p:spPr/>
        <p:txBody>
          <a:bodyPr/>
          <a:lstStyle/>
          <a:p>
            <a:r>
              <a:rPr lang="en-US" dirty="0"/>
              <a:t>You are a detective walking into a dimly lit room</a:t>
            </a:r>
          </a:p>
          <a:p>
            <a:r>
              <a:rPr lang="en-US" dirty="0"/>
              <a:t>You have a magnifying glass, fingerprint powder, a notebook, and a cigar.</a:t>
            </a:r>
          </a:p>
          <a:p>
            <a:pPr lvl="1"/>
            <a:r>
              <a:rPr lang="en-US" dirty="0"/>
              <a:t>Do you use all the tools at once? </a:t>
            </a:r>
          </a:p>
          <a:p>
            <a:pPr lvl="1"/>
            <a:r>
              <a:rPr lang="en-US" dirty="0"/>
              <a:t>Do you use one at a time? </a:t>
            </a:r>
          </a:p>
          <a:p>
            <a:pPr lvl="1"/>
            <a:r>
              <a:rPr lang="en-US" dirty="0"/>
              <a:t>How do you know how to use the tool?</a:t>
            </a:r>
            <a:br>
              <a:rPr lang="en-US" dirty="0"/>
            </a:br>
            <a:endParaRPr lang="en-US" dirty="0"/>
          </a:p>
          <a:p>
            <a:r>
              <a:rPr lang="en-US" dirty="0"/>
              <a:t>Just like ML models performed better with more descriptive features, LLMs benefit from added context and information regarding tools, action, and framing the problem.</a:t>
            </a:r>
            <a:br>
              <a:rPr lang="en-US" dirty="0"/>
            </a:br>
            <a:endParaRPr lang="en-US" dirty="0"/>
          </a:p>
          <a:p>
            <a:r>
              <a:rPr lang="en-US" dirty="0"/>
              <a:t>Let’s Play: </a:t>
            </a:r>
            <a:r>
              <a:rPr lang="en-US" dirty="0">
                <a:hlinkClick r:id="rId2"/>
              </a:rPr>
              <a:t>Detective Dr. Agent</a:t>
            </a:r>
            <a:endParaRPr lang="en-US" dirty="0"/>
          </a:p>
        </p:txBody>
      </p:sp>
    </p:spTree>
    <p:extLst>
      <p:ext uri="{BB962C8B-B14F-4D97-AF65-F5344CB8AC3E}">
        <p14:creationId xmlns:p14="http://schemas.microsoft.com/office/powerpoint/2010/main" val="27177771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6F0E91-569A-49D2-78FD-C14241393123}"/>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BAD8900D-D8C8-53D2-FCD4-AB7B3C36C7A8}"/>
              </a:ext>
            </a:extLst>
          </p:cNvPr>
          <p:cNvSpPr txBox="1"/>
          <p:nvPr/>
        </p:nvSpPr>
        <p:spPr>
          <a:xfrm>
            <a:off x="5497033" y="2422435"/>
            <a:ext cx="6093364"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solidFill>
                  <a:srgbClr val="FFFFFF"/>
                </a:solidFill>
                <a:effectLst/>
                <a:uLnTx/>
                <a:uFillTx/>
                <a:latin typeface="Graphik" panose="020B0503030202060203" pitchFamily="34" charset="0"/>
              </a:rPr>
              <a:t>Leadershi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solidFill>
                  <a:srgbClr val="FFFFFF"/>
                </a:solidFill>
                <a:effectLst/>
                <a:uLnTx/>
                <a:uFillTx/>
                <a:latin typeface="Graphik" panose="020B0503030202060203" pitchFamily="34" charset="0"/>
              </a:rPr>
              <a:t>Remarks</a:t>
            </a:r>
          </a:p>
        </p:txBody>
      </p:sp>
    </p:spTree>
    <p:extLst>
      <p:ext uri="{BB962C8B-B14F-4D97-AF65-F5344CB8AC3E}">
        <p14:creationId xmlns:p14="http://schemas.microsoft.com/office/powerpoint/2010/main" val="41225660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AD3A8-CD0D-3D56-F512-D7EB5315B6FD}"/>
              </a:ext>
            </a:extLst>
          </p:cNvPr>
          <p:cNvSpPr>
            <a:spLocks noGrp="1"/>
          </p:cNvSpPr>
          <p:nvPr>
            <p:ph type="title"/>
          </p:nvPr>
        </p:nvSpPr>
        <p:spPr/>
        <p:txBody>
          <a:bodyPr/>
          <a:lstStyle/>
          <a:p>
            <a:r>
              <a:rPr lang="en-US" dirty="0"/>
              <a:t>Mo Tools, Mo Problems?</a:t>
            </a:r>
          </a:p>
        </p:txBody>
      </p:sp>
      <p:sp>
        <p:nvSpPr>
          <p:cNvPr id="3" name="Text Placeholder 2">
            <a:extLst>
              <a:ext uri="{FF2B5EF4-FFF2-40B4-BE49-F238E27FC236}">
                <a16:creationId xmlns:a16="http://schemas.microsoft.com/office/drawing/2014/main" id="{FE6E0339-19B2-FD90-9BEB-A009B88D11E8}"/>
              </a:ext>
            </a:extLst>
          </p:cNvPr>
          <p:cNvSpPr>
            <a:spLocks noGrp="1"/>
          </p:cNvSpPr>
          <p:nvPr>
            <p:ph type="body" sz="quarter" idx="10"/>
          </p:nvPr>
        </p:nvSpPr>
        <p:spPr>
          <a:xfrm>
            <a:off x="202814" y="1230131"/>
            <a:ext cx="5820403" cy="4957763"/>
          </a:xfrm>
        </p:spPr>
        <p:txBody>
          <a:bodyPr/>
          <a:lstStyle/>
          <a:p>
            <a:r>
              <a:rPr lang="en-US" sz="2000" dirty="0"/>
              <a:t>AI Agents suffer from an intriguing paradox that we don’t.</a:t>
            </a:r>
          </a:p>
          <a:p>
            <a:pPr lvl="1"/>
            <a:r>
              <a:rPr lang="en-US" dirty="0"/>
              <a:t>More tools requires many more constraints. </a:t>
            </a:r>
          </a:p>
          <a:p>
            <a:pPr lvl="1"/>
            <a:r>
              <a:rPr lang="en-US" dirty="0"/>
              <a:t>Adding a tool requires defining when and </a:t>
            </a:r>
            <a:r>
              <a:rPr lang="en-US" b="1" i="1" dirty="0"/>
              <a:t>when not</a:t>
            </a:r>
            <a:r>
              <a:rPr lang="en-US" dirty="0"/>
              <a:t> to use the tool.</a:t>
            </a:r>
          </a:p>
          <a:p>
            <a:pPr lvl="1"/>
            <a:r>
              <a:rPr lang="en-US" dirty="0"/>
              <a:t>Giving more tools can make the agent far less effective</a:t>
            </a:r>
          </a:p>
          <a:p>
            <a:pPr lvl="1"/>
            <a:r>
              <a:rPr lang="en-US" dirty="0"/>
              <a:t>More complexity, more potential for ambiguity and more things go wrong.</a:t>
            </a:r>
            <a:br>
              <a:rPr lang="en-US" dirty="0"/>
            </a:br>
            <a:endParaRPr lang="en-US" dirty="0"/>
          </a:p>
          <a:p>
            <a:r>
              <a:rPr lang="en-US" sz="2000" dirty="0"/>
              <a:t>Humans can improvise and repurpose tools, agents operate with strict boundaries.</a:t>
            </a:r>
          </a:p>
        </p:txBody>
      </p:sp>
      <p:grpSp>
        <p:nvGrpSpPr>
          <p:cNvPr id="90" name="Group 89">
            <a:extLst>
              <a:ext uri="{FF2B5EF4-FFF2-40B4-BE49-F238E27FC236}">
                <a16:creationId xmlns:a16="http://schemas.microsoft.com/office/drawing/2014/main" id="{51E0B2BF-6F2F-597E-C5E6-FF1BA79233C4}"/>
              </a:ext>
            </a:extLst>
          </p:cNvPr>
          <p:cNvGrpSpPr/>
          <p:nvPr/>
        </p:nvGrpSpPr>
        <p:grpSpPr>
          <a:xfrm rot="10800000">
            <a:off x="6206835" y="1219219"/>
            <a:ext cx="6244519" cy="3907408"/>
            <a:chOff x="1824298" y="2192479"/>
            <a:chExt cx="8515309" cy="4986269"/>
          </a:xfrm>
        </p:grpSpPr>
        <p:sp>
          <p:nvSpPr>
            <p:cNvPr id="4" name="Freeform 2">
              <a:extLst>
                <a:ext uri="{FF2B5EF4-FFF2-40B4-BE49-F238E27FC236}">
                  <a16:creationId xmlns:a16="http://schemas.microsoft.com/office/drawing/2014/main" id="{673B2BF3-A115-E909-C17E-58859EA7AFEA}"/>
                </a:ext>
              </a:extLst>
            </p:cNvPr>
            <p:cNvSpPr/>
            <p:nvPr/>
          </p:nvSpPr>
          <p:spPr>
            <a:xfrm>
              <a:off x="4364496" y="2192479"/>
              <a:ext cx="4333427" cy="4986269"/>
            </a:xfrm>
            <a:custGeom>
              <a:avLst/>
              <a:gdLst>
                <a:gd name="connsiteX0" fmla="*/ 226644 w 329241"/>
                <a:gd name="connsiteY0" fmla="*/ 53913 h 378842"/>
                <a:gd name="connsiteX1" fmla="*/ 328953 w 329241"/>
                <a:gd name="connsiteY1" fmla="*/ 53913 h 378842"/>
                <a:gd name="connsiteX2" fmla="*/ 328953 w 329241"/>
                <a:gd name="connsiteY2" fmla="*/ 0 h 378842"/>
                <a:gd name="connsiteX3" fmla="*/ 226644 w 329241"/>
                <a:gd name="connsiteY3" fmla="*/ 0 h 378842"/>
                <a:gd name="connsiteX4" fmla="*/ 139406 w 329241"/>
                <a:gd name="connsiteY4" fmla="*/ 71305 h 378842"/>
                <a:gd name="connsiteX5" fmla="*/ 102309 w 329241"/>
                <a:gd name="connsiteY5" fmla="*/ 63188 h 378842"/>
                <a:gd name="connsiteX6" fmla="*/ 0 w 329241"/>
                <a:gd name="connsiteY6" fmla="*/ 63188 h 378842"/>
                <a:gd name="connsiteX7" fmla="*/ 0 w 329241"/>
                <a:gd name="connsiteY7" fmla="*/ 117102 h 378842"/>
                <a:gd name="connsiteX8" fmla="*/ 102309 w 329241"/>
                <a:gd name="connsiteY8" fmla="*/ 117102 h 378842"/>
                <a:gd name="connsiteX9" fmla="*/ 137667 w 329241"/>
                <a:gd name="connsiteY9" fmla="*/ 152464 h 378842"/>
                <a:gd name="connsiteX10" fmla="*/ 137667 w 329241"/>
                <a:gd name="connsiteY10" fmla="*/ 196812 h 378842"/>
                <a:gd name="connsiteX11" fmla="*/ 102309 w 329241"/>
                <a:gd name="connsiteY11" fmla="*/ 189566 h 378842"/>
                <a:gd name="connsiteX12" fmla="*/ 0 w 329241"/>
                <a:gd name="connsiteY12" fmla="*/ 189566 h 378842"/>
                <a:gd name="connsiteX13" fmla="*/ 0 w 329241"/>
                <a:gd name="connsiteY13" fmla="*/ 243479 h 378842"/>
                <a:gd name="connsiteX14" fmla="*/ 102309 w 329241"/>
                <a:gd name="connsiteY14" fmla="*/ 243479 h 378842"/>
                <a:gd name="connsiteX15" fmla="*/ 137667 w 329241"/>
                <a:gd name="connsiteY15" fmla="*/ 278842 h 378842"/>
                <a:gd name="connsiteX16" fmla="*/ 137667 w 329241"/>
                <a:gd name="connsiteY16" fmla="*/ 378842 h 378842"/>
                <a:gd name="connsiteX17" fmla="*/ 191575 w 329241"/>
                <a:gd name="connsiteY17" fmla="*/ 378842 h 378842"/>
                <a:gd name="connsiteX18" fmla="*/ 191575 w 329241"/>
                <a:gd name="connsiteY18" fmla="*/ 215653 h 378842"/>
                <a:gd name="connsiteX19" fmla="*/ 226934 w 329241"/>
                <a:gd name="connsiteY19" fmla="*/ 180290 h 378842"/>
                <a:gd name="connsiteX20" fmla="*/ 329242 w 329241"/>
                <a:gd name="connsiteY20" fmla="*/ 180290 h 378842"/>
                <a:gd name="connsiteX21" fmla="*/ 329242 w 329241"/>
                <a:gd name="connsiteY21" fmla="*/ 126377 h 378842"/>
                <a:gd name="connsiteX22" fmla="*/ 226934 w 329241"/>
                <a:gd name="connsiteY22" fmla="*/ 126377 h 378842"/>
                <a:gd name="connsiteX23" fmla="*/ 191575 w 329241"/>
                <a:gd name="connsiteY23" fmla="*/ 133624 h 378842"/>
                <a:gd name="connsiteX24" fmla="*/ 191575 w 329241"/>
                <a:gd name="connsiteY24" fmla="*/ 89565 h 378842"/>
                <a:gd name="connsiteX25" fmla="*/ 226934 w 329241"/>
                <a:gd name="connsiteY25" fmla="*/ 54203 h 378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9241" h="378842">
                  <a:moveTo>
                    <a:pt x="226644" y="53913"/>
                  </a:moveTo>
                  <a:lnTo>
                    <a:pt x="328953" y="53913"/>
                  </a:lnTo>
                  <a:lnTo>
                    <a:pt x="328953" y="0"/>
                  </a:lnTo>
                  <a:lnTo>
                    <a:pt x="226644" y="0"/>
                  </a:lnTo>
                  <a:cubicBezTo>
                    <a:pt x="183749" y="0"/>
                    <a:pt x="147521" y="30725"/>
                    <a:pt x="139406" y="71305"/>
                  </a:cubicBezTo>
                  <a:cubicBezTo>
                    <a:pt x="128103" y="66087"/>
                    <a:pt x="115351" y="63188"/>
                    <a:pt x="102309" y="63188"/>
                  </a:cubicBezTo>
                  <a:lnTo>
                    <a:pt x="0" y="63188"/>
                  </a:lnTo>
                  <a:lnTo>
                    <a:pt x="0" y="117102"/>
                  </a:lnTo>
                  <a:lnTo>
                    <a:pt x="102309" y="117102"/>
                  </a:lnTo>
                  <a:cubicBezTo>
                    <a:pt x="121727" y="117102"/>
                    <a:pt x="137667" y="133044"/>
                    <a:pt x="137667" y="152464"/>
                  </a:cubicBezTo>
                  <a:lnTo>
                    <a:pt x="137667" y="196812"/>
                  </a:lnTo>
                  <a:cubicBezTo>
                    <a:pt x="126944" y="192175"/>
                    <a:pt x="114771" y="189566"/>
                    <a:pt x="102309" y="189566"/>
                  </a:cubicBezTo>
                  <a:lnTo>
                    <a:pt x="0" y="189566"/>
                  </a:lnTo>
                  <a:lnTo>
                    <a:pt x="0" y="243479"/>
                  </a:lnTo>
                  <a:lnTo>
                    <a:pt x="102309" y="243479"/>
                  </a:lnTo>
                  <a:cubicBezTo>
                    <a:pt x="121727" y="243479"/>
                    <a:pt x="137667" y="259421"/>
                    <a:pt x="137667" y="278842"/>
                  </a:cubicBezTo>
                  <a:lnTo>
                    <a:pt x="137667" y="378842"/>
                  </a:lnTo>
                  <a:lnTo>
                    <a:pt x="191575" y="378842"/>
                  </a:lnTo>
                  <a:lnTo>
                    <a:pt x="191575" y="215653"/>
                  </a:lnTo>
                  <a:cubicBezTo>
                    <a:pt x="191575" y="196233"/>
                    <a:pt x="207515" y="180290"/>
                    <a:pt x="226934" y="180290"/>
                  </a:cubicBezTo>
                  <a:lnTo>
                    <a:pt x="329242" y="180290"/>
                  </a:lnTo>
                  <a:lnTo>
                    <a:pt x="329242" y="126377"/>
                  </a:lnTo>
                  <a:lnTo>
                    <a:pt x="226934" y="126377"/>
                  </a:lnTo>
                  <a:cubicBezTo>
                    <a:pt x="214471" y="126377"/>
                    <a:pt x="202299" y="128986"/>
                    <a:pt x="191575" y="133624"/>
                  </a:cubicBezTo>
                  <a:lnTo>
                    <a:pt x="191575" y="89565"/>
                  </a:lnTo>
                  <a:cubicBezTo>
                    <a:pt x="191575" y="70145"/>
                    <a:pt x="207515" y="54203"/>
                    <a:pt x="226934" y="54203"/>
                  </a:cubicBezTo>
                  <a:close/>
                </a:path>
              </a:pathLst>
            </a:custGeom>
            <a:solidFill>
              <a:schemeClr val="bg1">
                <a:lumMod val="65000"/>
              </a:scheme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grpSp>
          <p:nvGrpSpPr>
            <p:cNvPr id="5" name="Graphic 5">
              <a:extLst>
                <a:ext uri="{FF2B5EF4-FFF2-40B4-BE49-F238E27FC236}">
                  <a16:creationId xmlns:a16="http://schemas.microsoft.com/office/drawing/2014/main" id="{BEBEF89A-601B-179D-386E-1419F3DD6963}"/>
                </a:ext>
              </a:extLst>
            </p:cNvPr>
            <p:cNvGrpSpPr/>
            <p:nvPr/>
          </p:nvGrpSpPr>
          <p:grpSpPr>
            <a:xfrm>
              <a:off x="4360679" y="2513635"/>
              <a:ext cx="4333440" cy="4642915"/>
              <a:chOff x="8709360" y="3273347"/>
              <a:chExt cx="329242" cy="352755"/>
            </a:xfrm>
            <a:solidFill>
              <a:schemeClr val="bg1"/>
            </a:solidFill>
          </p:grpSpPr>
          <p:sp>
            <p:nvSpPr>
              <p:cNvPr id="6" name="Freeform 5">
                <a:extLst>
                  <a:ext uri="{FF2B5EF4-FFF2-40B4-BE49-F238E27FC236}">
                    <a16:creationId xmlns:a16="http://schemas.microsoft.com/office/drawing/2014/main" id="{1DB9ECCE-C1D4-2013-52C7-67E523E96D47}"/>
                  </a:ext>
                </a:extLst>
              </p:cNvPr>
              <p:cNvSpPr/>
              <p:nvPr/>
            </p:nvSpPr>
            <p:spPr>
              <a:xfrm>
                <a:off x="8876589" y="3307550"/>
                <a:ext cx="5796" cy="8405"/>
              </a:xfrm>
              <a:custGeom>
                <a:avLst/>
                <a:gdLst>
                  <a:gd name="connsiteX0" fmla="*/ 5507 w 5796"/>
                  <a:gd name="connsiteY0" fmla="*/ 1159 h 8405"/>
                  <a:gd name="connsiteX1" fmla="*/ 3188 w 5796"/>
                  <a:gd name="connsiteY1" fmla="*/ 0 h 8405"/>
                  <a:gd name="connsiteX2" fmla="*/ 0 w 5796"/>
                  <a:gd name="connsiteY2" fmla="*/ 7536 h 8405"/>
                  <a:gd name="connsiteX3" fmla="*/ 2609 w 5796"/>
                  <a:gd name="connsiteY3" fmla="*/ 8406 h 8405"/>
                  <a:gd name="connsiteX4" fmla="*/ 5797 w 5796"/>
                  <a:gd name="connsiteY4" fmla="*/ 1449 h 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6" h="8405">
                    <a:moveTo>
                      <a:pt x="5507" y="1159"/>
                    </a:moveTo>
                    <a:lnTo>
                      <a:pt x="3188" y="0"/>
                    </a:lnTo>
                    <a:cubicBezTo>
                      <a:pt x="2029" y="2319"/>
                      <a:pt x="870" y="4927"/>
                      <a:pt x="0" y="7536"/>
                    </a:cubicBezTo>
                    <a:lnTo>
                      <a:pt x="2609" y="8406"/>
                    </a:lnTo>
                    <a:cubicBezTo>
                      <a:pt x="3478" y="6087"/>
                      <a:pt x="4637" y="3478"/>
                      <a:pt x="5797" y="1449"/>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7" name="Freeform 6">
                <a:extLst>
                  <a:ext uri="{FF2B5EF4-FFF2-40B4-BE49-F238E27FC236}">
                    <a16:creationId xmlns:a16="http://schemas.microsoft.com/office/drawing/2014/main" id="{30C1E28E-4328-FF10-6CD0-63ABDB86E77C}"/>
                  </a:ext>
                </a:extLst>
              </p:cNvPr>
              <p:cNvSpPr/>
              <p:nvPr/>
            </p:nvSpPr>
            <p:spPr>
              <a:xfrm>
                <a:off x="8971073" y="3273347"/>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8" name="Freeform 7">
                <a:extLst>
                  <a:ext uri="{FF2B5EF4-FFF2-40B4-BE49-F238E27FC236}">
                    <a16:creationId xmlns:a16="http://schemas.microsoft.com/office/drawing/2014/main" id="{4A82DC19-9D4D-DF4F-2B2B-113E294E492B}"/>
                  </a:ext>
                </a:extLst>
              </p:cNvPr>
              <p:cNvSpPr/>
              <p:nvPr/>
            </p:nvSpPr>
            <p:spPr>
              <a:xfrm>
                <a:off x="8955422" y="3273347"/>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9" name="Freeform 8">
                <a:extLst>
                  <a:ext uri="{FF2B5EF4-FFF2-40B4-BE49-F238E27FC236}">
                    <a16:creationId xmlns:a16="http://schemas.microsoft.com/office/drawing/2014/main" id="{8F471B10-1A78-CD78-B7D5-D895E7E256F9}"/>
                  </a:ext>
                </a:extLst>
              </p:cNvPr>
              <p:cNvSpPr/>
              <p:nvPr/>
            </p:nvSpPr>
            <p:spPr>
              <a:xfrm>
                <a:off x="8883835" y="3294217"/>
                <a:ext cx="6956" cy="7825"/>
              </a:xfrm>
              <a:custGeom>
                <a:avLst/>
                <a:gdLst>
                  <a:gd name="connsiteX0" fmla="*/ 6956 w 6956"/>
                  <a:gd name="connsiteY0" fmla="*/ 1739 h 7825"/>
                  <a:gd name="connsiteX1" fmla="*/ 4928 w 6956"/>
                  <a:gd name="connsiteY1" fmla="*/ 0 h 7825"/>
                  <a:gd name="connsiteX2" fmla="*/ 0 w 6956"/>
                  <a:gd name="connsiteY2" fmla="*/ 6377 h 7825"/>
                  <a:gd name="connsiteX3" fmla="*/ 2029 w 6956"/>
                  <a:gd name="connsiteY3" fmla="*/ 7826 h 7825"/>
                  <a:gd name="connsiteX4" fmla="*/ 6956 w 6956"/>
                  <a:gd name="connsiteY4" fmla="*/ 1739 h 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 h="7825">
                    <a:moveTo>
                      <a:pt x="6956" y="1739"/>
                    </a:moveTo>
                    <a:lnTo>
                      <a:pt x="4928" y="0"/>
                    </a:lnTo>
                    <a:cubicBezTo>
                      <a:pt x="3188" y="2029"/>
                      <a:pt x="1449" y="4058"/>
                      <a:pt x="0" y="6377"/>
                    </a:cubicBezTo>
                    <a:lnTo>
                      <a:pt x="2029" y="7826"/>
                    </a:lnTo>
                    <a:cubicBezTo>
                      <a:pt x="3478" y="5797"/>
                      <a:pt x="5217" y="3768"/>
                      <a:pt x="6956" y="1739"/>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10" name="Freeform 9">
                <a:extLst>
                  <a:ext uri="{FF2B5EF4-FFF2-40B4-BE49-F238E27FC236}">
                    <a16:creationId xmlns:a16="http://schemas.microsoft.com/office/drawing/2014/main" id="{24E7BDF8-CCBD-B673-E854-12CECD378BFA}"/>
                  </a:ext>
                </a:extLst>
              </p:cNvPr>
              <p:cNvSpPr/>
              <p:nvPr/>
            </p:nvSpPr>
            <p:spPr>
              <a:xfrm>
                <a:off x="8923542" y="3273347"/>
                <a:ext cx="8114" cy="3768"/>
              </a:xfrm>
              <a:custGeom>
                <a:avLst/>
                <a:gdLst>
                  <a:gd name="connsiteX0" fmla="*/ 8115 w 8114"/>
                  <a:gd name="connsiteY0" fmla="*/ 2609 h 3768"/>
                  <a:gd name="connsiteX1" fmla="*/ 8115 w 8114"/>
                  <a:gd name="connsiteY1" fmla="*/ 0 h 3768"/>
                  <a:gd name="connsiteX2" fmla="*/ 0 w 8114"/>
                  <a:gd name="connsiteY2" fmla="*/ 1159 h 3768"/>
                  <a:gd name="connsiteX3" fmla="*/ 580 w 8114"/>
                  <a:gd name="connsiteY3" fmla="*/ 3768 h 3768"/>
                  <a:gd name="connsiteX4" fmla="*/ 8115 w 8114"/>
                  <a:gd name="connsiteY4" fmla="*/ 2609 h 3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 h="3768">
                    <a:moveTo>
                      <a:pt x="8115" y="2609"/>
                    </a:moveTo>
                    <a:lnTo>
                      <a:pt x="8115" y="0"/>
                    </a:lnTo>
                    <a:cubicBezTo>
                      <a:pt x="5216" y="0"/>
                      <a:pt x="2608" y="580"/>
                      <a:pt x="0" y="1159"/>
                    </a:cubicBezTo>
                    <a:lnTo>
                      <a:pt x="580" y="3768"/>
                    </a:lnTo>
                    <a:cubicBezTo>
                      <a:pt x="3188" y="3189"/>
                      <a:pt x="5797" y="2899"/>
                      <a:pt x="8115" y="2609"/>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11" name="Freeform 10">
                <a:extLst>
                  <a:ext uri="{FF2B5EF4-FFF2-40B4-BE49-F238E27FC236}">
                    <a16:creationId xmlns:a16="http://schemas.microsoft.com/office/drawing/2014/main" id="{DF37EB72-58E9-5D39-C396-3557F3E4867F}"/>
                  </a:ext>
                </a:extLst>
              </p:cNvPr>
              <p:cNvSpPr/>
              <p:nvPr/>
            </p:nvSpPr>
            <p:spPr>
              <a:xfrm>
                <a:off x="8894848" y="3283782"/>
                <a:ext cx="7825" cy="6956"/>
              </a:xfrm>
              <a:custGeom>
                <a:avLst/>
                <a:gdLst>
                  <a:gd name="connsiteX0" fmla="*/ 7825 w 7825"/>
                  <a:gd name="connsiteY0" fmla="*/ 2319 h 6956"/>
                  <a:gd name="connsiteX1" fmla="*/ 6376 w 7825"/>
                  <a:gd name="connsiteY1" fmla="*/ 0 h 6956"/>
                  <a:gd name="connsiteX2" fmla="*/ 0 w 7825"/>
                  <a:gd name="connsiteY2" fmla="*/ 4927 h 6956"/>
                  <a:gd name="connsiteX3" fmla="*/ 1739 w 7825"/>
                  <a:gd name="connsiteY3" fmla="*/ 6956 h 6956"/>
                  <a:gd name="connsiteX4" fmla="*/ 7825 w 7825"/>
                  <a:gd name="connsiteY4" fmla="*/ 2319 h 6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5" h="6956">
                    <a:moveTo>
                      <a:pt x="7825" y="2319"/>
                    </a:moveTo>
                    <a:lnTo>
                      <a:pt x="6376" y="0"/>
                    </a:lnTo>
                    <a:cubicBezTo>
                      <a:pt x="4058" y="1449"/>
                      <a:pt x="2029" y="3188"/>
                      <a:pt x="0" y="4927"/>
                    </a:cubicBezTo>
                    <a:lnTo>
                      <a:pt x="1739" y="6956"/>
                    </a:lnTo>
                    <a:cubicBezTo>
                      <a:pt x="3768" y="5217"/>
                      <a:pt x="5797" y="3768"/>
                      <a:pt x="7825" y="2319"/>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12" name="Freeform 11">
                <a:extLst>
                  <a:ext uri="{FF2B5EF4-FFF2-40B4-BE49-F238E27FC236}">
                    <a16:creationId xmlns:a16="http://schemas.microsoft.com/office/drawing/2014/main" id="{849D57E1-5741-48CD-2A32-E376798B5588}"/>
                  </a:ext>
                </a:extLst>
              </p:cNvPr>
              <p:cNvSpPr/>
              <p:nvPr/>
            </p:nvSpPr>
            <p:spPr>
              <a:xfrm>
                <a:off x="8939482" y="3273347"/>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13" name="Freeform 12">
                <a:extLst>
                  <a:ext uri="{FF2B5EF4-FFF2-40B4-BE49-F238E27FC236}">
                    <a16:creationId xmlns:a16="http://schemas.microsoft.com/office/drawing/2014/main" id="{BF5BE39A-3708-C3F1-7A25-60066B2BAEAC}"/>
                  </a:ext>
                </a:extLst>
              </p:cNvPr>
              <p:cNvSpPr/>
              <p:nvPr/>
            </p:nvSpPr>
            <p:spPr>
              <a:xfrm>
                <a:off x="8908181" y="3276536"/>
                <a:ext cx="8404" cy="5506"/>
              </a:xfrm>
              <a:custGeom>
                <a:avLst/>
                <a:gdLst>
                  <a:gd name="connsiteX0" fmla="*/ 8405 w 8404"/>
                  <a:gd name="connsiteY0" fmla="*/ 2608 h 5506"/>
                  <a:gd name="connsiteX1" fmla="*/ 7535 w 8404"/>
                  <a:gd name="connsiteY1" fmla="*/ 0 h 5506"/>
                  <a:gd name="connsiteX2" fmla="*/ 0 w 8404"/>
                  <a:gd name="connsiteY2" fmla="*/ 3188 h 5506"/>
                  <a:gd name="connsiteX3" fmla="*/ 1159 w 8404"/>
                  <a:gd name="connsiteY3" fmla="*/ 5507 h 5506"/>
                  <a:gd name="connsiteX4" fmla="*/ 8405 w 8404"/>
                  <a:gd name="connsiteY4" fmla="*/ 2608 h 5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4" h="5506">
                    <a:moveTo>
                      <a:pt x="8405" y="2608"/>
                    </a:moveTo>
                    <a:lnTo>
                      <a:pt x="7535" y="0"/>
                    </a:lnTo>
                    <a:cubicBezTo>
                      <a:pt x="4927" y="869"/>
                      <a:pt x="2608" y="2029"/>
                      <a:pt x="0" y="3188"/>
                    </a:cubicBezTo>
                    <a:lnTo>
                      <a:pt x="1159" y="5507"/>
                    </a:lnTo>
                    <a:cubicBezTo>
                      <a:pt x="3478" y="4348"/>
                      <a:pt x="5797" y="3478"/>
                      <a:pt x="8405" y="260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14" name="Freeform 13">
                <a:extLst>
                  <a:ext uri="{FF2B5EF4-FFF2-40B4-BE49-F238E27FC236}">
                    <a16:creationId xmlns:a16="http://schemas.microsoft.com/office/drawing/2014/main" id="{AE91604E-4D28-A990-0E5E-865B75BBE067}"/>
                  </a:ext>
                </a:extLst>
              </p:cNvPr>
              <p:cNvSpPr/>
              <p:nvPr/>
            </p:nvSpPr>
            <p:spPr>
              <a:xfrm>
                <a:off x="8872532" y="3354507"/>
                <a:ext cx="2608" cy="7826"/>
              </a:xfrm>
              <a:custGeom>
                <a:avLst/>
                <a:gdLst>
                  <a:gd name="connsiteX0" fmla="*/ 0 w 2608"/>
                  <a:gd name="connsiteY0" fmla="*/ 0 h 7826"/>
                  <a:gd name="connsiteX1" fmla="*/ 2608 w 2608"/>
                  <a:gd name="connsiteY1" fmla="*/ 0 h 7826"/>
                  <a:gd name="connsiteX2" fmla="*/ 2608 w 2608"/>
                  <a:gd name="connsiteY2" fmla="*/ 7826 h 7826"/>
                  <a:gd name="connsiteX3" fmla="*/ 0 w 2608"/>
                  <a:gd name="connsiteY3" fmla="*/ 7826 h 7826"/>
                </a:gdLst>
                <a:ahLst/>
                <a:cxnLst>
                  <a:cxn ang="0">
                    <a:pos x="connsiteX0" y="connsiteY0"/>
                  </a:cxn>
                  <a:cxn ang="0">
                    <a:pos x="connsiteX1" y="connsiteY1"/>
                  </a:cxn>
                  <a:cxn ang="0">
                    <a:pos x="connsiteX2" y="connsiteY2"/>
                  </a:cxn>
                  <a:cxn ang="0">
                    <a:pos x="connsiteX3" y="connsiteY3"/>
                  </a:cxn>
                </a:cxnLst>
                <a:rect l="l" t="t" r="r" b="b"/>
                <a:pathLst>
                  <a:path w="2608" h="7826">
                    <a:moveTo>
                      <a:pt x="0" y="0"/>
                    </a:moveTo>
                    <a:lnTo>
                      <a:pt x="2608" y="0"/>
                    </a:lnTo>
                    <a:lnTo>
                      <a:pt x="2608" y="7826"/>
                    </a:lnTo>
                    <a:lnTo>
                      <a:pt x="0" y="7826"/>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15" name="Freeform 14">
                <a:extLst>
                  <a:ext uri="{FF2B5EF4-FFF2-40B4-BE49-F238E27FC236}">
                    <a16:creationId xmlns:a16="http://schemas.microsoft.com/office/drawing/2014/main" id="{ED658E31-1407-5D7B-E1CE-0792DF6A3978}"/>
                  </a:ext>
                </a:extLst>
              </p:cNvPr>
              <p:cNvSpPr/>
              <p:nvPr/>
            </p:nvSpPr>
            <p:spPr>
              <a:xfrm>
                <a:off x="9018604" y="3273347"/>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16" name="Freeform 15">
                <a:extLst>
                  <a:ext uri="{FF2B5EF4-FFF2-40B4-BE49-F238E27FC236}">
                    <a16:creationId xmlns:a16="http://schemas.microsoft.com/office/drawing/2014/main" id="{81216945-267F-28A0-9A0F-93402842DC18}"/>
                  </a:ext>
                </a:extLst>
              </p:cNvPr>
              <p:cNvSpPr/>
              <p:nvPr/>
            </p:nvSpPr>
            <p:spPr>
              <a:xfrm>
                <a:off x="8987013" y="3273347"/>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17" name="Freeform 16">
                <a:extLst>
                  <a:ext uri="{FF2B5EF4-FFF2-40B4-BE49-F238E27FC236}">
                    <a16:creationId xmlns:a16="http://schemas.microsoft.com/office/drawing/2014/main" id="{01B7D7D2-AEAE-3E13-AC2F-186967F1B5DE}"/>
                  </a:ext>
                </a:extLst>
              </p:cNvPr>
              <p:cNvSpPr/>
              <p:nvPr/>
            </p:nvSpPr>
            <p:spPr>
              <a:xfrm>
                <a:off x="8872532" y="3370449"/>
                <a:ext cx="2608" cy="7826"/>
              </a:xfrm>
              <a:custGeom>
                <a:avLst/>
                <a:gdLst>
                  <a:gd name="connsiteX0" fmla="*/ 0 w 2608"/>
                  <a:gd name="connsiteY0" fmla="*/ 0 h 7826"/>
                  <a:gd name="connsiteX1" fmla="*/ 2608 w 2608"/>
                  <a:gd name="connsiteY1" fmla="*/ 0 h 7826"/>
                  <a:gd name="connsiteX2" fmla="*/ 2608 w 2608"/>
                  <a:gd name="connsiteY2" fmla="*/ 7826 h 7826"/>
                  <a:gd name="connsiteX3" fmla="*/ 0 w 2608"/>
                  <a:gd name="connsiteY3" fmla="*/ 7826 h 7826"/>
                </a:gdLst>
                <a:ahLst/>
                <a:cxnLst>
                  <a:cxn ang="0">
                    <a:pos x="connsiteX0" y="connsiteY0"/>
                  </a:cxn>
                  <a:cxn ang="0">
                    <a:pos x="connsiteX1" y="connsiteY1"/>
                  </a:cxn>
                  <a:cxn ang="0">
                    <a:pos x="connsiteX2" y="connsiteY2"/>
                  </a:cxn>
                  <a:cxn ang="0">
                    <a:pos x="connsiteX3" y="connsiteY3"/>
                  </a:cxn>
                </a:cxnLst>
                <a:rect l="l" t="t" r="r" b="b"/>
                <a:pathLst>
                  <a:path w="2608" h="7826">
                    <a:moveTo>
                      <a:pt x="0" y="0"/>
                    </a:moveTo>
                    <a:lnTo>
                      <a:pt x="2608" y="0"/>
                    </a:lnTo>
                    <a:lnTo>
                      <a:pt x="2608" y="7826"/>
                    </a:lnTo>
                    <a:lnTo>
                      <a:pt x="0" y="7826"/>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18" name="Freeform 17">
                <a:extLst>
                  <a:ext uri="{FF2B5EF4-FFF2-40B4-BE49-F238E27FC236}">
                    <a16:creationId xmlns:a16="http://schemas.microsoft.com/office/drawing/2014/main" id="{19A67CAB-A888-1534-72BD-040901E3EC12}"/>
                  </a:ext>
                </a:extLst>
              </p:cNvPr>
              <p:cNvSpPr/>
              <p:nvPr/>
            </p:nvSpPr>
            <p:spPr>
              <a:xfrm>
                <a:off x="8872822" y="3322622"/>
                <a:ext cx="3767" cy="8116"/>
              </a:xfrm>
              <a:custGeom>
                <a:avLst/>
                <a:gdLst>
                  <a:gd name="connsiteX0" fmla="*/ 3767 w 3767"/>
                  <a:gd name="connsiteY0" fmla="*/ 580 h 8116"/>
                  <a:gd name="connsiteX1" fmla="*/ 1159 w 3767"/>
                  <a:gd name="connsiteY1" fmla="*/ 0 h 8116"/>
                  <a:gd name="connsiteX2" fmla="*/ 0 w 3767"/>
                  <a:gd name="connsiteY2" fmla="*/ 8116 h 8116"/>
                  <a:gd name="connsiteX3" fmla="*/ 2608 w 3767"/>
                  <a:gd name="connsiteY3" fmla="*/ 8116 h 8116"/>
                  <a:gd name="connsiteX4" fmla="*/ 3767 w 3767"/>
                  <a:gd name="connsiteY4" fmla="*/ 580 h 8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7" h="8116">
                    <a:moveTo>
                      <a:pt x="3767" y="580"/>
                    </a:moveTo>
                    <a:lnTo>
                      <a:pt x="1159" y="0"/>
                    </a:lnTo>
                    <a:cubicBezTo>
                      <a:pt x="580" y="2609"/>
                      <a:pt x="0" y="5218"/>
                      <a:pt x="0" y="8116"/>
                    </a:cubicBezTo>
                    <a:lnTo>
                      <a:pt x="2608" y="8116"/>
                    </a:lnTo>
                    <a:cubicBezTo>
                      <a:pt x="2608" y="5797"/>
                      <a:pt x="3188" y="3189"/>
                      <a:pt x="3767" y="580"/>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19" name="Freeform 18">
                <a:extLst>
                  <a:ext uri="{FF2B5EF4-FFF2-40B4-BE49-F238E27FC236}">
                    <a16:creationId xmlns:a16="http://schemas.microsoft.com/office/drawing/2014/main" id="{83B213FD-7B24-0653-BED9-A07EBB95A389}"/>
                  </a:ext>
                </a:extLst>
              </p:cNvPr>
              <p:cNvSpPr/>
              <p:nvPr/>
            </p:nvSpPr>
            <p:spPr>
              <a:xfrm>
                <a:off x="9002954" y="3273347"/>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0" name="Freeform 19">
                <a:extLst>
                  <a:ext uri="{FF2B5EF4-FFF2-40B4-BE49-F238E27FC236}">
                    <a16:creationId xmlns:a16="http://schemas.microsoft.com/office/drawing/2014/main" id="{BBC9F25B-1A0D-26E9-7384-EBC2CA51C40C}"/>
                  </a:ext>
                </a:extLst>
              </p:cNvPr>
              <p:cNvSpPr/>
              <p:nvPr/>
            </p:nvSpPr>
            <p:spPr>
              <a:xfrm>
                <a:off x="8872532" y="3338854"/>
                <a:ext cx="2608" cy="7826"/>
              </a:xfrm>
              <a:custGeom>
                <a:avLst/>
                <a:gdLst>
                  <a:gd name="connsiteX0" fmla="*/ 0 w 2608"/>
                  <a:gd name="connsiteY0" fmla="*/ 0 h 7826"/>
                  <a:gd name="connsiteX1" fmla="*/ 2608 w 2608"/>
                  <a:gd name="connsiteY1" fmla="*/ 0 h 7826"/>
                  <a:gd name="connsiteX2" fmla="*/ 2608 w 2608"/>
                  <a:gd name="connsiteY2" fmla="*/ 7826 h 7826"/>
                  <a:gd name="connsiteX3" fmla="*/ 0 w 2608"/>
                  <a:gd name="connsiteY3" fmla="*/ 7826 h 7826"/>
                </a:gdLst>
                <a:ahLst/>
                <a:cxnLst>
                  <a:cxn ang="0">
                    <a:pos x="connsiteX0" y="connsiteY0"/>
                  </a:cxn>
                  <a:cxn ang="0">
                    <a:pos x="connsiteX1" y="connsiteY1"/>
                  </a:cxn>
                  <a:cxn ang="0">
                    <a:pos x="connsiteX2" y="connsiteY2"/>
                  </a:cxn>
                  <a:cxn ang="0">
                    <a:pos x="connsiteX3" y="connsiteY3"/>
                  </a:cxn>
                </a:cxnLst>
                <a:rect l="l" t="t" r="r" b="b"/>
                <a:pathLst>
                  <a:path w="2608" h="7826">
                    <a:moveTo>
                      <a:pt x="0" y="0"/>
                    </a:moveTo>
                    <a:lnTo>
                      <a:pt x="2608" y="0"/>
                    </a:lnTo>
                    <a:lnTo>
                      <a:pt x="2608" y="7826"/>
                    </a:lnTo>
                    <a:lnTo>
                      <a:pt x="0" y="7826"/>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1" name="Freeform 20">
                <a:extLst>
                  <a:ext uri="{FF2B5EF4-FFF2-40B4-BE49-F238E27FC236}">
                    <a16:creationId xmlns:a16="http://schemas.microsoft.com/office/drawing/2014/main" id="{763D66E7-9262-A64C-EE18-B0717BD1EE1F}"/>
                  </a:ext>
                </a:extLst>
              </p:cNvPr>
              <p:cNvSpPr/>
              <p:nvPr/>
            </p:nvSpPr>
            <p:spPr>
              <a:xfrm>
                <a:off x="9034545" y="3273347"/>
                <a:ext cx="4057" cy="2608"/>
              </a:xfrm>
              <a:custGeom>
                <a:avLst/>
                <a:gdLst>
                  <a:gd name="connsiteX0" fmla="*/ 0 w 4057"/>
                  <a:gd name="connsiteY0" fmla="*/ 0 h 2608"/>
                  <a:gd name="connsiteX1" fmla="*/ 4057 w 4057"/>
                  <a:gd name="connsiteY1" fmla="*/ 0 h 2608"/>
                  <a:gd name="connsiteX2" fmla="*/ 4057 w 4057"/>
                  <a:gd name="connsiteY2" fmla="*/ 2609 h 2608"/>
                  <a:gd name="connsiteX3" fmla="*/ 0 w 4057"/>
                  <a:gd name="connsiteY3" fmla="*/ 2609 h 2608"/>
                </a:gdLst>
                <a:ahLst/>
                <a:cxnLst>
                  <a:cxn ang="0">
                    <a:pos x="connsiteX0" y="connsiteY0"/>
                  </a:cxn>
                  <a:cxn ang="0">
                    <a:pos x="connsiteX1" y="connsiteY1"/>
                  </a:cxn>
                  <a:cxn ang="0">
                    <a:pos x="connsiteX2" y="connsiteY2"/>
                  </a:cxn>
                  <a:cxn ang="0">
                    <a:pos x="connsiteX3" y="connsiteY3"/>
                  </a:cxn>
                </a:cxnLst>
                <a:rect l="l" t="t" r="r" b="b"/>
                <a:pathLst>
                  <a:path w="4057" h="2608">
                    <a:moveTo>
                      <a:pt x="0" y="0"/>
                    </a:moveTo>
                    <a:lnTo>
                      <a:pt x="4057" y="0"/>
                    </a:lnTo>
                    <a:lnTo>
                      <a:pt x="4057"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2" name="Freeform 21">
                <a:extLst>
                  <a:ext uri="{FF2B5EF4-FFF2-40B4-BE49-F238E27FC236}">
                    <a16:creationId xmlns:a16="http://schemas.microsoft.com/office/drawing/2014/main" id="{D78622CE-050A-3C22-498C-639AB23E1E79}"/>
                  </a:ext>
                </a:extLst>
              </p:cNvPr>
              <p:cNvSpPr/>
              <p:nvPr/>
            </p:nvSpPr>
            <p:spPr>
              <a:xfrm>
                <a:off x="8709360" y="3336246"/>
                <a:ext cx="4057" cy="2608"/>
              </a:xfrm>
              <a:custGeom>
                <a:avLst/>
                <a:gdLst>
                  <a:gd name="connsiteX0" fmla="*/ 0 w 4057"/>
                  <a:gd name="connsiteY0" fmla="*/ 0 h 2608"/>
                  <a:gd name="connsiteX1" fmla="*/ 4057 w 4057"/>
                  <a:gd name="connsiteY1" fmla="*/ 0 h 2608"/>
                  <a:gd name="connsiteX2" fmla="*/ 4057 w 4057"/>
                  <a:gd name="connsiteY2" fmla="*/ 2609 h 2608"/>
                  <a:gd name="connsiteX3" fmla="*/ 0 w 4057"/>
                  <a:gd name="connsiteY3" fmla="*/ 2609 h 2608"/>
                </a:gdLst>
                <a:ahLst/>
                <a:cxnLst>
                  <a:cxn ang="0">
                    <a:pos x="connsiteX0" y="connsiteY0"/>
                  </a:cxn>
                  <a:cxn ang="0">
                    <a:pos x="connsiteX1" y="connsiteY1"/>
                  </a:cxn>
                  <a:cxn ang="0">
                    <a:pos x="connsiteX2" y="connsiteY2"/>
                  </a:cxn>
                  <a:cxn ang="0">
                    <a:pos x="connsiteX3" y="connsiteY3"/>
                  </a:cxn>
                </a:cxnLst>
                <a:rect l="l" t="t" r="r" b="b"/>
                <a:pathLst>
                  <a:path w="4057" h="2608">
                    <a:moveTo>
                      <a:pt x="0" y="0"/>
                    </a:moveTo>
                    <a:lnTo>
                      <a:pt x="4057" y="0"/>
                    </a:lnTo>
                    <a:lnTo>
                      <a:pt x="4057"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3" name="Freeform 22">
                <a:extLst>
                  <a:ext uri="{FF2B5EF4-FFF2-40B4-BE49-F238E27FC236}">
                    <a16:creationId xmlns:a16="http://schemas.microsoft.com/office/drawing/2014/main" id="{46FCEF06-A6DF-1E5E-A4A0-CCBBBF8094BA}"/>
                  </a:ext>
                </a:extLst>
              </p:cNvPr>
              <p:cNvSpPr/>
              <p:nvPr/>
            </p:nvSpPr>
            <p:spPr>
              <a:xfrm>
                <a:off x="8753414" y="3336246"/>
                <a:ext cx="8115" cy="2608"/>
              </a:xfrm>
              <a:custGeom>
                <a:avLst/>
                <a:gdLst>
                  <a:gd name="connsiteX0" fmla="*/ 0 w 8115"/>
                  <a:gd name="connsiteY0" fmla="*/ 0 h 2608"/>
                  <a:gd name="connsiteX1" fmla="*/ 8115 w 8115"/>
                  <a:gd name="connsiteY1" fmla="*/ 0 h 2608"/>
                  <a:gd name="connsiteX2" fmla="*/ 8115 w 8115"/>
                  <a:gd name="connsiteY2" fmla="*/ 2609 h 2608"/>
                  <a:gd name="connsiteX3" fmla="*/ 0 w 8115"/>
                  <a:gd name="connsiteY3" fmla="*/ 2609 h 2608"/>
                </a:gdLst>
                <a:ahLst/>
                <a:cxnLst>
                  <a:cxn ang="0">
                    <a:pos x="connsiteX0" y="connsiteY0"/>
                  </a:cxn>
                  <a:cxn ang="0">
                    <a:pos x="connsiteX1" y="connsiteY1"/>
                  </a:cxn>
                  <a:cxn ang="0">
                    <a:pos x="connsiteX2" y="connsiteY2"/>
                  </a:cxn>
                  <a:cxn ang="0">
                    <a:pos x="connsiteX3" y="connsiteY3"/>
                  </a:cxn>
                </a:cxnLst>
                <a:rect l="l" t="t" r="r" b="b"/>
                <a:pathLst>
                  <a:path w="8115" h="2608">
                    <a:moveTo>
                      <a:pt x="0" y="0"/>
                    </a:moveTo>
                    <a:lnTo>
                      <a:pt x="8115" y="0"/>
                    </a:lnTo>
                    <a:lnTo>
                      <a:pt x="811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4" name="Freeform 23">
                <a:extLst>
                  <a:ext uri="{FF2B5EF4-FFF2-40B4-BE49-F238E27FC236}">
                    <a16:creationId xmlns:a16="http://schemas.microsoft.com/office/drawing/2014/main" id="{7D17CC44-CF02-94BC-DC61-8DCBB7094341}"/>
                  </a:ext>
                </a:extLst>
              </p:cNvPr>
              <p:cNvSpPr/>
              <p:nvPr/>
            </p:nvSpPr>
            <p:spPr>
              <a:xfrm>
                <a:off x="8817465" y="3336536"/>
                <a:ext cx="8404" cy="3768"/>
              </a:xfrm>
              <a:custGeom>
                <a:avLst/>
                <a:gdLst>
                  <a:gd name="connsiteX0" fmla="*/ 0 w 8404"/>
                  <a:gd name="connsiteY0" fmla="*/ 2609 h 3768"/>
                  <a:gd name="connsiteX1" fmla="*/ 7825 w 8404"/>
                  <a:gd name="connsiteY1" fmla="*/ 3768 h 3768"/>
                  <a:gd name="connsiteX2" fmla="*/ 8405 w 8404"/>
                  <a:gd name="connsiteY2" fmla="*/ 1159 h 3768"/>
                  <a:gd name="connsiteX3" fmla="*/ 290 w 8404"/>
                  <a:gd name="connsiteY3" fmla="*/ 0 h 3768"/>
                  <a:gd name="connsiteX4" fmla="*/ 290 w 8404"/>
                  <a:gd name="connsiteY4" fmla="*/ 2609 h 3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4" h="3768">
                    <a:moveTo>
                      <a:pt x="0" y="2609"/>
                    </a:moveTo>
                    <a:cubicBezTo>
                      <a:pt x="2608" y="2609"/>
                      <a:pt x="5217" y="3188"/>
                      <a:pt x="7825" y="3768"/>
                    </a:cubicBezTo>
                    <a:lnTo>
                      <a:pt x="8405" y="1159"/>
                    </a:lnTo>
                    <a:cubicBezTo>
                      <a:pt x="5797" y="580"/>
                      <a:pt x="2898" y="0"/>
                      <a:pt x="290" y="0"/>
                    </a:cubicBezTo>
                    <a:lnTo>
                      <a:pt x="29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5" name="Freeform 24">
                <a:extLst>
                  <a:ext uri="{FF2B5EF4-FFF2-40B4-BE49-F238E27FC236}">
                    <a16:creationId xmlns:a16="http://schemas.microsoft.com/office/drawing/2014/main" id="{F2692C1B-AC88-FED4-0C20-ED8047B93963}"/>
                  </a:ext>
                </a:extLst>
              </p:cNvPr>
              <p:cNvSpPr/>
              <p:nvPr/>
            </p:nvSpPr>
            <p:spPr>
              <a:xfrm>
                <a:off x="8846448" y="3347550"/>
                <a:ext cx="7825" cy="7246"/>
              </a:xfrm>
              <a:custGeom>
                <a:avLst/>
                <a:gdLst>
                  <a:gd name="connsiteX0" fmla="*/ 0 w 7825"/>
                  <a:gd name="connsiteY0" fmla="*/ 2319 h 7246"/>
                  <a:gd name="connsiteX1" fmla="*/ 6087 w 7825"/>
                  <a:gd name="connsiteY1" fmla="*/ 7246 h 7246"/>
                  <a:gd name="connsiteX2" fmla="*/ 7825 w 7825"/>
                  <a:gd name="connsiteY2" fmla="*/ 5217 h 7246"/>
                  <a:gd name="connsiteX3" fmla="*/ 1449 w 7825"/>
                  <a:gd name="connsiteY3" fmla="*/ 0 h 7246"/>
                  <a:gd name="connsiteX4" fmla="*/ 0 w 7825"/>
                  <a:gd name="connsiteY4" fmla="*/ 2029 h 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5" h="7246">
                    <a:moveTo>
                      <a:pt x="0" y="2319"/>
                    </a:moveTo>
                    <a:cubicBezTo>
                      <a:pt x="2029" y="3768"/>
                      <a:pt x="4057" y="5507"/>
                      <a:pt x="6087" y="7246"/>
                    </a:cubicBezTo>
                    <a:lnTo>
                      <a:pt x="7825" y="5217"/>
                    </a:lnTo>
                    <a:cubicBezTo>
                      <a:pt x="5797" y="3478"/>
                      <a:pt x="3768" y="1739"/>
                      <a:pt x="1449" y="0"/>
                    </a:cubicBezTo>
                    <a:lnTo>
                      <a:pt x="0" y="202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6" name="Freeform 25">
                <a:extLst>
                  <a:ext uri="{FF2B5EF4-FFF2-40B4-BE49-F238E27FC236}">
                    <a16:creationId xmlns:a16="http://schemas.microsoft.com/office/drawing/2014/main" id="{CC108384-E299-8C5A-FC5A-313AAC1E19A9}"/>
                  </a:ext>
                </a:extLst>
              </p:cNvPr>
              <p:cNvSpPr/>
              <p:nvPr/>
            </p:nvSpPr>
            <p:spPr>
              <a:xfrm>
                <a:off x="8737183" y="3336246"/>
                <a:ext cx="8115" cy="2608"/>
              </a:xfrm>
              <a:custGeom>
                <a:avLst/>
                <a:gdLst>
                  <a:gd name="connsiteX0" fmla="*/ 0 w 8115"/>
                  <a:gd name="connsiteY0" fmla="*/ 0 h 2608"/>
                  <a:gd name="connsiteX1" fmla="*/ 8115 w 8115"/>
                  <a:gd name="connsiteY1" fmla="*/ 0 h 2608"/>
                  <a:gd name="connsiteX2" fmla="*/ 8115 w 8115"/>
                  <a:gd name="connsiteY2" fmla="*/ 2609 h 2608"/>
                  <a:gd name="connsiteX3" fmla="*/ 0 w 8115"/>
                  <a:gd name="connsiteY3" fmla="*/ 2609 h 2608"/>
                </a:gdLst>
                <a:ahLst/>
                <a:cxnLst>
                  <a:cxn ang="0">
                    <a:pos x="connsiteX0" y="connsiteY0"/>
                  </a:cxn>
                  <a:cxn ang="0">
                    <a:pos x="connsiteX1" y="connsiteY1"/>
                  </a:cxn>
                  <a:cxn ang="0">
                    <a:pos x="connsiteX2" y="connsiteY2"/>
                  </a:cxn>
                  <a:cxn ang="0">
                    <a:pos x="connsiteX3" y="connsiteY3"/>
                  </a:cxn>
                </a:cxnLst>
                <a:rect l="l" t="t" r="r" b="b"/>
                <a:pathLst>
                  <a:path w="8115" h="2608">
                    <a:moveTo>
                      <a:pt x="0" y="0"/>
                    </a:moveTo>
                    <a:lnTo>
                      <a:pt x="8115" y="0"/>
                    </a:lnTo>
                    <a:lnTo>
                      <a:pt x="811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7" name="Freeform 26">
                <a:extLst>
                  <a:ext uri="{FF2B5EF4-FFF2-40B4-BE49-F238E27FC236}">
                    <a16:creationId xmlns:a16="http://schemas.microsoft.com/office/drawing/2014/main" id="{0BBDBE11-848F-C625-E01F-C3B5E5865E46}"/>
                  </a:ext>
                </a:extLst>
              </p:cNvPr>
              <p:cNvSpPr/>
              <p:nvPr/>
            </p:nvSpPr>
            <p:spPr>
              <a:xfrm>
                <a:off x="8785294" y="3336246"/>
                <a:ext cx="8115" cy="2608"/>
              </a:xfrm>
              <a:custGeom>
                <a:avLst/>
                <a:gdLst>
                  <a:gd name="connsiteX0" fmla="*/ 0 w 8115"/>
                  <a:gd name="connsiteY0" fmla="*/ 0 h 2608"/>
                  <a:gd name="connsiteX1" fmla="*/ 8115 w 8115"/>
                  <a:gd name="connsiteY1" fmla="*/ 0 h 2608"/>
                  <a:gd name="connsiteX2" fmla="*/ 8115 w 8115"/>
                  <a:gd name="connsiteY2" fmla="*/ 2609 h 2608"/>
                  <a:gd name="connsiteX3" fmla="*/ 0 w 8115"/>
                  <a:gd name="connsiteY3" fmla="*/ 2609 h 2608"/>
                </a:gdLst>
                <a:ahLst/>
                <a:cxnLst>
                  <a:cxn ang="0">
                    <a:pos x="connsiteX0" y="connsiteY0"/>
                  </a:cxn>
                  <a:cxn ang="0">
                    <a:pos x="connsiteX1" y="connsiteY1"/>
                  </a:cxn>
                  <a:cxn ang="0">
                    <a:pos x="connsiteX2" y="connsiteY2"/>
                  </a:cxn>
                  <a:cxn ang="0">
                    <a:pos x="connsiteX3" y="connsiteY3"/>
                  </a:cxn>
                </a:cxnLst>
                <a:rect l="l" t="t" r="r" b="b"/>
                <a:pathLst>
                  <a:path w="8115" h="2608">
                    <a:moveTo>
                      <a:pt x="0" y="0"/>
                    </a:moveTo>
                    <a:lnTo>
                      <a:pt x="8115" y="0"/>
                    </a:lnTo>
                    <a:lnTo>
                      <a:pt x="811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8" name="Freeform 27">
                <a:extLst>
                  <a:ext uri="{FF2B5EF4-FFF2-40B4-BE49-F238E27FC236}">
                    <a16:creationId xmlns:a16="http://schemas.microsoft.com/office/drawing/2014/main" id="{A7901150-23B6-BF13-26DB-7A5F24405A90}"/>
                  </a:ext>
                </a:extLst>
              </p:cNvPr>
              <p:cNvSpPr/>
              <p:nvPr/>
            </p:nvSpPr>
            <p:spPr>
              <a:xfrm>
                <a:off x="8858041" y="3358565"/>
                <a:ext cx="6955" cy="8116"/>
              </a:xfrm>
              <a:custGeom>
                <a:avLst/>
                <a:gdLst>
                  <a:gd name="connsiteX0" fmla="*/ 0 w 6955"/>
                  <a:gd name="connsiteY0" fmla="*/ 1739 h 8116"/>
                  <a:gd name="connsiteX1" fmla="*/ 4637 w 6955"/>
                  <a:gd name="connsiteY1" fmla="*/ 8116 h 8116"/>
                  <a:gd name="connsiteX2" fmla="*/ 6956 w 6955"/>
                  <a:gd name="connsiteY2" fmla="*/ 6667 h 8116"/>
                  <a:gd name="connsiteX3" fmla="*/ 2029 w 6955"/>
                  <a:gd name="connsiteY3" fmla="*/ 0 h 8116"/>
                  <a:gd name="connsiteX4" fmla="*/ 0 w 6955"/>
                  <a:gd name="connsiteY4" fmla="*/ 1739 h 8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5" h="8116">
                    <a:moveTo>
                      <a:pt x="0" y="1739"/>
                    </a:moveTo>
                    <a:cubicBezTo>
                      <a:pt x="1739" y="3768"/>
                      <a:pt x="3188" y="5797"/>
                      <a:pt x="4637" y="8116"/>
                    </a:cubicBezTo>
                    <a:lnTo>
                      <a:pt x="6956" y="6667"/>
                    </a:lnTo>
                    <a:cubicBezTo>
                      <a:pt x="5506" y="4348"/>
                      <a:pt x="3768" y="2319"/>
                      <a:pt x="2029" y="0"/>
                    </a:cubicBezTo>
                    <a:lnTo>
                      <a:pt x="0" y="173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29" name="Freeform 28">
                <a:extLst>
                  <a:ext uri="{FF2B5EF4-FFF2-40B4-BE49-F238E27FC236}">
                    <a16:creationId xmlns:a16="http://schemas.microsoft.com/office/drawing/2014/main" id="{5D26EA02-0D00-489C-CF4A-73BC3443A68D}"/>
                  </a:ext>
                </a:extLst>
              </p:cNvPr>
              <p:cNvSpPr/>
              <p:nvPr/>
            </p:nvSpPr>
            <p:spPr>
              <a:xfrm>
                <a:off x="8832536" y="3340304"/>
                <a:ext cx="8405" cy="5506"/>
              </a:xfrm>
              <a:custGeom>
                <a:avLst/>
                <a:gdLst>
                  <a:gd name="connsiteX0" fmla="*/ 0 w 8405"/>
                  <a:gd name="connsiteY0" fmla="*/ 2319 h 5506"/>
                  <a:gd name="connsiteX1" fmla="*/ 7246 w 8405"/>
                  <a:gd name="connsiteY1" fmla="*/ 5507 h 5506"/>
                  <a:gd name="connsiteX2" fmla="*/ 8405 w 8405"/>
                  <a:gd name="connsiteY2" fmla="*/ 3188 h 5506"/>
                  <a:gd name="connsiteX3" fmla="*/ 870 w 8405"/>
                  <a:gd name="connsiteY3" fmla="*/ 0 h 5506"/>
                  <a:gd name="connsiteX4" fmla="*/ 0 w 8405"/>
                  <a:gd name="connsiteY4" fmla="*/ 2608 h 5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5" h="5506">
                    <a:moveTo>
                      <a:pt x="0" y="2319"/>
                    </a:moveTo>
                    <a:cubicBezTo>
                      <a:pt x="2319" y="3188"/>
                      <a:pt x="4927" y="4348"/>
                      <a:pt x="7246" y="5507"/>
                    </a:cubicBezTo>
                    <a:lnTo>
                      <a:pt x="8405" y="3188"/>
                    </a:lnTo>
                    <a:cubicBezTo>
                      <a:pt x="6087" y="2029"/>
                      <a:pt x="3478" y="869"/>
                      <a:pt x="870" y="0"/>
                    </a:cubicBezTo>
                    <a:lnTo>
                      <a:pt x="0" y="2608"/>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0" name="Freeform 29">
                <a:extLst>
                  <a:ext uri="{FF2B5EF4-FFF2-40B4-BE49-F238E27FC236}">
                    <a16:creationId xmlns:a16="http://schemas.microsoft.com/office/drawing/2014/main" id="{FA00C46D-4495-40B7-3C58-86AF9ED96698}"/>
                  </a:ext>
                </a:extLst>
              </p:cNvPr>
              <p:cNvSpPr/>
              <p:nvPr/>
            </p:nvSpPr>
            <p:spPr>
              <a:xfrm>
                <a:off x="8769354" y="3336246"/>
                <a:ext cx="8115" cy="2608"/>
              </a:xfrm>
              <a:custGeom>
                <a:avLst/>
                <a:gdLst>
                  <a:gd name="connsiteX0" fmla="*/ 0 w 8115"/>
                  <a:gd name="connsiteY0" fmla="*/ 0 h 2608"/>
                  <a:gd name="connsiteX1" fmla="*/ 8115 w 8115"/>
                  <a:gd name="connsiteY1" fmla="*/ 0 h 2608"/>
                  <a:gd name="connsiteX2" fmla="*/ 8115 w 8115"/>
                  <a:gd name="connsiteY2" fmla="*/ 2609 h 2608"/>
                  <a:gd name="connsiteX3" fmla="*/ 0 w 8115"/>
                  <a:gd name="connsiteY3" fmla="*/ 2609 h 2608"/>
                </a:gdLst>
                <a:ahLst/>
                <a:cxnLst>
                  <a:cxn ang="0">
                    <a:pos x="connsiteX0" y="connsiteY0"/>
                  </a:cxn>
                  <a:cxn ang="0">
                    <a:pos x="connsiteX1" y="connsiteY1"/>
                  </a:cxn>
                  <a:cxn ang="0">
                    <a:pos x="connsiteX2" y="connsiteY2"/>
                  </a:cxn>
                  <a:cxn ang="0">
                    <a:pos x="connsiteX3" y="connsiteY3"/>
                  </a:cxn>
                </a:cxnLst>
                <a:rect l="l" t="t" r="r" b="b"/>
                <a:pathLst>
                  <a:path w="8115" h="2608">
                    <a:moveTo>
                      <a:pt x="0" y="0"/>
                    </a:moveTo>
                    <a:lnTo>
                      <a:pt x="8115" y="0"/>
                    </a:lnTo>
                    <a:lnTo>
                      <a:pt x="811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1" name="Freeform 30">
                <a:extLst>
                  <a:ext uri="{FF2B5EF4-FFF2-40B4-BE49-F238E27FC236}">
                    <a16:creationId xmlns:a16="http://schemas.microsoft.com/office/drawing/2014/main" id="{BC06312F-620A-933A-961F-D3FE9FFF6DE5}"/>
                  </a:ext>
                </a:extLst>
              </p:cNvPr>
              <p:cNvSpPr/>
              <p:nvPr/>
            </p:nvSpPr>
            <p:spPr>
              <a:xfrm>
                <a:off x="8721243" y="3336246"/>
                <a:ext cx="8115" cy="2608"/>
              </a:xfrm>
              <a:custGeom>
                <a:avLst/>
                <a:gdLst>
                  <a:gd name="connsiteX0" fmla="*/ 0 w 8115"/>
                  <a:gd name="connsiteY0" fmla="*/ 0 h 2608"/>
                  <a:gd name="connsiteX1" fmla="*/ 8115 w 8115"/>
                  <a:gd name="connsiteY1" fmla="*/ 0 h 2608"/>
                  <a:gd name="connsiteX2" fmla="*/ 8115 w 8115"/>
                  <a:gd name="connsiteY2" fmla="*/ 2609 h 2608"/>
                  <a:gd name="connsiteX3" fmla="*/ 0 w 8115"/>
                  <a:gd name="connsiteY3" fmla="*/ 2609 h 2608"/>
                </a:gdLst>
                <a:ahLst/>
                <a:cxnLst>
                  <a:cxn ang="0">
                    <a:pos x="connsiteX0" y="connsiteY0"/>
                  </a:cxn>
                  <a:cxn ang="0">
                    <a:pos x="connsiteX1" y="connsiteY1"/>
                  </a:cxn>
                  <a:cxn ang="0">
                    <a:pos x="connsiteX2" y="connsiteY2"/>
                  </a:cxn>
                  <a:cxn ang="0">
                    <a:pos x="connsiteX3" y="connsiteY3"/>
                  </a:cxn>
                </a:cxnLst>
                <a:rect l="l" t="t" r="r" b="b"/>
                <a:pathLst>
                  <a:path w="8115" h="2608">
                    <a:moveTo>
                      <a:pt x="0" y="0"/>
                    </a:moveTo>
                    <a:lnTo>
                      <a:pt x="8115" y="0"/>
                    </a:lnTo>
                    <a:lnTo>
                      <a:pt x="811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2" name="Freeform 31">
                <a:extLst>
                  <a:ext uri="{FF2B5EF4-FFF2-40B4-BE49-F238E27FC236}">
                    <a16:creationId xmlns:a16="http://schemas.microsoft.com/office/drawing/2014/main" id="{2A6ED067-7D1D-C39E-472F-022DE20D89D1}"/>
                  </a:ext>
                </a:extLst>
              </p:cNvPr>
              <p:cNvSpPr/>
              <p:nvPr/>
            </p:nvSpPr>
            <p:spPr>
              <a:xfrm>
                <a:off x="8872532" y="3402043"/>
                <a:ext cx="2608" cy="10144"/>
              </a:xfrm>
              <a:custGeom>
                <a:avLst/>
                <a:gdLst>
                  <a:gd name="connsiteX0" fmla="*/ 2608 w 2608"/>
                  <a:gd name="connsiteY0" fmla="*/ 8116 h 10144"/>
                  <a:gd name="connsiteX1" fmla="*/ 2608 w 2608"/>
                  <a:gd name="connsiteY1" fmla="*/ 2029 h 10144"/>
                  <a:gd name="connsiteX2" fmla="*/ 2608 w 2608"/>
                  <a:gd name="connsiteY2" fmla="*/ 0 h 10144"/>
                  <a:gd name="connsiteX3" fmla="*/ 0 w 2608"/>
                  <a:gd name="connsiteY3" fmla="*/ 0 h 10144"/>
                  <a:gd name="connsiteX4" fmla="*/ 0 w 2608"/>
                  <a:gd name="connsiteY4" fmla="*/ 2029 h 10144"/>
                  <a:gd name="connsiteX5" fmla="*/ 0 w 2608"/>
                  <a:gd name="connsiteY5" fmla="*/ 8116 h 10144"/>
                  <a:gd name="connsiteX6" fmla="*/ 0 w 2608"/>
                  <a:gd name="connsiteY6" fmla="*/ 10145 h 10144"/>
                  <a:gd name="connsiteX7" fmla="*/ 2608 w 2608"/>
                  <a:gd name="connsiteY7" fmla="*/ 10145 h 10144"/>
                  <a:gd name="connsiteX8" fmla="*/ 2608 w 2608"/>
                  <a:gd name="connsiteY8" fmla="*/ 8116 h 10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8" h="10144">
                    <a:moveTo>
                      <a:pt x="2608" y="8116"/>
                    </a:moveTo>
                    <a:lnTo>
                      <a:pt x="2608" y="2029"/>
                    </a:lnTo>
                    <a:lnTo>
                      <a:pt x="2608" y="0"/>
                    </a:lnTo>
                    <a:lnTo>
                      <a:pt x="0" y="0"/>
                    </a:lnTo>
                    <a:lnTo>
                      <a:pt x="0" y="2029"/>
                    </a:lnTo>
                    <a:lnTo>
                      <a:pt x="0" y="8116"/>
                    </a:lnTo>
                    <a:lnTo>
                      <a:pt x="0" y="10145"/>
                    </a:lnTo>
                    <a:lnTo>
                      <a:pt x="2608" y="10145"/>
                    </a:lnTo>
                    <a:lnTo>
                      <a:pt x="2608" y="8116"/>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3" name="Freeform 32">
                <a:extLst>
                  <a:ext uri="{FF2B5EF4-FFF2-40B4-BE49-F238E27FC236}">
                    <a16:creationId xmlns:a16="http://schemas.microsoft.com/office/drawing/2014/main" id="{3C3DCA92-432C-C38E-D6FD-229CEFC18A28}"/>
                  </a:ext>
                </a:extLst>
              </p:cNvPr>
              <p:cNvSpPr/>
              <p:nvPr/>
            </p:nvSpPr>
            <p:spPr>
              <a:xfrm>
                <a:off x="8872532" y="3436246"/>
                <a:ext cx="2608" cy="8115"/>
              </a:xfrm>
              <a:custGeom>
                <a:avLst/>
                <a:gdLst>
                  <a:gd name="connsiteX0" fmla="*/ 0 w 2608"/>
                  <a:gd name="connsiteY0" fmla="*/ 0 h 8115"/>
                  <a:gd name="connsiteX1" fmla="*/ 2608 w 2608"/>
                  <a:gd name="connsiteY1" fmla="*/ 0 h 8115"/>
                  <a:gd name="connsiteX2" fmla="*/ 2608 w 2608"/>
                  <a:gd name="connsiteY2" fmla="*/ 8116 h 8115"/>
                  <a:gd name="connsiteX3" fmla="*/ 0 w 2608"/>
                  <a:gd name="connsiteY3" fmla="*/ 8116 h 8115"/>
                </a:gdLst>
                <a:ahLst/>
                <a:cxnLst>
                  <a:cxn ang="0">
                    <a:pos x="connsiteX0" y="connsiteY0"/>
                  </a:cxn>
                  <a:cxn ang="0">
                    <a:pos x="connsiteX1" y="connsiteY1"/>
                  </a:cxn>
                  <a:cxn ang="0">
                    <a:pos x="connsiteX2" y="connsiteY2"/>
                  </a:cxn>
                  <a:cxn ang="0">
                    <a:pos x="connsiteX3" y="connsiteY3"/>
                  </a:cxn>
                </a:cxnLst>
                <a:rect l="l" t="t" r="r" b="b"/>
                <a:pathLst>
                  <a:path w="2608" h="8115">
                    <a:moveTo>
                      <a:pt x="0" y="0"/>
                    </a:moveTo>
                    <a:lnTo>
                      <a:pt x="2608" y="0"/>
                    </a:lnTo>
                    <a:lnTo>
                      <a:pt x="2608" y="8116"/>
                    </a:lnTo>
                    <a:lnTo>
                      <a:pt x="0" y="8116"/>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4" name="Freeform 33">
                <a:extLst>
                  <a:ext uri="{FF2B5EF4-FFF2-40B4-BE49-F238E27FC236}">
                    <a16:creationId xmlns:a16="http://schemas.microsoft.com/office/drawing/2014/main" id="{E483E1FF-BA72-EB9D-6B2A-033E6D464FAD}"/>
                  </a:ext>
                </a:extLst>
              </p:cNvPr>
              <p:cNvSpPr/>
              <p:nvPr/>
            </p:nvSpPr>
            <p:spPr>
              <a:xfrm>
                <a:off x="8866445" y="3372478"/>
                <a:ext cx="5507" cy="8405"/>
              </a:xfrm>
              <a:custGeom>
                <a:avLst/>
                <a:gdLst>
                  <a:gd name="connsiteX0" fmla="*/ 5507 w 5507"/>
                  <a:gd name="connsiteY0" fmla="*/ 7536 h 8405"/>
                  <a:gd name="connsiteX1" fmla="*/ 2319 w 5507"/>
                  <a:gd name="connsiteY1" fmla="*/ 0 h 8405"/>
                  <a:gd name="connsiteX2" fmla="*/ 0 w 5507"/>
                  <a:gd name="connsiteY2" fmla="*/ 1159 h 8405"/>
                  <a:gd name="connsiteX3" fmla="*/ 2898 w 5507"/>
                  <a:gd name="connsiteY3" fmla="*/ 8406 h 8405"/>
                  <a:gd name="connsiteX4" fmla="*/ 5507 w 5507"/>
                  <a:gd name="connsiteY4" fmla="*/ 7536 h 8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07" h="8405">
                    <a:moveTo>
                      <a:pt x="5507" y="7536"/>
                    </a:moveTo>
                    <a:cubicBezTo>
                      <a:pt x="4637" y="4927"/>
                      <a:pt x="3768" y="2319"/>
                      <a:pt x="2319" y="0"/>
                    </a:cubicBezTo>
                    <a:lnTo>
                      <a:pt x="0" y="1159"/>
                    </a:lnTo>
                    <a:cubicBezTo>
                      <a:pt x="1160" y="3478"/>
                      <a:pt x="2029" y="6087"/>
                      <a:pt x="2898" y="8406"/>
                    </a:cubicBezTo>
                    <a:lnTo>
                      <a:pt x="5507" y="7536"/>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5" name="Freeform 34">
                <a:extLst>
                  <a:ext uri="{FF2B5EF4-FFF2-40B4-BE49-F238E27FC236}">
                    <a16:creationId xmlns:a16="http://schemas.microsoft.com/office/drawing/2014/main" id="{E22EE93B-7F6F-9ACC-A83E-EED489557F1C}"/>
                  </a:ext>
                </a:extLst>
              </p:cNvPr>
              <p:cNvSpPr/>
              <p:nvPr/>
            </p:nvSpPr>
            <p:spPr>
              <a:xfrm>
                <a:off x="8871373" y="3386391"/>
                <a:ext cx="3767" cy="10144"/>
              </a:xfrm>
              <a:custGeom>
                <a:avLst/>
                <a:gdLst>
                  <a:gd name="connsiteX0" fmla="*/ 1159 w 3767"/>
                  <a:gd name="connsiteY0" fmla="*/ 9855 h 10144"/>
                  <a:gd name="connsiteX1" fmla="*/ 3767 w 3767"/>
                  <a:gd name="connsiteY1" fmla="*/ 9855 h 10144"/>
                  <a:gd name="connsiteX2" fmla="*/ 3767 w 3767"/>
                  <a:gd name="connsiteY2" fmla="*/ 7826 h 10144"/>
                  <a:gd name="connsiteX3" fmla="*/ 3767 w 3767"/>
                  <a:gd name="connsiteY3" fmla="*/ 7826 h 10144"/>
                  <a:gd name="connsiteX4" fmla="*/ 3767 w 3767"/>
                  <a:gd name="connsiteY4" fmla="*/ 0 h 10144"/>
                  <a:gd name="connsiteX5" fmla="*/ 1159 w 3767"/>
                  <a:gd name="connsiteY5" fmla="*/ 0 h 10144"/>
                  <a:gd name="connsiteX6" fmla="*/ 1159 w 3767"/>
                  <a:gd name="connsiteY6" fmla="*/ 2029 h 10144"/>
                  <a:gd name="connsiteX7" fmla="*/ 0 w 3767"/>
                  <a:gd name="connsiteY7" fmla="*/ 2029 h 10144"/>
                  <a:gd name="connsiteX8" fmla="*/ 869 w 3767"/>
                  <a:gd name="connsiteY8" fmla="*/ 10145 h 10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67" h="10144">
                    <a:moveTo>
                      <a:pt x="1159" y="9855"/>
                    </a:moveTo>
                    <a:lnTo>
                      <a:pt x="3767" y="9855"/>
                    </a:lnTo>
                    <a:cubicBezTo>
                      <a:pt x="3767" y="8986"/>
                      <a:pt x="3767" y="8406"/>
                      <a:pt x="3767" y="7826"/>
                    </a:cubicBezTo>
                    <a:lnTo>
                      <a:pt x="3767" y="7826"/>
                    </a:lnTo>
                    <a:lnTo>
                      <a:pt x="3767" y="0"/>
                    </a:lnTo>
                    <a:lnTo>
                      <a:pt x="1159" y="0"/>
                    </a:lnTo>
                    <a:lnTo>
                      <a:pt x="1159" y="2029"/>
                    </a:lnTo>
                    <a:lnTo>
                      <a:pt x="0" y="2029"/>
                    </a:lnTo>
                    <a:cubicBezTo>
                      <a:pt x="580" y="4928"/>
                      <a:pt x="869" y="7537"/>
                      <a:pt x="869" y="10145"/>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6" name="Freeform 35">
                <a:extLst>
                  <a:ext uri="{FF2B5EF4-FFF2-40B4-BE49-F238E27FC236}">
                    <a16:creationId xmlns:a16="http://schemas.microsoft.com/office/drawing/2014/main" id="{19C948C5-3D44-9F12-29FE-C0F705772253}"/>
                  </a:ext>
                </a:extLst>
              </p:cNvPr>
              <p:cNvSpPr/>
              <p:nvPr/>
            </p:nvSpPr>
            <p:spPr>
              <a:xfrm>
                <a:off x="8801525" y="3336246"/>
                <a:ext cx="8115" cy="2608"/>
              </a:xfrm>
              <a:custGeom>
                <a:avLst/>
                <a:gdLst>
                  <a:gd name="connsiteX0" fmla="*/ 0 w 8115"/>
                  <a:gd name="connsiteY0" fmla="*/ 0 h 2608"/>
                  <a:gd name="connsiteX1" fmla="*/ 8115 w 8115"/>
                  <a:gd name="connsiteY1" fmla="*/ 0 h 2608"/>
                  <a:gd name="connsiteX2" fmla="*/ 8115 w 8115"/>
                  <a:gd name="connsiteY2" fmla="*/ 2609 h 2608"/>
                  <a:gd name="connsiteX3" fmla="*/ 0 w 8115"/>
                  <a:gd name="connsiteY3" fmla="*/ 2609 h 2608"/>
                </a:gdLst>
                <a:ahLst/>
                <a:cxnLst>
                  <a:cxn ang="0">
                    <a:pos x="connsiteX0" y="connsiteY0"/>
                  </a:cxn>
                  <a:cxn ang="0">
                    <a:pos x="connsiteX1" y="connsiteY1"/>
                  </a:cxn>
                  <a:cxn ang="0">
                    <a:pos x="connsiteX2" y="connsiteY2"/>
                  </a:cxn>
                  <a:cxn ang="0">
                    <a:pos x="connsiteX3" y="connsiteY3"/>
                  </a:cxn>
                </a:cxnLst>
                <a:rect l="l" t="t" r="r" b="b"/>
                <a:pathLst>
                  <a:path w="8115" h="2608">
                    <a:moveTo>
                      <a:pt x="0" y="0"/>
                    </a:moveTo>
                    <a:lnTo>
                      <a:pt x="8115" y="0"/>
                    </a:lnTo>
                    <a:lnTo>
                      <a:pt x="811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7" name="Freeform 36">
                <a:extLst>
                  <a:ext uri="{FF2B5EF4-FFF2-40B4-BE49-F238E27FC236}">
                    <a16:creationId xmlns:a16="http://schemas.microsoft.com/office/drawing/2014/main" id="{DFE5107E-D99F-9E81-A7CA-B8DFFB6B4701}"/>
                  </a:ext>
                </a:extLst>
              </p:cNvPr>
              <p:cNvSpPr/>
              <p:nvPr/>
            </p:nvSpPr>
            <p:spPr>
              <a:xfrm>
                <a:off x="8872532" y="3417985"/>
                <a:ext cx="2608" cy="10144"/>
              </a:xfrm>
              <a:custGeom>
                <a:avLst/>
                <a:gdLst>
                  <a:gd name="connsiteX0" fmla="*/ 2608 w 2608"/>
                  <a:gd name="connsiteY0" fmla="*/ 4058 h 10144"/>
                  <a:gd name="connsiteX1" fmla="*/ 2608 w 2608"/>
                  <a:gd name="connsiteY1" fmla="*/ 2319 h 10144"/>
                  <a:gd name="connsiteX2" fmla="*/ 2608 w 2608"/>
                  <a:gd name="connsiteY2" fmla="*/ 0 h 10144"/>
                  <a:gd name="connsiteX3" fmla="*/ 0 w 2608"/>
                  <a:gd name="connsiteY3" fmla="*/ 0 h 10144"/>
                  <a:gd name="connsiteX4" fmla="*/ 0 w 2608"/>
                  <a:gd name="connsiteY4" fmla="*/ 2319 h 10144"/>
                  <a:gd name="connsiteX5" fmla="*/ 0 w 2608"/>
                  <a:gd name="connsiteY5" fmla="*/ 4058 h 10144"/>
                  <a:gd name="connsiteX6" fmla="*/ 0 w 2608"/>
                  <a:gd name="connsiteY6" fmla="*/ 10145 h 10144"/>
                  <a:gd name="connsiteX7" fmla="*/ 2608 w 2608"/>
                  <a:gd name="connsiteY7" fmla="*/ 10145 h 10144"/>
                  <a:gd name="connsiteX8" fmla="*/ 2608 w 2608"/>
                  <a:gd name="connsiteY8" fmla="*/ 4058 h 10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8" h="10144">
                    <a:moveTo>
                      <a:pt x="2608" y="4058"/>
                    </a:moveTo>
                    <a:lnTo>
                      <a:pt x="2608" y="2319"/>
                    </a:lnTo>
                    <a:lnTo>
                      <a:pt x="2608" y="0"/>
                    </a:lnTo>
                    <a:lnTo>
                      <a:pt x="0" y="0"/>
                    </a:lnTo>
                    <a:lnTo>
                      <a:pt x="0" y="2319"/>
                    </a:lnTo>
                    <a:lnTo>
                      <a:pt x="0" y="4058"/>
                    </a:lnTo>
                    <a:lnTo>
                      <a:pt x="0" y="10145"/>
                    </a:lnTo>
                    <a:lnTo>
                      <a:pt x="2608" y="10145"/>
                    </a:lnTo>
                    <a:lnTo>
                      <a:pt x="2608" y="4058"/>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8" name="Freeform 37">
                <a:extLst>
                  <a:ext uri="{FF2B5EF4-FFF2-40B4-BE49-F238E27FC236}">
                    <a16:creationId xmlns:a16="http://schemas.microsoft.com/office/drawing/2014/main" id="{F8EED585-99C1-6552-CBE5-D5406BC29D2D}"/>
                  </a:ext>
                </a:extLst>
              </p:cNvPr>
              <p:cNvSpPr/>
              <p:nvPr/>
            </p:nvSpPr>
            <p:spPr>
              <a:xfrm>
                <a:off x="8709360" y="3462333"/>
                <a:ext cx="4057" cy="2608"/>
              </a:xfrm>
              <a:custGeom>
                <a:avLst/>
                <a:gdLst>
                  <a:gd name="connsiteX0" fmla="*/ 0 w 4057"/>
                  <a:gd name="connsiteY0" fmla="*/ 0 h 2608"/>
                  <a:gd name="connsiteX1" fmla="*/ 4057 w 4057"/>
                  <a:gd name="connsiteY1" fmla="*/ 0 h 2608"/>
                  <a:gd name="connsiteX2" fmla="*/ 4057 w 4057"/>
                  <a:gd name="connsiteY2" fmla="*/ 2609 h 2608"/>
                  <a:gd name="connsiteX3" fmla="*/ 0 w 4057"/>
                  <a:gd name="connsiteY3" fmla="*/ 2609 h 2608"/>
                </a:gdLst>
                <a:ahLst/>
                <a:cxnLst>
                  <a:cxn ang="0">
                    <a:pos x="connsiteX0" y="connsiteY0"/>
                  </a:cxn>
                  <a:cxn ang="0">
                    <a:pos x="connsiteX1" y="connsiteY1"/>
                  </a:cxn>
                  <a:cxn ang="0">
                    <a:pos x="connsiteX2" y="connsiteY2"/>
                  </a:cxn>
                  <a:cxn ang="0">
                    <a:pos x="connsiteX3" y="connsiteY3"/>
                  </a:cxn>
                </a:cxnLst>
                <a:rect l="l" t="t" r="r" b="b"/>
                <a:pathLst>
                  <a:path w="4057" h="2608">
                    <a:moveTo>
                      <a:pt x="0" y="0"/>
                    </a:moveTo>
                    <a:lnTo>
                      <a:pt x="4057" y="0"/>
                    </a:lnTo>
                    <a:lnTo>
                      <a:pt x="4057"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9" name="Freeform 38">
                <a:extLst>
                  <a:ext uri="{FF2B5EF4-FFF2-40B4-BE49-F238E27FC236}">
                    <a16:creationId xmlns:a16="http://schemas.microsoft.com/office/drawing/2014/main" id="{2E1ECDA1-1ECD-4AFF-7E1F-97E23A90B018}"/>
                  </a:ext>
                </a:extLst>
              </p:cNvPr>
              <p:cNvSpPr/>
              <p:nvPr/>
            </p:nvSpPr>
            <p:spPr>
              <a:xfrm>
                <a:off x="8815726" y="3462333"/>
                <a:ext cx="8115" cy="3767"/>
              </a:xfrm>
              <a:custGeom>
                <a:avLst/>
                <a:gdLst>
                  <a:gd name="connsiteX0" fmla="*/ 0 w 8115"/>
                  <a:gd name="connsiteY0" fmla="*/ 2899 h 3767"/>
                  <a:gd name="connsiteX1" fmla="*/ 7536 w 8115"/>
                  <a:gd name="connsiteY1" fmla="*/ 3768 h 3767"/>
                  <a:gd name="connsiteX2" fmla="*/ 8115 w 8115"/>
                  <a:gd name="connsiteY2" fmla="*/ 1159 h 3767"/>
                  <a:gd name="connsiteX3" fmla="*/ 0 w 8115"/>
                  <a:gd name="connsiteY3" fmla="*/ 0 h 3767"/>
                  <a:gd name="connsiteX4" fmla="*/ 0 w 8115"/>
                  <a:gd name="connsiteY4" fmla="*/ 2609 h 3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5" h="3767">
                    <a:moveTo>
                      <a:pt x="0" y="2899"/>
                    </a:moveTo>
                    <a:cubicBezTo>
                      <a:pt x="2609" y="2899"/>
                      <a:pt x="5217" y="3478"/>
                      <a:pt x="7536" y="3768"/>
                    </a:cubicBezTo>
                    <a:lnTo>
                      <a:pt x="8115" y="1159"/>
                    </a:lnTo>
                    <a:cubicBezTo>
                      <a:pt x="5507" y="580"/>
                      <a:pt x="2898" y="290"/>
                      <a:pt x="0" y="0"/>
                    </a:cubicBez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0" name="Freeform 39">
                <a:extLst>
                  <a:ext uri="{FF2B5EF4-FFF2-40B4-BE49-F238E27FC236}">
                    <a16:creationId xmlns:a16="http://schemas.microsoft.com/office/drawing/2014/main" id="{6AB8C72F-5DCB-EC8C-56D5-FAD36634A940}"/>
                  </a:ext>
                </a:extLst>
              </p:cNvPr>
              <p:cNvSpPr/>
              <p:nvPr/>
            </p:nvSpPr>
            <p:spPr>
              <a:xfrm>
                <a:off x="8831087" y="3465811"/>
                <a:ext cx="8405" cy="5217"/>
              </a:xfrm>
              <a:custGeom>
                <a:avLst/>
                <a:gdLst>
                  <a:gd name="connsiteX0" fmla="*/ 0 w 8405"/>
                  <a:gd name="connsiteY0" fmla="*/ 2319 h 5217"/>
                  <a:gd name="connsiteX1" fmla="*/ 7246 w 8405"/>
                  <a:gd name="connsiteY1" fmla="*/ 5218 h 5217"/>
                  <a:gd name="connsiteX2" fmla="*/ 8405 w 8405"/>
                  <a:gd name="connsiteY2" fmla="*/ 2899 h 5217"/>
                  <a:gd name="connsiteX3" fmla="*/ 870 w 8405"/>
                  <a:gd name="connsiteY3" fmla="*/ 0 h 5217"/>
                  <a:gd name="connsiteX4" fmla="*/ 0 w 8405"/>
                  <a:gd name="connsiteY4" fmla="*/ 2609 h 5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5" h="5217">
                    <a:moveTo>
                      <a:pt x="0" y="2319"/>
                    </a:moveTo>
                    <a:cubicBezTo>
                      <a:pt x="2319" y="3188"/>
                      <a:pt x="4927" y="4058"/>
                      <a:pt x="7246" y="5218"/>
                    </a:cubicBezTo>
                    <a:lnTo>
                      <a:pt x="8405" y="2899"/>
                    </a:lnTo>
                    <a:cubicBezTo>
                      <a:pt x="6087" y="1739"/>
                      <a:pt x="3478" y="580"/>
                      <a:pt x="870" y="0"/>
                    </a:cubicBez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1" name="Freeform 40">
                <a:extLst>
                  <a:ext uri="{FF2B5EF4-FFF2-40B4-BE49-F238E27FC236}">
                    <a16:creationId xmlns:a16="http://schemas.microsoft.com/office/drawing/2014/main" id="{E4E83379-E000-9A7C-5219-9C8A29FBF675}"/>
                  </a:ext>
                </a:extLst>
              </p:cNvPr>
              <p:cNvSpPr/>
              <p:nvPr/>
            </p:nvSpPr>
            <p:spPr>
              <a:xfrm>
                <a:off x="8784425" y="3462333"/>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2" name="Freeform 41">
                <a:extLst>
                  <a:ext uri="{FF2B5EF4-FFF2-40B4-BE49-F238E27FC236}">
                    <a16:creationId xmlns:a16="http://schemas.microsoft.com/office/drawing/2014/main" id="{763ABFA2-6066-6262-2C18-ED933A71E1E6}"/>
                  </a:ext>
                </a:extLst>
              </p:cNvPr>
              <p:cNvSpPr/>
              <p:nvPr/>
            </p:nvSpPr>
            <p:spPr>
              <a:xfrm>
                <a:off x="8736893" y="3462333"/>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3" name="Freeform 42">
                <a:extLst>
                  <a:ext uri="{FF2B5EF4-FFF2-40B4-BE49-F238E27FC236}">
                    <a16:creationId xmlns:a16="http://schemas.microsoft.com/office/drawing/2014/main" id="{F328CF47-4661-7F9F-58AE-99F46FF0AB0A}"/>
                  </a:ext>
                </a:extLst>
              </p:cNvPr>
              <p:cNvSpPr/>
              <p:nvPr/>
            </p:nvSpPr>
            <p:spPr>
              <a:xfrm>
                <a:off x="8800076" y="3462333"/>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4" name="Freeform 43">
                <a:extLst>
                  <a:ext uri="{FF2B5EF4-FFF2-40B4-BE49-F238E27FC236}">
                    <a16:creationId xmlns:a16="http://schemas.microsoft.com/office/drawing/2014/main" id="{C6DAC499-93E9-F045-EB93-972A11FD2B63}"/>
                  </a:ext>
                </a:extLst>
              </p:cNvPr>
              <p:cNvSpPr/>
              <p:nvPr/>
            </p:nvSpPr>
            <p:spPr>
              <a:xfrm>
                <a:off x="8752834" y="3462333"/>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5" name="Freeform 44">
                <a:extLst>
                  <a:ext uri="{FF2B5EF4-FFF2-40B4-BE49-F238E27FC236}">
                    <a16:creationId xmlns:a16="http://schemas.microsoft.com/office/drawing/2014/main" id="{48D3689A-7972-AA17-ABF3-52CA6AABA14A}"/>
                  </a:ext>
                </a:extLst>
              </p:cNvPr>
              <p:cNvSpPr/>
              <p:nvPr/>
            </p:nvSpPr>
            <p:spPr>
              <a:xfrm>
                <a:off x="8768484" y="3462333"/>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6" name="Freeform 45">
                <a:extLst>
                  <a:ext uri="{FF2B5EF4-FFF2-40B4-BE49-F238E27FC236}">
                    <a16:creationId xmlns:a16="http://schemas.microsoft.com/office/drawing/2014/main" id="{C902634D-1673-640B-36C1-BB342D19DBC7}"/>
                  </a:ext>
                </a:extLst>
              </p:cNvPr>
              <p:cNvSpPr/>
              <p:nvPr/>
            </p:nvSpPr>
            <p:spPr>
              <a:xfrm>
                <a:off x="8865576" y="3496246"/>
                <a:ext cx="5506" cy="8116"/>
              </a:xfrm>
              <a:custGeom>
                <a:avLst/>
                <a:gdLst>
                  <a:gd name="connsiteX0" fmla="*/ 2318 w 5506"/>
                  <a:gd name="connsiteY0" fmla="*/ 0 h 8116"/>
                  <a:gd name="connsiteX1" fmla="*/ 0 w 5506"/>
                  <a:gd name="connsiteY1" fmla="*/ 1159 h 8116"/>
                  <a:gd name="connsiteX2" fmla="*/ 3188 w 5506"/>
                  <a:gd name="connsiteY2" fmla="*/ 8116 h 8116"/>
                  <a:gd name="connsiteX3" fmla="*/ 5506 w 5506"/>
                  <a:gd name="connsiteY3" fmla="*/ 7246 h 8116"/>
                  <a:gd name="connsiteX4" fmla="*/ 2318 w 5506"/>
                  <a:gd name="connsiteY4" fmla="*/ 0 h 8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06" h="8116">
                    <a:moveTo>
                      <a:pt x="2318" y="0"/>
                    </a:moveTo>
                    <a:lnTo>
                      <a:pt x="0" y="1159"/>
                    </a:lnTo>
                    <a:cubicBezTo>
                      <a:pt x="1159" y="3478"/>
                      <a:pt x="2318" y="5797"/>
                      <a:pt x="3188" y="8116"/>
                    </a:cubicBezTo>
                    <a:lnTo>
                      <a:pt x="5506" y="7246"/>
                    </a:lnTo>
                    <a:cubicBezTo>
                      <a:pt x="4637" y="4638"/>
                      <a:pt x="3478" y="2319"/>
                      <a:pt x="2318" y="0"/>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7" name="Freeform 46">
                <a:extLst>
                  <a:ext uri="{FF2B5EF4-FFF2-40B4-BE49-F238E27FC236}">
                    <a16:creationId xmlns:a16="http://schemas.microsoft.com/office/drawing/2014/main" id="{181B4D4E-DB27-F09A-396F-5A0D678F48C8}"/>
                  </a:ext>
                </a:extLst>
              </p:cNvPr>
              <p:cNvSpPr/>
              <p:nvPr/>
            </p:nvSpPr>
            <p:spPr>
              <a:xfrm>
                <a:off x="8872532" y="3542913"/>
                <a:ext cx="2608" cy="8116"/>
              </a:xfrm>
              <a:custGeom>
                <a:avLst/>
                <a:gdLst>
                  <a:gd name="connsiteX0" fmla="*/ 0 w 2608"/>
                  <a:gd name="connsiteY0" fmla="*/ 0 h 8116"/>
                  <a:gd name="connsiteX1" fmla="*/ 0 w 2608"/>
                  <a:gd name="connsiteY1" fmla="*/ 7826 h 8116"/>
                  <a:gd name="connsiteX2" fmla="*/ 0 w 2608"/>
                  <a:gd name="connsiteY2" fmla="*/ 8116 h 8116"/>
                  <a:gd name="connsiteX3" fmla="*/ 2608 w 2608"/>
                  <a:gd name="connsiteY3" fmla="*/ 8116 h 8116"/>
                  <a:gd name="connsiteX4" fmla="*/ 2608 w 2608"/>
                  <a:gd name="connsiteY4" fmla="*/ 7826 h 8116"/>
                  <a:gd name="connsiteX5" fmla="*/ 2608 w 2608"/>
                  <a:gd name="connsiteY5" fmla="*/ 0 h 8116"/>
                  <a:gd name="connsiteX6" fmla="*/ 2608 w 2608"/>
                  <a:gd name="connsiteY6" fmla="*/ 0 h 8116"/>
                  <a:gd name="connsiteX7" fmla="*/ 0 w 2608"/>
                  <a:gd name="connsiteY7" fmla="*/ 0 h 8116"/>
                  <a:gd name="connsiteX8" fmla="*/ 0 w 2608"/>
                  <a:gd name="connsiteY8" fmla="*/ 0 h 8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8" h="8116">
                    <a:moveTo>
                      <a:pt x="0" y="0"/>
                    </a:moveTo>
                    <a:lnTo>
                      <a:pt x="0" y="7826"/>
                    </a:lnTo>
                    <a:lnTo>
                      <a:pt x="0" y="8116"/>
                    </a:lnTo>
                    <a:lnTo>
                      <a:pt x="2608" y="8116"/>
                    </a:lnTo>
                    <a:lnTo>
                      <a:pt x="2608" y="7826"/>
                    </a:lnTo>
                    <a:lnTo>
                      <a:pt x="2608" y="0"/>
                    </a:lnTo>
                    <a:lnTo>
                      <a:pt x="2608" y="0"/>
                    </a:lnTo>
                    <a:lnTo>
                      <a:pt x="0" y="0"/>
                    </a:lnTo>
                    <a:lnTo>
                      <a:pt x="0" y="0"/>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8" name="Freeform 47">
                <a:extLst>
                  <a:ext uri="{FF2B5EF4-FFF2-40B4-BE49-F238E27FC236}">
                    <a16:creationId xmlns:a16="http://schemas.microsoft.com/office/drawing/2014/main" id="{73C343B0-8C2A-9D66-A518-DCB577B7BEE1}"/>
                  </a:ext>
                </a:extLst>
              </p:cNvPr>
              <p:cNvSpPr/>
              <p:nvPr/>
            </p:nvSpPr>
            <p:spPr>
              <a:xfrm>
                <a:off x="8872532" y="3558855"/>
                <a:ext cx="2608" cy="7826"/>
              </a:xfrm>
              <a:custGeom>
                <a:avLst/>
                <a:gdLst>
                  <a:gd name="connsiteX0" fmla="*/ 0 w 2608"/>
                  <a:gd name="connsiteY0" fmla="*/ 0 h 7826"/>
                  <a:gd name="connsiteX1" fmla="*/ 0 w 2608"/>
                  <a:gd name="connsiteY1" fmla="*/ 7826 h 7826"/>
                  <a:gd name="connsiteX2" fmla="*/ 0 w 2608"/>
                  <a:gd name="connsiteY2" fmla="*/ 7826 h 7826"/>
                  <a:gd name="connsiteX3" fmla="*/ 2608 w 2608"/>
                  <a:gd name="connsiteY3" fmla="*/ 7826 h 7826"/>
                  <a:gd name="connsiteX4" fmla="*/ 2608 w 2608"/>
                  <a:gd name="connsiteY4" fmla="*/ 7826 h 7826"/>
                  <a:gd name="connsiteX5" fmla="*/ 2608 w 2608"/>
                  <a:gd name="connsiteY5" fmla="*/ 0 h 7826"/>
                  <a:gd name="connsiteX6" fmla="*/ 2608 w 2608"/>
                  <a:gd name="connsiteY6" fmla="*/ 0 h 7826"/>
                  <a:gd name="connsiteX7" fmla="*/ 0 w 2608"/>
                  <a:gd name="connsiteY7" fmla="*/ 0 h 7826"/>
                  <a:gd name="connsiteX8" fmla="*/ 0 w 2608"/>
                  <a:gd name="connsiteY8" fmla="*/ 0 h 7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8" h="7826">
                    <a:moveTo>
                      <a:pt x="0" y="0"/>
                    </a:moveTo>
                    <a:lnTo>
                      <a:pt x="0" y="7826"/>
                    </a:lnTo>
                    <a:lnTo>
                      <a:pt x="0" y="7826"/>
                    </a:lnTo>
                    <a:lnTo>
                      <a:pt x="2608" y="7826"/>
                    </a:lnTo>
                    <a:lnTo>
                      <a:pt x="2608" y="7826"/>
                    </a:lnTo>
                    <a:lnTo>
                      <a:pt x="2608" y="0"/>
                    </a:lnTo>
                    <a:lnTo>
                      <a:pt x="2608" y="0"/>
                    </a:lnTo>
                    <a:lnTo>
                      <a:pt x="0" y="0"/>
                    </a:lnTo>
                    <a:lnTo>
                      <a:pt x="0" y="0"/>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9" name="Freeform 48">
                <a:extLst>
                  <a:ext uri="{FF2B5EF4-FFF2-40B4-BE49-F238E27FC236}">
                    <a16:creationId xmlns:a16="http://schemas.microsoft.com/office/drawing/2014/main" id="{629021E7-2185-EF25-5220-3C563B0F5BFB}"/>
                  </a:ext>
                </a:extLst>
              </p:cNvPr>
              <p:cNvSpPr/>
              <p:nvPr/>
            </p:nvSpPr>
            <p:spPr>
              <a:xfrm>
                <a:off x="8872532" y="3527261"/>
                <a:ext cx="2608" cy="7825"/>
              </a:xfrm>
              <a:custGeom>
                <a:avLst/>
                <a:gdLst>
                  <a:gd name="connsiteX0" fmla="*/ 0 w 2608"/>
                  <a:gd name="connsiteY0" fmla="*/ 0 h 7825"/>
                  <a:gd name="connsiteX1" fmla="*/ 0 w 2608"/>
                  <a:gd name="connsiteY1" fmla="*/ 7826 h 7825"/>
                  <a:gd name="connsiteX2" fmla="*/ 0 w 2608"/>
                  <a:gd name="connsiteY2" fmla="*/ 7826 h 7825"/>
                  <a:gd name="connsiteX3" fmla="*/ 2608 w 2608"/>
                  <a:gd name="connsiteY3" fmla="*/ 7826 h 7825"/>
                  <a:gd name="connsiteX4" fmla="*/ 2608 w 2608"/>
                  <a:gd name="connsiteY4" fmla="*/ 7826 h 7825"/>
                  <a:gd name="connsiteX5" fmla="*/ 2608 w 2608"/>
                  <a:gd name="connsiteY5" fmla="*/ 0 h 7825"/>
                  <a:gd name="connsiteX6" fmla="*/ 2608 w 2608"/>
                  <a:gd name="connsiteY6" fmla="*/ 0 h 7825"/>
                  <a:gd name="connsiteX7" fmla="*/ 0 w 2608"/>
                  <a:gd name="connsiteY7" fmla="*/ 0 h 7825"/>
                  <a:gd name="connsiteX8" fmla="*/ 0 w 2608"/>
                  <a:gd name="connsiteY8" fmla="*/ 0 h 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8" h="7825">
                    <a:moveTo>
                      <a:pt x="0" y="0"/>
                    </a:moveTo>
                    <a:lnTo>
                      <a:pt x="0" y="7826"/>
                    </a:lnTo>
                    <a:lnTo>
                      <a:pt x="0" y="7826"/>
                    </a:lnTo>
                    <a:lnTo>
                      <a:pt x="2608" y="7826"/>
                    </a:lnTo>
                    <a:lnTo>
                      <a:pt x="2608" y="7826"/>
                    </a:lnTo>
                    <a:lnTo>
                      <a:pt x="2608" y="0"/>
                    </a:lnTo>
                    <a:lnTo>
                      <a:pt x="2608" y="0"/>
                    </a:lnTo>
                    <a:lnTo>
                      <a:pt x="0" y="0"/>
                    </a:lnTo>
                    <a:lnTo>
                      <a:pt x="0" y="0"/>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50" name="Freeform 49">
                <a:extLst>
                  <a:ext uri="{FF2B5EF4-FFF2-40B4-BE49-F238E27FC236}">
                    <a16:creationId xmlns:a16="http://schemas.microsoft.com/office/drawing/2014/main" id="{5E393C64-3466-8473-D5A5-ECD09D049F17}"/>
                  </a:ext>
                </a:extLst>
              </p:cNvPr>
              <p:cNvSpPr/>
              <p:nvPr/>
            </p:nvSpPr>
            <p:spPr>
              <a:xfrm>
                <a:off x="8870793" y="3511319"/>
                <a:ext cx="4347" cy="8115"/>
              </a:xfrm>
              <a:custGeom>
                <a:avLst/>
                <a:gdLst>
                  <a:gd name="connsiteX0" fmla="*/ 2609 w 4347"/>
                  <a:gd name="connsiteY0" fmla="*/ 0 h 8115"/>
                  <a:gd name="connsiteX1" fmla="*/ 0 w 4347"/>
                  <a:gd name="connsiteY1" fmla="*/ 580 h 8115"/>
                  <a:gd name="connsiteX2" fmla="*/ 1160 w 4347"/>
                  <a:gd name="connsiteY2" fmla="*/ 8116 h 8115"/>
                  <a:gd name="connsiteX3" fmla="*/ 1739 w 4347"/>
                  <a:gd name="connsiteY3" fmla="*/ 8116 h 8115"/>
                  <a:gd name="connsiteX4" fmla="*/ 4347 w 4347"/>
                  <a:gd name="connsiteY4" fmla="*/ 8116 h 8115"/>
                  <a:gd name="connsiteX5" fmla="*/ 4347 w 4347"/>
                  <a:gd name="connsiteY5" fmla="*/ 290 h 8115"/>
                  <a:gd name="connsiteX6" fmla="*/ 2609 w 4347"/>
                  <a:gd name="connsiteY6" fmla="*/ 290 h 8115"/>
                  <a:gd name="connsiteX7" fmla="*/ 2609 w 4347"/>
                  <a:gd name="connsiteY7" fmla="*/ 290 h 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7" h="8115">
                    <a:moveTo>
                      <a:pt x="2609" y="0"/>
                    </a:moveTo>
                    <a:lnTo>
                      <a:pt x="0" y="580"/>
                    </a:lnTo>
                    <a:cubicBezTo>
                      <a:pt x="580" y="3188"/>
                      <a:pt x="1160" y="5507"/>
                      <a:pt x="1160" y="8116"/>
                    </a:cubicBezTo>
                    <a:lnTo>
                      <a:pt x="1739" y="8116"/>
                    </a:lnTo>
                    <a:cubicBezTo>
                      <a:pt x="1739" y="8116"/>
                      <a:pt x="4347" y="8116"/>
                      <a:pt x="4347" y="8116"/>
                    </a:cubicBezTo>
                    <a:lnTo>
                      <a:pt x="4347" y="290"/>
                    </a:lnTo>
                    <a:lnTo>
                      <a:pt x="2609" y="290"/>
                    </a:lnTo>
                    <a:cubicBezTo>
                      <a:pt x="2609" y="290"/>
                      <a:pt x="2609" y="290"/>
                      <a:pt x="2609" y="290"/>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51" name="Freeform 50">
                <a:extLst>
                  <a:ext uri="{FF2B5EF4-FFF2-40B4-BE49-F238E27FC236}">
                    <a16:creationId xmlns:a16="http://schemas.microsoft.com/office/drawing/2014/main" id="{0F0919AA-249D-BD27-7FD6-5C7BC318E7F0}"/>
                  </a:ext>
                </a:extLst>
              </p:cNvPr>
              <p:cNvSpPr/>
              <p:nvPr/>
            </p:nvSpPr>
            <p:spPr>
              <a:xfrm>
                <a:off x="8872532" y="3574508"/>
                <a:ext cx="2608" cy="8116"/>
              </a:xfrm>
              <a:custGeom>
                <a:avLst/>
                <a:gdLst>
                  <a:gd name="connsiteX0" fmla="*/ 0 w 2608"/>
                  <a:gd name="connsiteY0" fmla="*/ 0 h 8116"/>
                  <a:gd name="connsiteX1" fmla="*/ 0 w 2608"/>
                  <a:gd name="connsiteY1" fmla="*/ 7826 h 8116"/>
                  <a:gd name="connsiteX2" fmla="*/ 0 w 2608"/>
                  <a:gd name="connsiteY2" fmla="*/ 8116 h 8116"/>
                  <a:gd name="connsiteX3" fmla="*/ 2608 w 2608"/>
                  <a:gd name="connsiteY3" fmla="*/ 8116 h 8116"/>
                  <a:gd name="connsiteX4" fmla="*/ 2608 w 2608"/>
                  <a:gd name="connsiteY4" fmla="*/ 7826 h 8116"/>
                  <a:gd name="connsiteX5" fmla="*/ 2608 w 2608"/>
                  <a:gd name="connsiteY5" fmla="*/ 0 h 8116"/>
                  <a:gd name="connsiteX6" fmla="*/ 2608 w 2608"/>
                  <a:gd name="connsiteY6" fmla="*/ 0 h 8116"/>
                  <a:gd name="connsiteX7" fmla="*/ 0 w 2608"/>
                  <a:gd name="connsiteY7" fmla="*/ 0 h 8116"/>
                  <a:gd name="connsiteX8" fmla="*/ 0 w 2608"/>
                  <a:gd name="connsiteY8" fmla="*/ 0 h 8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8" h="8116">
                    <a:moveTo>
                      <a:pt x="0" y="0"/>
                    </a:moveTo>
                    <a:lnTo>
                      <a:pt x="0" y="7826"/>
                    </a:lnTo>
                    <a:lnTo>
                      <a:pt x="0" y="8116"/>
                    </a:lnTo>
                    <a:lnTo>
                      <a:pt x="2608" y="8116"/>
                    </a:lnTo>
                    <a:lnTo>
                      <a:pt x="2608" y="7826"/>
                    </a:lnTo>
                    <a:lnTo>
                      <a:pt x="2608" y="0"/>
                    </a:lnTo>
                    <a:lnTo>
                      <a:pt x="2608" y="0"/>
                    </a:lnTo>
                    <a:lnTo>
                      <a:pt x="0" y="0"/>
                    </a:lnTo>
                    <a:lnTo>
                      <a:pt x="0" y="0"/>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52" name="Freeform 51">
                <a:extLst>
                  <a:ext uri="{FF2B5EF4-FFF2-40B4-BE49-F238E27FC236}">
                    <a16:creationId xmlns:a16="http://schemas.microsoft.com/office/drawing/2014/main" id="{A0FC5BA2-4F0A-A7BD-7EE6-D4BF37849023}"/>
                  </a:ext>
                </a:extLst>
              </p:cNvPr>
              <p:cNvSpPr/>
              <p:nvPr/>
            </p:nvSpPr>
            <p:spPr>
              <a:xfrm>
                <a:off x="8721243" y="3462333"/>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53" name="Freeform 52">
                <a:extLst>
                  <a:ext uri="{FF2B5EF4-FFF2-40B4-BE49-F238E27FC236}">
                    <a16:creationId xmlns:a16="http://schemas.microsoft.com/office/drawing/2014/main" id="{E5800331-1A5D-B545-D9EA-63A701861FBE}"/>
                  </a:ext>
                </a:extLst>
              </p:cNvPr>
              <p:cNvSpPr/>
              <p:nvPr/>
            </p:nvSpPr>
            <p:spPr>
              <a:xfrm>
                <a:off x="8844708" y="3472478"/>
                <a:ext cx="7825" cy="6956"/>
              </a:xfrm>
              <a:custGeom>
                <a:avLst/>
                <a:gdLst>
                  <a:gd name="connsiteX0" fmla="*/ 0 w 7825"/>
                  <a:gd name="connsiteY0" fmla="*/ 2319 h 6956"/>
                  <a:gd name="connsiteX1" fmla="*/ 6087 w 7825"/>
                  <a:gd name="connsiteY1" fmla="*/ 6957 h 6956"/>
                  <a:gd name="connsiteX2" fmla="*/ 7826 w 7825"/>
                  <a:gd name="connsiteY2" fmla="*/ 4927 h 6956"/>
                  <a:gd name="connsiteX3" fmla="*/ 1449 w 7825"/>
                  <a:gd name="connsiteY3" fmla="*/ 0 h 6956"/>
                  <a:gd name="connsiteX4" fmla="*/ 0 w 7825"/>
                  <a:gd name="connsiteY4" fmla="*/ 2319 h 6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5" h="6956">
                    <a:moveTo>
                      <a:pt x="0" y="2319"/>
                    </a:moveTo>
                    <a:cubicBezTo>
                      <a:pt x="2029" y="3768"/>
                      <a:pt x="4347" y="5217"/>
                      <a:pt x="6087" y="6957"/>
                    </a:cubicBezTo>
                    <a:lnTo>
                      <a:pt x="7826" y="4927"/>
                    </a:lnTo>
                    <a:cubicBezTo>
                      <a:pt x="5797" y="3188"/>
                      <a:pt x="3478" y="1449"/>
                      <a:pt x="1449" y="0"/>
                    </a:cubicBezTo>
                    <a:lnTo>
                      <a:pt x="0" y="231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54" name="Freeform 53">
                <a:extLst>
                  <a:ext uri="{FF2B5EF4-FFF2-40B4-BE49-F238E27FC236}">
                    <a16:creationId xmlns:a16="http://schemas.microsoft.com/office/drawing/2014/main" id="{DB0EFE7B-E2D1-FBCE-3F61-9090E6B6C6EC}"/>
                  </a:ext>
                </a:extLst>
              </p:cNvPr>
              <p:cNvSpPr/>
              <p:nvPr/>
            </p:nvSpPr>
            <p:spPr>
              <a:xfrm>
                <a:off x="8872532" y="3590450"/>
                <a:ext cx="2608" cy="7826"/>
              </a:xfrm>
              <a:custGeom>
                <a:avLst/>
                <a:gdLst>
                  <a:gd name="connsiteX0" fmla="*/ 0 w 2608"/>
                  <a:gd name="connsiteY0" fmla="*/ 0 h 7826"/>
                  <a:gd name="connsiteX1" fmla="*/ 0 w 2608"/>
                  <a:gd name="connsiteY1" fmla="*/ 7826 h 7826"/>
                  <a:gd name="connsiteX2" fmla="*/ 0 w 2608"/>
                  <a:gd name="connsiteY2" fmla="*/ 7826 h 7826"/>
                  <a:gd name="connsiteX3" fmla="*/ 2608 w 2608"/>
                  <a:gd name="connsiteY3" fmla="*/ 7826 h 7826"/>
                  <a:gd name="connsiteX4" fmla="*/ 2608 w 2608"/>
                  <a:gd name="connsiteY4" fmla="*/ 7826 h 7826"/>
                  <a:gd name="connsiteX5" fmla="*/ 2608 w 2608"/>
                  <a:gd name="connsiteY5" fmla="*/ 0 h 7826"/>
                  <a:gd name="connsiteX6" fmla="*/ 2608 w 2608"/>
                  <a:gd name="connsiteY6" fmla="*/ 0 h 7826"/>
                  <a:gd name="connsiteX7" fmla="*/ 0 w 2608"/>
                  <a:gd name="connsiteY7" fmla="*/ 0 h 7826"/>
                  <a:gd name="connsiteX8" fmla="*/ 0 w 2608"/>
                  <a:gd name="connsiteY8" fmla="*/ 0 h 7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8" h="7826">
                    <a:moveTo>
                      <a:pt x="0" y="0"/>
                    </a:moveTo>
                    <a:lnTo>
                      <a:pt x="0" y="7826"/>
                    </a:lnTo>
                    <a:lnTo>
                      <a:pt x="0" y="7826"/>
                    </a:lnTo>
                    <a:lnTo>
                      <a:pt x="2608" y="7826"/>
                    </a:lnTo>
                    <a:lnTo>
                      <a:pt x="2608" y="7826"/>
                    </a:lnTo>
                    <a:lnTo>
                      <a:pt x="2608" y="0"/>
                    </a:lnTo>
                    <a:lnTo>
                      <a:pt x="2608" y="0"/>
                    </a:lnTo>
                    <a:lnTo>
                      <a:pt x="0" y="0"/>
                    </a:lnTo>
                    <a:lnTo>
                      <a:pt x="0" y="0"/>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55" name="Freeform 54">
                <a:extLst>
                  <a:ext uri="{FF2B5EF4-FFF2-40B4-BE49-F238E27FC236}">
                    <a16:creationId xmlns:a16="http://schemas.microsoft.com/office/drawing/2014/main" id="{6A6C5E54-7CEC-6B5E-C9D3-FB851542BD5F}"/>
                  </a:ext>
                </a:extLst>
              </p:cNvPr>
              <p:cNvSpPr/>
              <p:nvPr/>
            </p:nvSpPr>
            <p:spPr>
              <a:xfrm>
                <a:off x="8856592" y="3482913"/>
                <a:ext cx="6955" cy="7825"/>
              </a:xfrm>
              <a:custGeom>
                <a:avLst/>
                <a:gdLst>
                  <a:gd name="connsiteX0" fmla="*/ 0 w 6955"/>
                  <a:gd name="connsiteY0" fmla="*/ 1739 h 7825"/>
                  <a:gd name="connsiteX1" fmla="*/ 4927 w 6955"/>
                  <a:gd name="connsiteY1" fmla="*/ 7826 h 7825"/>
                  <a:gd name="connsiteX2" fmla="*/ 6956 w 6955"/>
                  <a:gd name="connsiteY2" fmla="*/ 6377 h 7825"/>
                  <a:gd name="connsiteX3" fmla="*/ 2029 w 6955"/>
                  <a:gd name="connsiteY3" fmla="*/ 0 h 7825"/>
                  <a:gd name="connsiteX4" fmla="*/ 0 w 6955"/>
                  <a:gd name="connsiteY4" fmla="*/ 1739 h 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5" h="7825">
                    <a:moveTo>
                      <a:pt x="0" y="1739"/>
                    </a:moveTo>
                    <a:cubicBezTo>
                      <a:pt x="1739" y="3768"/>
                      <a:pt x="3478" y="5797"/>
                      <a:pt x="4927" y="7826"/>
                    </a:cubicBezTo>
                    <a:lnTo>
                      <a:pt x="6956" y="6377"/>
                    </a:lnTo>
                    <a:cubicBezTo>
                      <a:pt x="5506" y="4058"/>
                      <a:pt x="3768" y="2029"/>
                      <a:pt x="2029" y="0"/>
                    </a:cubicBezTo>
                    <a:lnTo>
                      <a:pt x="0" y="173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56" name="Freeform 55">
                <a:extLst>
                  <a:ext uri="{FF2B5EF4-FFF2-40B4-BE49-F238E27FC236}">
                    <a16:creationId xmlns:a16="http://schemas.microsoft.com/office/drawing/2014/main" id="{DD521C29-FC68-94FC-449D-AE6635EB88AF}"/>
                  </a:ext>
                </a:extLst>
              </p:cNvPr>
              <p:cNvSpPr/>
              <p:nvPr/>
            </p:nvSpPr>
            <p:spPr>
              <a:xfrm>
                <a:off x="8872532" y="3606102"/>
                <a:ext cx="2608" cy="8116"/>
              </a:xfrm>
              <a:custGeom>
                <a:avLst/>
                <a:gdLst>
                  <a:gd name="connsiteX0" fmla="*/ 0 w 2608"/>
                  <a:gd name="connsiteY0" fmla="*/ 0 h 8116"/>
                  <a:gd name="connsiteX1" fmla="*/ 0 w 2608"/>
                  <a:gd name="connsiteY1" fmla="*/ 7826 h 8116"/>
                  <a:gd name="connsiteX2" fmla="*/ 0 w 2608"/>
                  <a:gd name="connsiteY2" fmla="*/ 8116 h 8116"/>
                  <a:gd name="connsiteX3" fmla="*/ 2608 w 2608"/>
                  <a:gd name="connsiteY3" fmla="*/ 8116 h 8116"/>
                  <a:gd name="connsiteX4" fmla="*/ 2608 w 2608"/>
                  <a:gd name="connsiteY4" fmla="*/ 7826 h 8116"/>
                  <a:gd name="connsiteX5" fmla="*/ 2608 w 2608"/>
                  <a:gd name="connsiteY5" fmla="*/ 0 h 8116"/>
                  <a:gd name="connsiteX6" fmla="*/ 2608 w 2608"/>
                  <a:gd name="connsiteY6" fmla="*/ 0 h 8116"/>
                  <a:gd name="connsiteX7" fmla="*/ 0 w 2608"/>
                  <a:gd name="connsiteY7" fmla="*/ 0 h 8116"/>
                  <a:gd name="connsiteX8" fmla="*/ 0 w 2608"/>
                  <a:gd name="connsiteY8" fmla="*/ 0 h 8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8" h="8116">
                    <a:moveTo>
                      <a:pt x="0" y="0"/>
                    </a:moveTo>
                    <a:lnTo>
                      <a:pt x="0" y="7826"/>
                    </a:lnTo>
                    <a:lnTo>
                      <a:pt x="0" y="8116"/>
                    </a:lnTo>
                    <a:lnTo>
                      <a:pt x="2608" y="8116"/>
                    </a:lnTo>
                    <a:lnTo>
                      <a:pt x="2608" y="7826"/>
                    </a:lnTo>
                    <a:lnTo>
                      <a:pt x="2608" y="0"/>
                    </a:lnTo>
                    <a:lnTo>
                      <a:pt x="2608" y="0"/>
                    </a:lnTo>
                    <a:lnTo>
                      <a:pt x="0" y="0"/>
                    </a:lnTo>
                    <a:lnTo>
                      <a:pt x="0" y="0"/>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57" name="Freeform 56">
                <a:extLst>
                  <a:ext uri="{FF2B5EF4-FFF2-40B4-BE49-F238E27FC236}">
                    <a16:creationId xmlns:a16="http://schemas.microsoft.com/office/drawing/2014/main" id="{EB8A0A64-44F3-42E9-A469-FA9F50C6FD6C}"/>
                  </a:ext>
                </a:extLst>
              </p:cNvPr>
              <p:cNvSpPr/>
              <p:nvPr/>
            </p:nvSpPr>
            <p:spPr>
              <a:xfrm>
                <a:off x="8872532" y="3622044"/>
                <a:ext cx="2608" cy="4057"/>
              </a:xfrm>
              <a:custGeom>
                <a:avLst/>
                <a:gdLst>
                  <a:gd name="connsiteX0" fmla="*/ 0 w 2608"/>
                  <a:gd name="connsiteY0" fmla="*/ 0 h 4057"/>
                  <a:gd name="connsiteX1" fmla="*/ 2608 w 2608"/>
                  <a:gd name="connsiteY1" fmla="*/ 0 h 4057"/>
                  <a:gd name="connsiteX2" fmla="*/ 2608 w 2608"/>
                  <a:gd name="connsiteY2" fmla="*/ 4058 h 4057"/>
                  <a:gd name="connsiteX3" fmla="*/ 0 w 2608"/>
                  <a:gd name="connsiteY3" fmla="*/ 4058 h 4057"/>
                </a:gdLst>
                <a:ahLst/>
                <a:cxnLst>
                  <a:cxn ang="0">
                    <a:pos x="connsiteX0" y="connsiteY0"/>
                  </a:cxn>
                  <a:cxn ang="0">
                    <a:pos x="connsiteX1" y="connsiteY1"/>
                  </a:cxn>
                  <a:cxn ang="0">
                    <a:pos x="connsiteX2" y="connsiteY2"/>
                  </a:cxn>
                  <a:cxn ang="0">
                    <a:pos x="connsiteX3" y="connsiteY3"/>
                  </a:cxn>
                </a:cxnLst>
                <a:rect l="l" t="t" r="r" b="b"/>
                <a:pathLst>
                  <a:path w="2608" h="4057">
                    <a:moveTo>
                      <a:pt x="0" y="0"/>
                    </a:moveTo>
                    <a:lnTo>
                      <a:pt x="2608" y="0"/>
                    </a:lnTo>
                    <a:lnTo>
                      <a:pt x="2608" y="4058"/>
                    </a:lnTo>
                    <a:lnTo>
                      <a:pt x="0" y="4058"/>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58" name="Freeform 57">
                <a:extLst>
                  <a:ext uri="{FF2B5EF4-FFF2-40B4-BE49-F238E27FC236}">
                    <a16:creationId xmlns:a16="http://schemas.microsoft.com/office/drawing/2014/main" id="{CB1BCFAB-6792-9A28-4CF6-7033B0C7E746}"/>
                  </a:ext>
                </a:extLst>
              </p:cNvPr>
              <p:cNvSpPr/>
              <p:nvPr/>
            </p:nvSpPr>
            <p:spPr>
              <a:xfrm>
                <a:off x="9018894" y="3399434"/>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59" name="Freeform 58">
                <a:extLst>
                  <a:ext uri="{FF2B5EF4-FFF2-40B4-BE49-F238E27FC236}">
                    <a16:creationId xmlns:a16="http://schemas.microsoft.com/office/drawing/2014/main" id="{AD0FE6D4-6692-F257-C007-11FF0DB88FEE}"/>
                  </a:ext>
                </a:extLst>
              </p:cNvPr>
              <p:cNvSpPr/>
              <p:nvPr/>
            </p:nvSpPr>
            <p:spPr>
              <a:xfrm>
                <a:off x="8987303" y="3399434"/>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60" name="Freeform 59">
                <a:extLst>
                  <a:ext uri="{FF2B5EF4-FFF2-40B4-BE49-F238E27FC236}">
                    <a16:creationId xmlns:a16="http://schemas.microsoft.com/office/drawing/2014/main" id="{273CD7F2-BD84-FF83-B5BA-35C5FC979932}"/>
                  </a:ext>
                </a:extLst>
              </p:cNvPr>
              <p:cNvSpPr/>
              <p:nvPr/>
            </p:nvSpPr>
            <p:spPr>
              <a:xfrm>
                <a:off x="9002954" y="3399434"/>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61" name="Freeform 60">
                <a:extLst>
                  <a:ext uri="{FF2B5EF4-FFF2-40B4-BE49-F238E27FC236}">
                    <a16:creationId xmlns:a16="http://schemas.microsoft.com/office/drawing/2014/main" id="{1F25C94D-CFCA-D6A0-F830-D4B9B0274FF9}"/>
                  </a:ext>
                </a:extLst>
              </p:cNvPr>
              <p:cNvSpPr/>
              <p:nvPr/>
            </p:nvSpPr>
            <p:spPr>
              <a:xfrm>
                <a:off x="8876589" y="3433058"/>
                <a:ext cx="5507" cy="8115"/>
              </a:xfrm>
              <a:custGeom>
                <a:avLst/>
                <a:gdLst>
                  <a:gd name="connsiteX0" fmla="*/ 0 w 5507"/>
                  <a:gd name="connsiteY0" fmla="*/ 7246 h 8115"/>
                  <a:gd name="connsiteX1" fmla="*/ 2319 w 5507"/>
                  <a:gd name="connsiteY1" fmla="*/ 8116 h 8115"/>
                  <a:gd name="connsiteX2" fmla="*/ 5507 w 5507"/>
                  <a:gd name="connsiteY2" fmla="*/ 1159 h 8115"/>
                  <a:gd name="connsiteX3" fmla="*/ 3188 w 5507"/>
                  <a:gd name="connsiteY3" fmla="*/ 0 h 8115"/>
                  <a:gd name="connsiteX4" fmla="*/ 0 w 5507"/>
                  <a:gd name="connsiteY4" fmla="*/ 7246 h 8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07" h="8115">
                    <a:moveTo>
                      <a:pt x="0" y="7246"/>
                    </a:moveTo>
                    <a:lnTo>
                      <a:pt x="2319" y="8116"/>
                    </a:lnTo>
                    <a:cubicBezTo>
                      <a:pt x="3188" y="5797"/>
                      <a:pt x="4347" y="3478"/>
                      <a:pt x="5507" y="1159"/>
                    </a:cubicBezTo>
                    <a:lnTo>
                      <a:pt x="3188" y="0"/>
                    </a:lnTo>
                    <a:cubicBezTo>
                      <a:pt x="2029" y="2319"/>
                      <a:pt x="870" y="4927"/>
                      <a:pt x="0" y="724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62" name="Freeform 61">
                <a:extLst>
                  <a:ext uri="{FF2B5EF4-FFF2-40B4-BE49-F238E27FC236}">
                    <a16:creationId xmlns:a16="http://schemas.microsoft.com/office/drawing/2014/main" id="{07A12E8A-ED7F-F2BA-8425-B9D734FEAA0A}"/>
                  </a:ext>
                </a:extLst>
              </p:cNvPr>
              <p:cNvSpPr/>
              <p:nvPr/>
            </p:nvSpPr>
            <p:spPr>
              <a:xfrm>
                <a:off x="8939772" y="3399434"/>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63" name="Freeform 62">
                <a:extLst>
                  <a:ext uri="{FF2B5EF4-FFF2-40B4-BE49-F238E27FC236}">
                    <a16:creationId xmlns:a16="http://schemas.microsoft.com/office/drawing/2014/main" id="{B84DDCC4-3295-3EB3-73D5-8E1D5A586D39}"/>
                  </a:ext>
                </a:extLst>
              </p:cNvPr>
              <p:cNvSpPr/>
              <p:nvPr/>
            </p:nvSpPr>
            <p:spPr>
              <a:xfrm>
                <a:off x="8884125" y="3419724"/>
                <a:ext cx="6955" cy="7826"/>
              </a:xfrm>
              <a:custGeom>
                <a:avLst/>
                <a:gdLst>
                  <a:gd name="connsiteX0" fmla="*/ 0 w 6955"/>
                  <a:gd name="connsiteY0" fmla="*/ 6377 h 7826"/>
                  <a:gd name="connsiteX1" fmla="*/ 2029 w 6955"/>
                  <a:gd name="connsiteY1" fmla="*/ 7826 h 7826"/>
                  <a:gd name="connsiteX2" fmla="*/ 6956 w 6955"/>
                  <a:gd name="connsiteY2" fmla="*/ 1739 h 7826"/>
                  <a:gd name="connsiteX3" fmla="*/ 4927 w 6955"/>
                  <a:gd name="connsiteY3" fmla="*/ 0 h 7826"/>
                  <a:gd name="connsiteX4" fmla="*/ 0 w 6955"/>
                  <a:gd name="connsiteY4" fmla="*/ 6377 h 7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5" h="7826">
                    <a:moveTo>
                      <a:pt x="0" y="6377"/>
                    </a:moveTo>
                    <a:lnTo>
                      <a:pt x="2029" y="7826"/>
                    </a:lnTo>
                    <a:cubicBezTo>
                      <a:pt x="3478" y="5797"/>
                      <a:pt x="5217" y="3768"/>
                      <a:pt x="6956" y="1739"/>
                    </a:cubicBezTo>
                    <a:lnTo>
                      <a:pt x="4927" y="0"/>
                    </a:lnTo>
                    <a:cubicBezTo>
                      <a:pt x="3188" y="2029"/>
                      <a:pt x="1449" y="4058"/>
                      <a:pt x="0" y="637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64" name="Freeform 63">
                <a:extLst>
                  <a:ext uri="{FF2B5EF4-FFF2-40B4-BE49-F238E27FC236}">
                    <a16:creationId xmlns:a16="http://schemas.microsoft.com/office/drawing/2014/main" id="{3DC93BA1-D3C9-0EAD-A5A6-A4FA6AA6702A}"/>
                  </a:ext>
                </a:extLst>
              </p:cNvPr>
              <p:cNvSpPr/>
              <p:nvPr/>
            </p:nvSpPr>
            <p:spPr>
              <a:xfrm>
                <a:off x="8955712" y="3399434"/>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65" name="Freeform 64">
                <a:extLst>
                  <a:ext uri="{FF2B5EF4-FFF2-40B4-BE49-F238E27FC236}">
                    <a16:creationId xmlns:a16="http://schemas.microsoft.com/office/drawing/2014/main" id="{CAE32376-F953-44F8-14B2-ECBFB9E88079}"/>
                  </a:ext>
                </a:extLst>
              </p:cNvPr>
              <p:cNvSpPr/>
              <p:nvPr/>
            </p:nvSpPr>
            <p:spPr>
              <a:xfrm>
                <a:off x="8908470" y="3402333"/>
                <a:ext cx="8405" cy="5507"/>
              </a:xfrm>
              <a:custGeom>
                <a:avLst/>
                <a:gdLst>
                  <a:gd name="connsiteX0" fmla="*/ 0 w 8405"/>
                  <a:gd name="connsiteY0" fmla="*/ 3189 h 5507"/>
                  <a:gd name="connsiteX1" fmla="*/ 1160 w 8405"/>
                  <a:gd name="connsiteY1" fmla="*/ 5507 h 5507"/>
                  <a:gd name="connsiteX2" fmla="*/ 8405 w 8405"/>
                  <a:gd name="connsiteY2" fmla="*/ 2609 h 5507"/>
                  <a:gd name="connsiteX3" fmla="*/ 7536 w 8405"/>
                  <a:gd name="connsiteY3" fmla="*/ 0 h 5507"/>
                  <a:gd name="connsiteX4" fmla="*/ 0 w 8405"/>
                  <a:gd name="connsiteY4" fmla="*/ 2899 h 5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5" h="5507">
                    <a:moveTo>
                      <a:pt x="0" y="3189"/>
                    </a:moveTo>
                    <a:lnTo>
                      <a:pt x="1160" y="5507"/>
                    </a:lnTo>
                    <a:cubicBezTo>
                      <a:pt x="3478" y="4348"/>
                      <a:pt x="5797" y="3478"/>
                      <a:pt x="8405" y="2609"/>
                    </a:cubicBezTo>
                    <a:lnTo>
                      <a:pt x="7536" y="0"/>
                    </a:lnTo>
                    <a:cubicBezTo>
                      <a:pt x="4928" y="870"/>
                      <a:pt x="2609" y="1739"/>
                      <a:pt x="0" y="2899"/>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66" name="Freeform 65">
                <a:extLst>
                  <a:ext uri="{FF2B5EF4-FFF2-40B4-BE49-F238E27FC236}">
                    <a16:creationId xmlns:a16="http://schemas.microsoft.com/office/drawing/2014/main" id="{0CAA2276-DA1B-D03A-F5CC-93E0F8F0C904}"/>
                  </a:ext>
                </a:extLst>
              </p:cNvPr>
              <p:cNvSpPr/>
              <p:nvPr/>
            </p:nvSpPr>
            <p:spPr>
              <a:xfrm>
                <a:off x="8895139" y="3409579"/>
                <a:ext cx="7825" cy="6956"/>
              </a:xfrm>
              <a:custGeom>
                <a:avLst/>
                <a:gdLst>
                  <a:gd name="connsiteX0" fmla="*/ 0 w 7825"/>
                  <a:gd name="connsiteY0" fmla="*/ 4928 h 6956"/>
                  <a:gd name="connsiteX1" fmla="*/ 1739 w 7825"/>
                  <a:gd name="connsiteY1" fmla="*/ 6957 h 6956"/>
                  <a:gd name="connsiteX2" fmla="*/ 7825 w 7825"/>
                  <a:gd name="connsiteY2" fmla="*/ 2319 h 6956"/>
                  <a:gd name="connsiteX3" fmla="*/ 6376 w 7825"/>
                  <a:gd name="connsiteY3" fmla="*/ 0 h 6956"/>
                  <a:gd name="connsiteX4" fmla="*/ 0 w 7825"/>
                  <a:gd name="connsiteY4" fmla="*/ 4928 h 6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5" h="6956">
                    <a:moveTo>
                      <a:pt x="0" y="4928"/>
                    </a:moveTo>
                    <a:lnTo>
                      <a:pt x="1739" y="6957"/>
                    </a:lnTo>
                    <a:cubicBezTo>
                      <a:pt x="3768" y="5218"/>
                      <a:pt x="5797" y="3768"/>
                      <a:pt x="7825" y="2319"/>
                    </a:cubicBezTo>
                    <a:lnTo>
                      <a:pt x="6376" y="0"/>
                    </a:lnTo>
                    <a:cubicBezTo>
                      <a:pt x="4057" y="1449"/>
                      <a:pt x="2029" y="3189"/>
                      <a:pt x="0" y="492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67" name="Freeform 66">
                <a:extLst>
                  <a:ext uri="{FF2B5EF4-FFF2-40B4-BE49-F238E27FC236}">
                    <a16:creationId xmlns:a16="http://schemas.microsoft.com/office/drawing/2014/main" id="{99DE9548-8F38-06C9-1135-7E4B2E313601}"/>
                  </a:ext>
                </a:extLst>
              </p:cNvPr>
              <p:cNvSpPr/>
              <p:nvPr/>
            </p:nvSpPr>
            <p:spPr>
              <a:xfrm>
                <a:off x="8923831" y="3399724"/>
                <a:ext cx="8115" cy="3478"/>
              </a:xfrm>
              <a:custGeom>
                <a:avLst/>
                <a:gdLst>
                  <a:gd name="connsiteX0" fmla="*/ 0 w 8115"/>
                  <a:gd name="connsiteY0" fmla="*/ 869 h 3478"/>
                  <a:gd name="connsiteX1" fmla="*/ 580 w 8115"/>
                  <a:gd name="connsiteY1" fmla="*/ 3478 h 3478"/>
                  <a:gd name="connsiteX2" fmla="*/ 8115 w 8115"/>
                  <a:gd name="connsiteY2" fmla="*/ 2608 h 3478"/>
                  <a:gd name="connsiteX3" fmla="*/ 8115 w 8115"/>
                  <a:gd name="connsiteY3" fmla="*/ 0 h 3478"/>
                  <a:gd name="connsiteX4" fmla="*/ 0 w 8115"/>
                  <a:gd name="connsiteY4" fmla="*/ 1159 h 3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5" h="3478">
                    <a:moveTo>
                      <a:pt x="0" y="869"/>
                    </a:moveTo>
                    <a:lnTo>
                      <a:pt x="580" y="3478"/>
                    </a:lnTo>
                    <a:cubicBezTo>
                      <a:pt x="3188" y="2899"/>
                      <a:pt x="5797" y="2608"/>
                      <a:pt x="8115" y="2608"/>
                    </a:cubicBezTo>
                    <a:lnTo>
                      <a:pt x="8115" y="0"/>
                    </a:lnTo>
                    <a:cubicBezTo>
                      <a:pt x="5217" y="0"/>
                      <a:pt x="2609" y="580"/>
                      <a:pt x="0" y="1159"/>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68" name="Freeform 67">
                <a:extLst>
                  <a:ext uri="{FF2B5EF4-FFF2-40B4-BE49-F238E27FC236}">
                    <a16:creationId xmlns:a16="http://schemas.microsoft.com/office/drawing/2014/main" id="{205A35DE-9F65-FEB8-B038-17C9FB131B2C}"/>
                  </a:ext>
                </a:extLst>
              </p:cNvPr>
              <p:cNvSpPr/>
              <p:nvPr/>
            </p:nvSpPr>
            <p:spPr>
              <a:xfrm>
                <a:off x="8872532" y="3495667"/>
                <a:ext cx="2608" cy="7826"/>
              </a:xfrm>
              <a:custGeom>
                <a:avLst/>
                <a:gdLst>
                  <a:gd name="connsiteX0" fmla="*/ 0 w 2608"/>
                  <a:gd name="connsiteY0" fmla="*/ 0 h 7826"/>
                  <a:gd name="connsiteX1" fmla="*/ 2608 w 2608"/>
                  <a:gd name="connsiteY1" fmla="*/ 0 h 7826"/>
                  <a:gd name="connsiteX2" fmla="*/ 2608 w 2608"/>
                  <a:gd name="connsiteY2" fmla="*/ 7826 h 7826"/>
                  <a:gd name="connsiteX3" fmla="*/ 0 w 2608"/>
                  <a:gd name="connsiteY3" fmla="*/ 7826 h 7826"/>
                </a:gdLst>
                <a:ahLst/>
                <a:cxnLst>
                  <a:cxn ang="0">
                    <a:pos x="connsiteX0" y="connsiteY0"/>
                  </a:cxn>
                  <a:cxn ang="0">
                    <a:pos x="connsiteX1" y="connsiteY1"/>
                  </a:cxn>
                  <a:cxn ang="0">
                    <a:pos x="connsiteX2" y="connsiteY2"/>
                  </a:cxn>
                  <a:cxn ang="0">
                    <a:pos x="connsiteX3" y="connsiteY3"/>
                  </a:cxn>
                </a:cxnLst>
                <a:rect l="l" t="t" r="r" b="b"/>
                <a:pathLst>
                  <a:path w="2608" h="7826">
                    <a:moveTo>
                      <a:pt x="0" y="0"/>
                    </a:moveTo>
                    <a:lnTo>
                      <a:pt x="2608" y="0"/>
                    </a:lnTo>
                    <a:lnTo>
                      <a:pt x="2608" y="7826"/>
                    </a:lnTo>
                    <a:lnTo>
                      <a:pt x="0" y="7826"/>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69" name="Freeform 68">
                <a:extLst>
                  <a:ext uri="{FF2B5EF4-FFF2-40B4-BE49-F238E27FC236}">
                    <a16:creationId xmlns:a16="http://schemas.microsoft.com/office/drawing/2014/main" id="{E9BB1CCA-3792-0C23-B18C-BC9FF318D15F}"/>
                  </a:ext>
                </a:extLst>
              </p:cNvPr>
              <p:cNvSpPr/>
              <p:nvPr/>
            </p:nvSpPr>
            <p:spPr>
              <a:xfrm>
                <a:off x="8971363" y="3399434"/>
                <a:ext cx="7825" cy="2608"/>
              </a:xfrm>
              <a:custGeom>
                <a:avLst/>
                <a:gdLst>
                  <a:gd name="connsiteX0" fmla="*/ 0 w 7825"/>
                  <a:gd name="connsiteY0" fmla="*/ 0 h 2608"/>
                  <a:gd name="connsiteX1" fmla="*/ 7825 w 7825"/>
                  <a:gd name="connsiteY1" fmla="*/ 0 h 2608"/>
                  <a:gd name="connsiteX2" fmla="*/ 7825 w 7825"/>
                  <a:gd name="connsiteY2" fmla="*/ 2609 h 2608"/>
                  <a:gd name="connsiteX3" fmla="*/ 0 w 7825"/>
                  <a:gd name="connsiteY3" fmla="*/ 2609 h 2608"/>
                </a:gdLst>
                <a:ahLst/>
                <a:cxnLst>
                  <a:cxn ang="0">
                    <a:pos x="connsiteX0" y="connsiteY0"/>
                  </a:cxn>
                  <a:cxn ang="0">
                    <a:pos x="connsiteX1" y="connsiteY1"/>
                  </a:cxn>
                  <a:cxn ang="0">
                    <a:pos x="connsiteX2" y="connsiteY2"/>
                  </a:cxn>
                  <a:cxn ang="0">
                    <a:pos x="connsiteX3" y="connsiteY3"/>
                  </a:cxn>
                </a:cxnLst>
                <a:rect l="l" t="t" r="r" b="b"/>
                <a:pathLst>
                  <a:path w="7825" h="2608">
                    <a:moveTo>
                      <a:pt x="0" y="0"/>
                    </a:moveTo>
                    <a:lnTo>
                      <a:pt x="7825" y="0"/>
                    </a:lnTo>
                    <a:lnTo>
                      <a:pt x="7825"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70" name="Freeform 69">
                <a:extLst>
                  <a:ext uri="{FF2B5EF4-FFF2-40B4-BE49-F238E27FC236}">
                    <a16:creationId xmlns:a16="http://schemas.microsoft.com/office/drawing/2014/main" id="{7ADB36BC-5CA1-A4A3-3D22-41468BC91E0A}"/>
                  </a:ext>
                </a:extLst>
              </p:cNvPr>
              <p:cNvSpPr/>
              <p:nvPr/>
            </p:nvSpPr>
            <p:spPr>
              <a:xfrm>
                <a:off x="8872532" y="3480014"/>
                <a:ext cx="2608" cy="7826"/>
              </a:xfrm>
              <a:custGeom>
                <a:avLst/>
                <a:gdLst>
                  <a:gd name="connsiteX0" fmla="*/ 0 w 2608"/>
                  <a:gd name="connsiteY0" fmla="*/ 0 h 7826"/>
                  <a:gd name="connsiteX1" fmla="*/ 2608 w 2608"/>
                  <a:gd name="connsiteY1" fmla="*/ 0 h 7826"/>
                  <a:gd name="connsiteX2" fmla="*/ 2608 w 2608"/>
                  <a:gd name="connsiteY2" fmla="*/ 7826 h 7826"/>
                  <a:gd name="connsiteX3" fmla="*/ 0 w 2608"/>
                  <a:gd name="connsiteY3" fmla="*/ 7826 h 7826"/>
                </a:gdLst>
                <a:ahLst/>
                <a:cxnLst>
                  <a:cxn ang="0">
                    <a:pos x="connsiteX0" y="connsiteY0"/>
                  </a:cxn>
                  <a:cxn ang="0">
                    <a:pos x="connsiteX1" y="connsiteY1"/>
                  </a:cxn>
                  <a:cxn ang="0">
                    <a:pos x="connsiteX2" y="connsiteY2"/>
                  </a:cxn>
                  <a:cxn ang="0">
                    <a:pos x="connsiteX3" y="connsiteY3"/>
                  </a:cxn>
                </a:cxnLst>
                <a:rect l="l" t="t" r="r" b="b"/>
                <a:pathLst>
                  <a:path w="2608" h="7826">
                    <a:moveTo>
                      <a:pt x="0" y="0"/>
                    </a:moveTo>
                    <a:lnTo>
                      <a:pt x="2608" y="0"/>
                    </a:lnTo>
                    <a:lnTo>
                      <a:pt x="2608" y="7826"/>
                    </a:lnTo>
                    <a:lnTo>
                      <a:pt x="0" y="7826"/>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71" name="Freeform 70">
                <a:extLst>
                  <a:ext uri="{FF2B5EF4-FFF2-40B4-BE49-F238E27FC236}">
                    <a16:creationId xmlns:a16="http://schemas.microsoft.com/office/drawing/2014/main" id="{FE076039-4179-44F4-2FCF-DCC3D72BCB87}"/>
                  </a:ext>
                </a:extLst>
              </p:cNvPr>
              <p:cNvSpPr/>
              <p:nvPr/>
            </p:nvSpPr>
            <p:spPr>
              <a:xfrm>
                <a:off x="8872532" y="3448420"/>
                <a:ext cx="4347" cy="8116"/>
              </a:xfrm>
              <a:custGeom>
                <a:avLst/>
                <a:gdLst>
                  <a:gd name="connsiteX0" fmla="*/ 870 w 4347"/>
                  <a:gd name="connsiteY0" fmla="*/ 4058 h 8116"/>
                  <a:gd name="connsiteX1" fmla="*/ 0 w 4347"/>
                  <a:gd name="connsiteY1" fmla="*/ 4058 h 8116"/>
                  <a:gd name="connsiteX2" fmla="*/ 0 w 4347"/>
                  <a:gd name="connsiteY2" fmla="*/ 8116 h 8116"/>
                  <a:gd name="connsiteX3" fmla="*/ 2898 w 4347"/>
                  <a:gd name="connsiteY3" fmla="*/ 8116 h 8116"/>
                  <a:gd name="connsiteX4" fmla="*/ 4347 w 4347"/>
                  <a:gd name="connsiteY4" fmla="*/ 580 h 8116"/>
                  <a:gd name="connsiteX5" fmla="*/ 1739 w 4347"/>
                  <a:gd name="connsiteY5" fmla="*/ 0 h 8116"/>
                  <a:gd name="connsiteX6" fmla="*/ 870 w 4347"/>
                  <a:gd name="connsiteY6" fmla="*/ 4348 h 8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7" h="8116">
                    <a:moveTo>
                      <a:pt x="870" y="4058"/>
                    </a:moveTo>
                    <a:lnTo>
                      <a:pt x="0" y="4058"/>
                    </a:lnTo>
                    <a:lnTo>
                      <a:pt x="0" y="8116"/>
                    </a:lnTo>
                    <a:lnTo>
                      <a:pt x="2898" y="8116"/>
                    </a:lnTo>
                    <a:cubicBezTo>
                      <a:pt x="2898" y="5507"/>
                      <a:pt x="3478" y="3188"/>
                      <a:pt x="4347" y="580"/>
                    </a:cubicBezTo>
                    <a:lnTo>
                      <a:pt x="1739" y="0"/>
                    </a:lnTo>
                    <a:cubicBezTo>
                      <a:pt x="1449" y="1449"/>
                      <a:pt x="1159" y="2899"/>
                      <a:pt x="870" y="434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72" name="Freeform 71">
                <a:extLst>
                  <a:ext uri="{FF2B5EF4-FFF2-40B4-BE49-F238E27FC236}">
                    <a16:creationId xmlns:a16="http://schemas.microsoft.com/office/drawing/2014/main" id="{FF0E59ED-AA2F-D121-99A8-19611C22619B}"/>
                  </a:ext>
                </a:extLst>
              </p:cNvPr>
              <p:cNvSpPr/>
              <p:nvPr/>
            </p:nvSpPr>
            <p:spPr>
              <a:xfrm>
                <a:off x="8872532" y="3464072"/>
                <a:ext cx="2608" cy="7826"/>
              </a:xfrm>
              <a:custGeom>
                <a:avLst/>
                <a:gdLst>
                  <a:gd name="connsiteX0" fmla="*/ 0 w 2608"/>
                  <a:gd name="connsiteY0" fmla="*/ 0 h 7826"/>
                  <a:gd name="connsiteX1" fmla="*/ 2608 w 2608"/>
                  <a:gd name="connsiteY1" fmla="*/ 0 h 7826"/>
                  <a:gd name="connsiteX2" fmla="*/ 2608 w 2608"/>
                  <a:gd name="connsiteY2" fmla="*/ 7826 h 7826"/>
                  <a:gd name="connsiteX3" fmla="*/ 0 w 2608"/>
                  <a:gd name="connsiteY3" fmla="*/ 7826 h 7826"/>
                </a:gdLst>
                <a:ahLst/>
                <a:cxnLst>
                  <a:cxn ang="0">
                    <a:pos x="connsiteX0" y="connsiteY0"/>
                  </a:cxn>
                  <a:cxn ang="0">
                    <a:pos x="connsiteX1" y="connsiteY1"/>
                  </a:cxn>
                  <a:cxn ang="0">
                    <a:pos x="connsiteX2" y="connsiteY2"/>
                  </a:cxn>
                  <a:cxn ang="0">
                    <a:pos x="connsiteX3" y="connsiteY3"/>
                  </a:cxn>
                </a:cxnLst>
                <a:rect l="l" t="t" r="r" b="b"/>
                <a:pathLst>
                  <a:path w="2608" h="7826">
                    <a:moveTo>
                      <a:pt x="0" y="0"/>
                    </a:moveTo>
                    <a:lnTo>
                      <a:pt x="2608" y="0"/>
                    </a:lnTo>
                    <a:lnTo>
                      <a:pt x="2608" y="7826"/>
                    </a:lnTo>
                    <a:lnTo>
                      <a:pt x="0" y="7826"/>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73" name="Freeform 72">
                <a:extLst>
                  <a:ext uri="{FF2B5EF4-FFF2-40B4-BE49-F238E27FC236}">
                    <a16:creationId xmlns:a16="http://schemas.microsoft.com/office/drawing/2014/main" id="{5CCF3C23-DEFF-1691-B6FF-EE0BE2547526}"/>
                  </a:ext>
                </a:extLst>
              </p:cNvPr>
              <p:cNvSpPr/>
              <p:nvPr/>
            </p:nvSpPr>
            <p:spPr>
              <a:xfrm>
                <a:off x="9034545" y="3399434"/>
                <a:ext cx="4057" cy="2608"/>
              </a:xfrm>
              <a:custGeom>
                <a:avLst/>
                <a:gdLst>
                  <a:gd name="connsiteX0" fmla="*/ 0 w 4057"/>
                  <a:gd name="connsiteY0" fmla="*/ 0 h 2608"/>
                  <a:gd name="connsiteX1" fmla="*/ 4057 w 4057"/>
                  <a:gd name="connsiteY1" fmla="*/ 0 h 2608"/>
                  <a:gd name="connsiteX2" fmla="*/ 4057 w 4057"/>
                  <a:gd name="connsiteY2" fmla="*/ 2609 h 2608"/>
                  <a:gd name="connsiteX3" fmla="*/ 0 w 4057"/>
                  <a:gd name="connsiteY3" fmla="*/ 2609 h 2608"/>
                </a:gdLst>
                <a:ahLst/>
                <a:cxnLst>
                  <a:cxn ang="0">
                    <a:pos x="connsiteX0" y="connsiteY0"/>
                  </a:cxn>
                  <a:cxn ang="0">
                    <a:pos x="connsiteX1" y="connsiteY1"/>
                  </a:cxn>
                  <a:cxn ang="0">
                    <a:pos x="connsiteX2" y="connsiteY2"/>
                  </a:cxn>
                  <a:cxn ang="0">
                    <a:pos x="connsiteX3" y="connsiteY3"/>
                  </a:cxn>
                </a:cxnLst>
                <a:rect l="l" t="t" r="r" b="b"/>
                <a:pathLst>
                  <a:path w="4057" h="2608">
                    <a:moveTo>
                      <a:pt x="0" y="0"/>
                    </a:moveTo>
                    <a:lnTo>
                      <a:pt x="4057" y="0"/>
                    </a:lnTo>
                    <a:lnTo>
                      <a:pt x="4057" y="2609"/>
                    </a:lnTo>
                    <a:lnTo>
                      <a:pt x="0" y="260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grpSp>
        <p:sp>
          <p:nvSpPr>
            <p:cNvPr id="74" name="TextBox 73">
              <a:extLst>
                <a:ext uri="{FF2B5EF4-FFF2-40B4-BE49-F238E27FC236}">
                  <a16:creationId xmlns:a16="http://schemas.microsoft.com/office/drawing/2014/main" id="{A6537056-2750-80C0-09AA-99C25CF35497}"/>
                </a:ext>
              </a:extLst>
            </p:cNvPr>
            <p:cNvSpPr txBox="1"/>
            <p:nvPr/>
          </p:nvSpPr>
          <p:spPr>
            <a:xfrm rot="10800000">
              <a:off x="1824298" y="4742008"/>
              <a:ext cx="2395239" cy="511495"/>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1">
                  <a:ln>
                    <a:noFill/>
                  </a:ln>
                  <a:solidFill>
                    <a:srgbClr val="49FF75"/>
                  </a:solidFill>
                  <a:effectLst/>
                  <a:uLnTx/>
                  <a:uFillTx/>
                  <a:latin typeface="Arial"/>
                  <a:ea typeface="+mn-ea"/>
                  <a:cs typeface="+mn-cs"/>
                </a:rPr>
                <a:t>Tool 4</a:t>
              </a:r>
            </a:p>
          </p:txBody>
        </p:sp>
        <p:sp>
          <p:nvSpPr>
            <p:cNvPr id="75" name="TextBox 74">
              <a:extLst>
                <a:ext uri="{FF2B5EF4-FFF2-40B4-BE49-F238E27FC236}">
                  <a16:creationId xmlns:a16="http://schemas.microsoft.com/office/drawing/2014/main" id="{DCA4E52D-C7DA-EE6B-6E24-01D5D6606BB5}"/>
                </a:ext>
              </a:extLst>
            </p:cNvPr>
            <p:cNvSpPr txBox="1"/>
            <p:nvPr/>
          </p:nvSpPr>
          <p:spPr>
            <a:xfrm rot="10800000">
              <a:off x="1824298" y="3083138"/>
              <a:ext cx="2395239" cy="523220"/>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1">
                  <a:ln>
                    <a:noFill/>
                  </a:ln>
                  <a:solidFill>
                    <a:srgbClr val="003422"/>
                  </a:solidFill>
                  <a:effectLst/>
                  <a:uLnTx/>
                  <a:uFillTx/>
                  <a:latin typeface="Arial"/>
                  <a:ea typeface="+mn-ea"/>
                  <a:cs typeface="+mn-cs"/>
                </a:rPr>
                <a:t>Tool 3</a:t>
              </a:r>
            </a:p>
          </p:txBody>
        </p:sp>
        <p:sp>
          <p:nvSpPr>
            <p:cNvPr id="76" name="TextBox 75">
              <a:extLst>
                <a:ext uri="{FF2B5EF4-FFF2-40B4-BE49-F238E27FC236}">
                  <a16:creationId xmlns:a16="http://schemas.microsoft.com/office/drawing/2014/main" id="{B693930E-D03C-412E-93D3-FBBA99CF6A36}"/>
                </a:ext>
              </a:extLst>
            </p:cNvPr>
            <p:cNvSpPr txBox="1"/>
            <p:nvPr/>
          </p:nvSpPr>
          <p:spPr>
            <a:xfrm rot="10800000">
              <a:off x="7944368" y="3945905"/>
              <a:ext cx="2395239" cy="523220"/>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1">
                  <a:ln>
                    <a:noFill/>
                  </a:ln>
                  <a:solidFill>
                    <a:srgbClr val="008555"/>
                  </a:solidFill>
                  <a:effectLst/>
                  <a:uLnTx/>
                  <a:uFillTx/>
                  <a:latin typeface="Arial"/>
                  <a:ea typeface="+mn-ea"/>
                  <a:cs typeface="+mn-cs"/>
                </a:rPr>
                <a:t>Tool 1</a:t>
              </a:r>
            </a:p>
          </p:txBody>
        </p:sp>
        <p:sp>
          <p:nvSpPr>
            <p:cNvPr id="77" name="TextBox 76">
              <a:extLst>
                <a:ext uri="{FF2B5EF4-FFF2-40B4-BE49-F238E27FC236}">
                  <a16:creationId xmlns:a16="http://schemas.microsoft.com/office/drawing/2014/main" id="{9278D37F-4BE5-48B1-DC0A-9F1691F03168}"/>
                </a:ext>
              </a:extLst>
            </p:cNvPr>
            <p:cNvSpPr txBox="1"/>
            <p:nvPr/>
          </p:nvSpPr>
          <p:spPr>
            <a:xfrm rot="10800000">
              <a:off x="7893036" y="2219313"/>
              <a:ext cx="2395239" cy="523220"/>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1">
                  <a:ln>
                    <a:noFill/>
                  </a:ln>
                  <a:solidFill>
                    <a:srgbClr val="006450"/>
                  </a:solidFill>
                  <a:effectLst/>
                  <a:uLnTx/>
                  <a:uFillTx/>
                  <a:latin typeface="Arial"/>
                  <a:ea typeface="+mn-ea"/>
                  <a:cs typeface="+mn-cs"/>
                </a:rPr>
                <a:t>Tool 2</a:t>
              </a:r>
            </a:p>
          </p:txBody>
        </p:sp>
      </p:grpSp>
      <p:sp>
        <p:nvSpPr>
          <p:cNvPr id="92" name="TextBox 91">
            <a:extLst>
              <a:ext uri="{FF2B5EF4-FFF2-40B4-BE49-F238E27FC236}">
                <a16:creationId xmlns:a16="http://schemas.microsoft.com/office/drawing/2014/main" id="{EF67925B-302A-7671-A5CC-B4EB3E6D04EA}"/>
              </a:ext>
            </a:extLst>
          </p:cNvPr>
          <p:cNvSpPr txBox="1"/>
          <p:nvPr/>
        </p:nvSpPr>
        <p:spPr>
          <a:xfrm>
            <a:off x="7198767" y="384048"/>
            <a:ext cx="3125072" cy="523220"/>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1">
                <a:ln>
                  <a:noFill/>
                </a:ln>
                <a:solidFill>
                  <a:srgbClr val="003422"/>
                </a:solidFill>
                <a:effectLst/>
                <a:uLnTx/>
                <a:uFillTx/>
                <a:latin typeface="Arial"/>
                <a:ea typeface="+mn-ea"/>
                <a:cs typeface="+mn-cs"/>
              </a:rPr>
              <a:t>Success / Failure</a:t>
            </a:r>
          </a:p>
        </p:txBody>
      </p:sp>
      <p:sp>
        <p:nvSpPr>
          <p:cNvPr id="93" name="TextBox 92">
            <a:extLst>
              <a:ext uri="{FF2B5EF4-FFF2-40B4-BE49-F238E27FC236}">
                <a16:creationId xmlns:a16="http://schemas.microsoft.com/office/drawing/2014/main" id="{3054EE27-4298-8F50-BA3E-49E3FBD918C8}"/>
              </a:ext>
            </a:extLst>
          </p:cNvPr>
          <p:cNvSpPr txBox="1"/>
          <p:nvPr/>
        </p:nvSpPr>
        <p:spPr>
          <a:xfrm>
            <a:off x="138546" y="6327363"/>
            <a:ext cx="341202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31F20"/>
                </a:solidFill>
                <a:effectLst/>
                <a:uLnTx/>
                <a:uFillTx/>
                <a:latin typeface="Arial"/>
                <a:ea typeface="+mn-ea"/>
                <a:cs typeface="+mn-cs"/>
              </a:rPr>
              <a:t>https://</a:t>
            </a:r>
            <a:r>
              <a:rPr kumimoji="0" lang="en-US" sz="1800" b="0" i="0" u="none" strike="noStrike" kern="1200" cap="none" spc="0" normalizeH="0" baseline="0" noProof="0" dirty="0" err="1">
                <a:ln>
                  <a:noFill/>
                </a:ln>
                <a:solidFill>
                  <a:srgbClr val="231F20"/>
                </a:solidFill>
                <a:effectLst/>
                <a:uLnTx/>
                <a:uFillTx/>
                <a:latin typeface="Arial"/>
                <a:ea typeface="+mn-ea"/>
                <a:cs typeface="+mn-cs"/>
              </a:rPr>
              <a:t>arxiv.org</a:t>
            </a:r>
            <a:r>
              <a:rPr kumimoji="0" lang="en-US" sz="1800" b="0" i="0" u="none" strike="noStrike" kern="1200" cap="none" spc="0" normalizeH="0" baseline="0" noProof="0" dirty="0">
                <a:ln>
                  <a:noFill/>
                </a:ln>
                <a:solidFill>
                  <a:srgbClr val="231F20"/>
                </a:solidFill>
                <a:effectLst/>
                <a:uLnTx/>
                <a:uFillTx/>
                <a:latin typeface="Arial"/>
                <a:ea typeface="+mn-ea"/>
                <a:cs typeface="+mn-cs"/>
              </a:rPr>
              <a:t>/pdf/2403.03031</a:t>
            </a:r>
          </a:p>
        </p:txBody>
      </p:sp>
      <p:sp>
        <p:nvSpPr>
          <p:cNvPr id="94" name="TextBox 93">
            <a:extLst>
              <a:ext uri="{FF2B5EF4-FFF2-40B4-BE49-F238E27FC236}">
                <a16:creationId xmlns:a16="http://schemas.microsoft.com/office/drawing/2014/main" id="{6C0D642A-2BA0-4DE5-0C67-53102D4D6363}"/>
              </a:ext>
            </a:extLst>
          </p:cNvPr>
          <p:cNvSpPr txBox="1"/>
          <p:nvPr/>
        </p:nvSpPr>
        <p:spPr>
          <a:xfrm>
            <a:off x="5384002" y="5720987"/>
            <a:ext cx="6571094"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31F20"/>
                </a:solidFill>
                <a:effectLst/>
                <a:uLnTx/>
                <a:uFillTx/>
                <a:latin typeface="Arial"/>
                <a:ea typeface="+mn-ea"/>
                <a:cs typeface="+mn-cs"/>
              </a:rPr>
              <a:t>To a human, a hammer is many things: door stop, paperweigh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31F20"/>
                </a:solidFill>
                <a:effectLst/>
                <a:uLnTx/>
                <a:uFillTx/>
                <a:latin typeface="Arial"/>
                <a:ea typeface="+mn-ea"/>
                <a:cs typeface="+mn-cs"/>
              </a:rPr>
              <a:t>To an agent, a hammer is for one thing, hammering nails.</a:t>
            </a:r>
          </a:p>
        </p:txBody>
      </p:sp>
    </p:spTree>
    <p:extLst>
      <p:ext uri="{BB962C8B-B14F-4D97-AF65-F5344CB8AC3E}">
        <p14:creationId xmlns:p14="http://schemas.microsoft.com/office/powerpoint/2010/main" val="13629802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119FB-FDCB-C64F-C975-871200CDA9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041E9A9-736A-A4C0-CAD0-7C8C979293E9}"/>
              </a:ext>
            </a:extLst>
          </p:cNvPr>
          <p:cNvSpPr>
            <a:spLocks noGrp="1"/>
          </p:cNvSpPr>
          <p:nvPr>
            <p:ph type="title"/>
          </p:nvPr>
        </p:nvSpPr>
        <p:spPr/>
        <p:txBody>
          <a:bodyPr/>
          <a:lstStyle/>
          <a:p>
            <a:r>
              <a:rPr lang="en-US" dirty="0"/>
              <a:t>Mo Tools, Mo Problems?</a:t>
            </a:r>
          </a:p>
        </p:txBody>
      </p:sp>
      <p:grpSp>
        <p:nvGrpSpPr>
          <p:cNvPr id="85" name="Group 84">
            <a:extLst>
              <a:ext uri="{FF2B5EF4-FFF2-40B4-BE49-F238E27FC236}">
                <a16:creationId xmlns:a16="http://schemas.microsoft.com/office/drawing/2014/main" id="{4FC2F056-0E1C-7B4D-58F5-0C657086B6E6}"/>
              </a:ext>
            </a:extLst>
          </p:cNvPr>
          <p:cNvGrpSpPr/>
          <p:nvPr/>
        </p:nvGrpSpPr>
        <p:grpSpPr>
          <a:xfrm>
            <a:off x="271390" y="937264"/>
            <a:ext cx="5236524" cy="5475913"/>
            <a:chOff x="332936" y="2504656"/>
            <a:chExt cx="2926080" cy="5475913"/>
          </a:xfrm>
        </p:grpSpPr>
        <p:sp>
          <p:nvSpPr>
            <p:cNvPr id="86" name="TextBox 85">
              <a:extLst>
                <a:ext uri="{FF2B5EF4-FFF2-40B4-BE49-F238E27FC236}">
                  <a16:creationId xmlns:a16="http://schemas.microsoft.com/office/drawing/2014/main" id="{740B3BBC-3EC7-040C-09EB-56C8A3308C1B}"/>
                </a:ext>
              </a:extLst>
            </p:cNvPr>
            <p:cNvSpPr txBox="1"/>
            <p:nvPr/>
          </p:nvSpPr>
          <p:spPr>
            <a:xfrm>
              <a:off x="332936" y="2504656"/>
              <a:ext cx="2926080" cy="584775"/>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1">
                  <a:ln>
                    <a:noFill/>
                  </a:ln>
                  <a:solidFill>
                    <a:srgbClr val="231F20"/>
                  </a:solidFill>
                  <a:effectLst/>
                  <a:uLnTx/>
                  <a:uFillTx/>
                  <a:latin typeface="Arial"/>
                  <a:ea typeface="+mn-ea"/>
                  <a:cs typeface="+mn-cs"/>
                </a:rPr>
                <a:t>Tool Access Paradox</a:t>
              </a:r>
            </a:p>
          </p:txBody>
        </p:sp>
        <p:sp>
          <p:nvSpPr>
            <p:cNvPr id="87" name="TextBox 86">
              <a:extLst>
                <a:ext uri="{FF2B5EF4-FFF2-40B4-BE49-F238E27FC236}">
                  <a16:creationId xmlns:a16="http://schemas.microsoft.com/office/drawing/2014/main" id="{75D3B845-A1FF-E863-A2E7-04A6E8970D39}"/>
                </a:ext>
              </a:extLst>
            </p:cNvPr>
            <p:cNvSpPr txBox="1"/>
            <p:nvPr/>
          </p:nvSpPr>
          <p:spPr>
            <a:xfrm>
              <a:off x="332936" y="3086922"/>
              <a:ext cx="2926080" cy="4893647"/>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1">
                  <a:ln>
                    <a:noFill/>
                  </a:ln>
                  <a:solidFill>
                    <a:srgbClr val="231F20">
                      <a:lumMod val="65000"/>
                      <a:lumOff val="35000"/>
                    </a:srgbClr>
                  </a:solidFill>
                  <a:effectLst/>
                  <a:uLnTx/>
                  <a:uFillTx/>
                  <a:latin typeface="Arial"/>
                  <a:ea typeface="+mn-ea"/>
                  <a:cs typeface="+mn-cs"/>
                </a:rPr>
                <a:t>Let’s dive a bit deeper. The more tools an agent has access to, the more capable it becomes.. Yet… the more problems for operational mistake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1">
                  <a:ln>
                    <a:noFill/>
                  </a:ln>
                  <a:solidFill>
                    <a:srgbClr val="231F20">
                      <a:lumMod val="65000"/>
                      <a:lumOff val="35000"/>
                    </a:srgbClr>
                  </a:solidFill>
                  <a:effectLst/>
                  <a:uLnTx/>
                  <a:uFillTx/>
                  <a:latin typeface="Arial"/>
                  <a:ea typeface="+mn-ea"/>
                  <a:cs typeface="+mn-cs"/>
                </a:rPr>
                <a:t>Let’s say we defining a tool with high resilience and detailed descriptions. We train a model to know how to use the tool perfectly. We do this for 3 tools:</a:t>
              </a:r>
            </a:p>
            <a:p>
              <a:pPr marL="342900" marR="0" lvl="0" indent="-3429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600" b="0" i="0" u="none" strike="noStrike" kern="1200" cap="none" spc="0" normalizeH="0" baseline="0" noProof="1">
                  <a:ln>
                    <a:noFill/>
                  </a:ln>
                  <a:solidFill>
                    <a:srgbClr val="231F20">
                      <a:lumMod val="65000"/>
                      <a:lumOff val="35000"/>
                    </a:srgbClr>
                  </a:solidFill>
                  <a:effectLst/>
                  <a:uLnTx/>
                  <a:uFillTx/>
                  <a:latin typeface="Arial"/>
                  <a:ea typeface="+mn-ea"/>
                  <a:cs typeface="+mn-cs"/>
                </a:rPr>
                <a:t>The ability to send emails.</a:t>
              </a:r>
            </a:p>
            <a:p>
              <a:pPr marL="342900" marR="0" lvl="0" indent="-3429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600" b="0" i="0" u="none" strike="noStrike" kern="1200" cap="none" spc="0" normalizeH="0" baseline="0" noProof="1">
                  <a:ln>
                    <a:noFill/>
                  </a:ln>
                  <a:solidFill>
                    <a:srgbClr val="231F20">
                      <a:lumMod val="65000"/>
                      <a:lumOff val="35000"/>
                    </a:srgbClr>
                  </a:solidFill>
                  <a:effectLst/>
                  <a:uLnTx/>
                  <a:uFillTx/>
                  <a:latin typeface="Arial"/>
                  <a:ea typeface="+mn-ea"/>
                  <a:cs typeface="+mn-cs"/>
                </a:rPr>
                <a:t>The ability to reference specific customer service database properly provisioned with access control to view only that customers previous interactions.</a:t>
              </a:r>
            </a:p>
            <a:p>
              <a:pPr marL="342900" marR="0" lvl="0" indent="-3429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600" b="0" i="0" u="none" strike="noStrike" kern="1200" cap="none" spc="0" normalizeH="0" baseline="0" noProof="1">
                  <a:ln>
                    <a:noFill/>
                  </a:ln>
                  <a:solidFill>
                    <a:srgbClr val="231F20">
                      <a:lumMod val="65000"/>
                      <a:lumOff val="35000"/>
                    </a:srgbClr>
                  </a:solidFill>
                  <a:effectLst/>
                  <a:uLnTx/>
                  <a:uFillTx/>
                  <a:latin typeface="Arial"/>
                  <a:ea typeface="+mn-ea"/>
                  <a:cs typeface="+mn-cs"/>
                </a:rPr>
                <a:t>Connection to a data lake to populate prioritized issues.</a:t>
              </a:r>
              <a:br>
                <a:rPr kumimoji="0" lang="en-US" sz="1600" b="0" i="0" u="none" strike="noStrike" kern="1200" cap="none" spc="0" normalizeH="0" baseline="0" noProof="1">
                  <a:ln>
                    <a:noFill/>
                  </a:ln>
                  <a:solidFill>
                    <a:srgbClr val="231F20">
                      <a:lumMod val="65000"/>
                      <a:lumOff val="35000"/>
                    </a:srgbClr>
                  </a:solidFill>
                  <a:effectLst/>
                  <a:uLnTx/>
                  <a:uFillTx/>
                  <a:latin typeface="Arial"/>
                  <a:ea typeface="+mn-ea"/>
                  <a:cs typeface="+mn-cs"/>
                </a:rPr>
              </a:br>
              <a:br>
                <a:rPr kumimoji="0" lang="en-US" sz="1600" b="0" i="0" u="none" strike="noStrike" kern="1200" cap="none" spc="0" normalizeH="0" baseline="0" noProof="1">
                  <a:ln>
                    <a:noFill/>
                  </a:ln>
                  <a:solidFill>
                    <a:srgbClr val="231F20">
                      <a:lumMod val="65000"/>
                      <a:lumOff val="35000"/>
                    </a:srgbClr>
                  </a:solidFill>
                  <a:effectLst/>
                  <a:uLnTx/>
                  <a:uFillTx/>
                  <a:latin typeface="Arial"/>
                  <a:ea typeface="+mn-ea"/>
                  <a:cs typeface="+mn-cs"/>
                </a:rPr>
              </a:br>
              <a:r>
                <a:rPr kumimoji="0" lang="en-US" sz="1600" b="0" i="0" u="none" strike="noStrike" kern="1200" cap="none" spc="0" normalizeH="0" baseline="0" noProof="1">
                  <a:ln>
                    <a:noFill/>
                  </a:ln>
                  <a:solidFill>
                    <a:srgbClr val="231F20">
                      <a:lumMod val="65000"/>
                      <a:lumOff val="35000"/>
                    </a:srgbClr>
                  </a:solidFill>
                  <a:effectLst/>
                  <a:uLnTx/>
                  <a:uFillTx/>
                  <a:latin typeface="Arial"/>
                  <a:ea typeface="+mn-ea"/>
                  <a:cs typeface="+mn-cs"/>
                </a:rPr>
                <a:t>In theory, this agent could find novel issues in customer service calls and notify the proper authority.</a:t>
              </a:r>
              <a:br>
                <a:rPr kumimoji="0" lang="en-US" sz="1600" b="0" i="0" u="none" strike="noStrike" kern="1200" cap="none" spc="0" normalizeH="0" baseline="0" noProof="1">
                  <a:ln>
                    <a:noFill/>
                  </a:ln>
                  <a:solidFill>
                    <a:srgbClr val="231F20">
                      <a:lumMod val="65000"/>
                      <a:lumOff val="35000"/>
                    </a:srgbClr>
                  </a:solidFill>
                  <a:effectLst/>
                  <a:uLnTx/>
                  <a:uFillTx/>
                  <a:latin typeface="Arial"/>
                  <a:ea typeface="+mn-ea"/>
                  <a:cs typeface="+mn-cs"/>
                </a:rPr>
              </a:br>
              <a:br>
                <a:rPr kumimoji="0" lang="en-US" sz="1600" b="0" i="0" u="none" strike="noStrike" kern="1200" cap="none" spc="0" normalizeH="0" baseline="0" noProof="1">
                  <a:ln>
                    <a:noFill/>
                  </a:ln>
                  <a:solidFill>
                    <a:srgbClr val="231F20">
                      <a:lumMod val="65000"/>
                      <a:lumOff val="35000"/>
                    </a:srgbClr>
                  </a:solidFill>
                  <a:effectLst/>
                  <a:uLnTx/>
                  <a:uFillTx/>
                  <a:latin typeface="Arial"/>
                  <a:ea typeface="+mn-ea"/>
                  <a:cs typeface="+mn-cs"/>
                </a:rPr>
              </a:br>
              <a:r>
                <a:rPr kumimoji="0" lang="en-US" sz="1600" b="0" i="1" u="sng" strike="noStrike" kern="1200" cap="none" spc="0" normalizeH="0" baseline="0" noProof="1">
                  <a:ln>
                    <a:noFill/>
                  </a:ln>
                  <a:solidFill>
                    <a:srgbClr val="231F20">
                      <a:lumMod val="65000"/>
                      <a:lumOff val="35000"/>
                    </a:srgbClr>
                  </a:solidFill>
                  <a:effectLst/>
                  <a:uLnTx/>
                  <a:uFillTx/>
                  <a:latin typeface="Arial"/>
                  <a:ea typeface="+mn-ea"/>
                  <a:cs typeface="+mn-cs"/>
                </a:rPr>
                <a:t>Any foreseeable issues?</a:t>
              </a:r>
              <a:endParaRPr kumimoji="0" lang="en-US" sz="1600" b="0" i="0" u="none" strike="noStrike" kern="1200" cap="none" spc="0" normalizeH="0" baseline="0" noProof="1">
                <a:ln>
                  <a:noFill/>
                </a:ln>
                <a:solidFill>
                  <a:srgbClr val="231F20">
                    <a:lumMod val="65000"/>
                    <a:lumOff val="35000"/>
                  </a:srgbClr>
                </a:solidFill>
                <a:effectLst/>
                <a:uLnTx/>
                <a:uFillTx/>
                <a:latin typeface="Arial"/>
                <a:ea typeface="+mn-ea"/>
                <a:cs typeface="+mn-cs"/>
              </a:endParaRPr>
            </a:p>
          </p:txBody>
        </p:sp>
      </p:grpSp>
      <p:grpSp>
        <p:nvGrpSpPr>
          <p:cNvPr id="88" name="Group 87">
            <a:extLst>
              <a:ext uri="{FF2B5EF4-FFF2-40B4-BE49-F238E27FC236}">
                <a16:creationId xmlns:a16="http://schemas.microsoft.com/office/drawing/2014/main" id="{D0AE094E-4865-6E91-A311-68AD9EEDD712}"/>
              </a:ext>
            </a:extLst>
          </p:cNvPr>
          <p:cNvGrpSpPr/>
          <p:nvPr/>
        </p:nvGrpSpPr>
        <p:grpSpPr>
          <a:xfrm>
            <a:off x="5507915" y="902537"/>
            <a:ext cx="6523691" cy="5183856"/>
            <a:chOff x="5507915" y="902537"/>
            <a:chExt cx="6523691" cy="5183856"/>
          </a:xfrm>
        </p:grpSpPr>
        <p:sp>
          <p:nvSpPr>
            <p:cNvPr id="89" name="Google Shape;95;p5">
              <a:extLst>
                <a:ext uri="{FF2B5EF4-FFF2-40B4-BE49-F238E27FC236}">
                  <a16:creationId xmlns:a16="http://schemas.microsoft.com/office/drawing/2014/main" id="{E7EC468A-BD52-4894-B475-D2D532E0CD1F}"/>
                </a:ext>
              </a:extLst>
            </p:cNvPr>
            <p:cNvSpPr/>
            <p:nvPr/>
          </p:nvSpPr>
          <p:spPr>
            <a:xfrm>
              <a:off x="6658699" y="902537"/>
              <a:ext cx="4222122" cy="4632890"/>
            </a:xfrm>
            <a:custGeom>
              <a:avLst/>
              <a:gdLst/>
              <a:ahLst/>
              <a:cxnLst/>
              <a:rect l="l" t="t" r="r" b="b"/>
              <a:pathLst>
                <a:path w="21184" h="21286" extrusionOk="0">
                  <a:moveTo>
                    <a:pt x="18899" y="4710"/>
                  </a:moveTo>
                  <a:cubicBezTo>
                    <a:pt x="18180" y="3606"/>
                    <a:pt x="17438" y="2499"/>
                    <a:pt x="16400" y="1601"/>
                  </a:cubicBezTo>
                  <a:cubicBezTo>
                    <a:pt x="15362" y="703"/>
                    <a:pt x="13984" y="30"/>
                    <a:pt x="12510" y="1"/>
                  </a:cubicBezTo>
                  <a:cubicBezTo>
                    <a:pt x="11127" y="-23"/>
                    <a:pt x="9810" y="521"/>
                    <a:pt x="8666" y="1190"/>
                  </a:cubicBezTo>
                  <a:cubicBezTo>
                    <a:pt x="7522" y="1859"/>
                    <a:pt x="6490" y="2661"/>
                    <a:pt x="5296" y="3272"/>
                  </a:cubicBezTo>
                  <a:cubicBezTo>
                    <a:pt x="3097" y="4394"/>
                    <a:pt x="659" y="5259"/>
                    <a:pt x="201" y="7709"/>
                  </a:cubicBezTo>
                  <a:cubicBezTo>
                    <a:pt x="-5" y="8807"/>
                    <a:pt x="408" y="9877"/>
                    <a:pt x="631" y="10947"/>
                  </a:cubicBezTo>
                  <a:cubicBezTo>
                    <a:pt x="837" y="11945"/>
                    <a:pt x="670" y="12967"/>
                    <a:pt x="525" y="13965"/>
                  </a:cubicBezTo>
                  <a:cubicBezTo>
                    <a:pt x="380" y="14982"/>
                    <a:pt x="229" y="15999"/>
                    <a:pt x="84" y="17016"/>
                  </a:cubicBezTo>
                  <a:cubicBezTo>
                    <a:pt x="-33" y="17823"/>
                    <a:pt x="-117" y="18731"/>
                    <a:pt x="480" y="19366"/>
                  </a:cubicBezTo>
                  <a:cubicBezTo>
                    <a:pt x="1607" y="20560"/>
                    <a:pt x="3571" y="19920"/>
                    <a:pt x="5061" y="20125"/>
                  </a:cubicBezTo>
                  <a:cubicBezTo>
                    <a:pt x="6964" y="20393"/>
                    <a:pt x="8365" y="21577"/>
                    <a:pt x="10407" y="21219"/>
                  </a:cubicBezTo>
                  <a:cubicBezTo>
                    <a:pt x="13939" y="20593"/>
                    <a:pt x="16562" y="18010"/>
                    <a:pt x="18621" y="15665"/>
                  </a:cubicBezTo>
                  <a:cubicBezTo>
                    <a:pt x="19742" y="14385"/>
                    <a:pt x="20875" y="12981"/>
                    <a:pt x="21120" y="11357"/>
                  </a:cubicBezTo>
                  <a:cubicBezTo>
                    <a:pt x="21483" y="8903"/>
                    <a:pt x="20250" y="6787"/>
                    <a:pt x="18899" y="4710"/>
                  </a:cubicBezTo>
                  <a:close/>
                </a:path>
              </a:pathLst>
            </a:custGeom>
            <a:solidFill>
              <a:schemeClr val="lt1"/>
            </a:solidFill>
            <a:ln>
              <a:noFill/>
            </a:ln>
          </p:spPr>
          <p:txBody>
            <a:bodyPr spcFirstLastPara="1" wrap="square" lIns="38100" tIns="38100" rIns="38100" bIns="381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Calibri"/>
                <a:ea typeface="Calibri"/>
                <a:cs typeface="Calibri"/>
                <a:sym typeface="Calibri"/>
              </a:endParaRPr>
            </a:p>
          </p:txBody>
        </p:sp>
        <p:sp>
          <p:nvSpPr>
            <p:cNvPr id="91" name="Google Shape;98;p5">
              <a:extLst>
                <a:ext uri="{FF2B5EF4-FFF2-40B4-BE49-F238E27FC236}">
                  <a16:creationId xmlns:a16="http://schemas.microsoft.com/office/drawing/2014/main" id="{8A2355AA-E639-9B19-BE38-F78B9EAB10E5}"/>
                </a:ext>
              </a:extLst>
            </p:cNvPr>
            <p:cNvSpPr/>
            <p:nvPr/>
          </p:nvSpPr>
          <p:spPr>
            <a:xfrm>
              <a:off x="5507915" y="1167761"/>
              <a:ext cx="6523691" cy="4918632"/>
            </a:xfrm>
            <a:custGeom>
              <a:avLst/>
              <a:gdLst/>
              <a:ahLst/>
              <a:cxnLst/>
              <a:rect l="l" t="t" r="r" b="b"/>
              <a:pathLst>
                <a:path w="21579" h="21538" extrusionOk="0">
                  <a:moveTo>
                    <a:pt x="12817" y="1527"/>
                  </a:moveTo>
                  <a:cubicBezTo>
                    <a:pt x="12817" y="1522"/>
                    <a:pt x="12817" y="1522"/>
                    <a:pt x="12817" y="1527"/>
                  </a:cubicBezTo>
                  <a:cubicBezTo>
                    <a:pt x="12817" y="1522"/>
                    <a:pt x="12817" y="1522"/>
                    <a:pt x="12817" y="1527"/>
                  </a:cubicBezTo>
                  <a:lnTo>
                    <a:pt x="12817" y="1527"/>
                  </a:lnTo>
                  <a:close/>
                  <a:moveTo>
                    <a:pt x="13808" y="18457"/>
                  </a:moveTo>
                  <a:cubicBezTo>
                    <a:pt x="13808" y="18457"/>
                    <a:pt x="13804" y="18457"/>
                    <a:pt x="13808" y="18457"/>
                  </a:cubicBezTo>
                  <a:cubicBezTo>
                    <a:pt x="13804" y="18457"/>
                    <a:pt x="13804" y="18457"/>
                    <a:pt x="13808" y="18457"/>
                  </a:cubicBezTo>
                  <a:lnTo>
                    <a:pt x="13808" y="18457"/>
                  </a:lnTo>
                  <a:close/>
                  <a:moveTo>
                    <a:pt x="11123" y="11787"/>
                  </a:moveTo>
                  <a:cubicBezTo>
                    <a:pt x="11123" y="11787"/>
                    <a:pt x="11123" y="11787"/>
                    <a:pt x="11123" y="11787"/>
                  </a:cubicBezTo>
                  <a:cubicBezTo>
                    <a:pt x="11123" y="11787"/>
                    <a:pt x="11123" y="11782"/>
                    <a:pt x="11123" y="11787"/>
                  </a:cubicBezTo>
                  <a:lnTo>
                    <a:pt x="11123" y="11787"/>
                  </a:lnTo>
                  <a:close/>
                  <a:moveTo>
                    <a:pt x="21504" y="21517"/>
                  </a:moveTo>
                  <a:cubicBezTo>
                    <a:pt x="21465" y="21543"/>
                    <a:pt x="21422" y="21538"/>
                    <a:pt x="21379" y="21538"/>
                  </a:cubicBezTo>
                  <a:cubicBezTo>
                    <a:pt x="18532" y="21492"/>
                    <a:pt x="15680" y="21517"/>
                    <a:pt x="12833" y="21497"/>
                  </a:cubicBezTo>
                  <a:cubicBezTo>
                    <a:pt x="9464" y="21471"/>
                    <a:pt x="6096" y="21461"/>
                    <a:pt x="2728" y="21440"/>
                  </a:cubicBezTo>
                  <a:cubicBezTo>
                    <a:pt x="1885" y="21435"/>
                    <a:pt x="1038" y="21425"/>
                    <a:pt x="195" y="21414"/>
                  </a:cubicBezTo>
                  <a:cubicBezTo>
                    <a:pt x="102" y="21414"/>
                    <a:pt x="12" y="21409"/>
                    <a:pt x="1" y="21250"/>
                  </a:cubicBezTo>
                  <a:cubicBezTo>
                    <a:pt x="-7" y="21126"/>
                    <a:pt x="59" y="21070"/>
                    <a:pt x="199" y="21070"/>
                  </a:cubicBezTo>
                  <a:cubicBezTo>
                    <a:pt x="1069" y="21075"/>
                    <a:pt x="1939" y="21080"/>
                    <a:pt x="2806" y="21085"/>
                  </a:cubicBezTo>
                  <a:cubicBezTo>
                    <a:pt x="2856" y="21085"/>
                    <a:pt x="2903" y="21085"/>
                    <a:pt x="2961" y="21070"/>
                  </a:cubicBezTo>
                  <a:cubicBezTo>
                    <a:pt x="2701" y="20859"/>
                    <a:pt x="2670" y="20484"/>
                    <a:pt x="2588" y="20154"/>
                  </a:cubicBezTo>
                  <a:cubicBezTo>
                    <a:pt x="2048" y="18010"/>
                    <a:pt x="1508" y="15865"/>
                    <a:pt x="968" y="13721"/>
                  </a:cubicBezTo>
                  <a:cubicBezTo>
                    <a:pt x="925" y="13556"/>
                    <a:pt x="894" y="13392"/>
                    <a:pt x="910" y="13217"/>
                  </a:cubicBezTo>
                  <a:cubicBezTo>
                    <a:pt x="933" y="13006"/>
                    <a:pt x="1015" y="12867"/>
                    <a:pt x="1178" y="12831"/>
                  </a:cubicBezTo>
                  <a:cubicBezTo>
                    <a:pt x="1726" y="12702"/>
                    <a:pt x="2270" y="12584"/>
                    <a:pt x="2817" y="12461"/>
                  </a:cubicBezTo>
                  <a:cubicBezTo>
                    <a:pt x="3404" y="12332"/>
                    <a:pt x="3994" y="12204"/>
                    <a:pt x="4581" y="12070"/>
                  </a:cubicBezTo>
                  <a:cubicBezTo>
                    <a:pt x="4814" y="12018"/>
                    <a:pt x="5032" y="12024"/>
                    <a:pt x="5226" y="12234"/>
                  </a:cubicBezTo>
                  <a:cubicBezTo>
                    <a:pt x="5327" y="12348"/>
                    <a:pt x="5377" y="12497"/>
                    <a:pt x="5420" y="12656"/>
                  </a:cubicBezTo>
                  <a:cubicBezTo>
                    <a:pt x="5440" y="12723"/>
                    <a:pt x="5455" y="12790"/>
                    <a:pt x="5475" y="12857"/>
                  </a:cubicBezTo>
                  <a:cubicBezTo>
                    <a:pt x="5482" y="12908"/>
                    <a:pt x="5494" y="12954"/>
                    <a:pt x="5502" y="13006"/>
                  </a:cubicBezTo>
                  <a:cubicBezTo>
                    <a:pt x="5552" y="13196"/>
                    <a:pt x="5599" y="13381"/>
                    <a:pt x="5649" y="13572"/>
                  </a:cubicBezTo>
                  <a:cubicBezTo>
                    <a:pt x="5642" y="13618"/>
                    <a:pt x="5653" y="13654"/>
                    <a:pt x="5677" y="13690"/>
                  </a:cubicBezTo>
                  <a:cubicBezTo>
                    <a:pt x="5906" y="14662"/>
                    <a:pt x="6139" y="15634"/>
                    <a:pt x="6372" y="16606"/>
                  </a:cubicBezTo>
                  <a:cubicBezTo>
                    <a:pt x="6477" y="17043"/>
                    <a:pt x="6582" y="17480"/>
                    <a:pt x="6691" y="17917"/>
                  </a:cubicBezTo>
                  <a:cubicBezTo>
                    <a:pt x="6702" y="17969"/>
                    <a:pt x="6694" y="18046"/>
                    <a:pt x="6784" y="18000"/>
                  </a:cubicBezTo>
                  <a:cubicBezTo>
                    <a:pt x="7370" y="17691"/>
                    <a:pt x="7969" y="17444"/>
                    <a:pt x="8594" y="17280"/>
                  </a:cubicBezTo>
                  <a:cubicBezTo>
                    <a:pt x="8536" y="17115"/>
                    <a:pt x="8563" y="16956"/>
                    <a:pt x="8602" y="16796"/>
                  </a:cubicBezTo>
                  <a:cubicBezTo>
                    <a:pt x="8905" y="15567"/>
                    <a:pt x="9185" y="14322"/>
                    <a:pt x="9464" y="13083"/>
                  </a:cubicBezTo>
                  <a:cubicBezTo>
                    <a:pt x="9538" y="12759"/>
                    <a:pt x="9499" y="12430"/>
                    <a:pt x="9484" y="12101"/>
                  </a:cubicBezTo>
                  <a:cubicBezTo>
                    <a:pt x="9460" y="11597"/>
                    <a:pt x="9484" y="11098"/>
                    <a:pt x="9600" y="10614"/>
                  </a:cubicBezTo>
                  <a:cubicBezTo>
                    <a:pt x="9686" y="10254"/>
                    <a:pt x="9841" y="9977"/>
                    <a:pt x="10109" y="9812"/>
                  </a:cubicBezTo>
                  <a:cubicBezTo>
                    <a:pt x="10412" y="9622"/>
                    <a:pt x="10704" y="9401"/>
                    <a:pt x="11014" y="9185"/>
                  </a:cubicBezTo>
                  <a:cubicBezTo>
                    <a:pt x="10863" y="9056"/>
                    <a:pt x="10797" y="8871"/>
                    <a:pt x="10731" y="8686"/>
                  </a:cubicBezTo>
                  <a:cubicBezTo>
                    <a:pt x="10603" y="8326"/>
                    <a:pt x="10471" y="7966"/>
                    <a:pt x="10342" y="7606"/>
                  </a:cubicBezTo>
                  <a:cubicBezTo>
                    <a:pt x="10323" y="7544"/>
                    <a:pt x="10300" y="7508"/>
                    <a:pt x="10249" y="7488"/>
                  </a:cubicBezTo>
                  <a:cubicBezTo>
                    <a:pt x="10121" y="7446"/>
                    <a:pt x="10055" y="7308"/>
                    <a:pt x="10067" y="7153"/>
                  </a:cubicBezTo>
                  <a:cubicBezTo>
                    <a:pt x="10082" y="6968"/>
                    <a:pt x="10035" y="6814"/>
                    <a:pt x="9985" y="6660"/>
                  </a:cubicBezTo>
                  <a:cubicBezTo>
                    <a:pt x="9911" y="6428"/>
                    <a:pt x="9857" y="6186"/>
                    <a:pt x="9857" y="5934"/>
                  </a:cubicBezTo>
                  <a:cubicBezTo>
                    <a:pt x="9857" y="5790"/>
                    <a:pt x="9810" y="5688"/>
                    <a:pt x="9717" y="5626"/>
                  </a:cubicBezTo>
                  <a:cubicBezTo>
                    <a:pt x="9558" y="5513"/>
                    <a:pt x="9499" y="5328"/>
                    <a:pt x="9495" y="5101"/>
                  </a:cubicBezTo>
                  <a:cubicBezTo>
                    <a:pt x="9495" y="5014"/>
                    <a:pt x="9464" y="4978"/>
                    <a:pt x="9410" y="4932"/>
                  </a:cubicBezTo>
                  <a:cubicBezTo>
                    <a:pt x="9231" y="4762"/>
                    <a:pt x="9021" y="4685"/>
                    <a:pt x="8831" y="4546"/>
                  </a:cubicBezTo>
                  <a:cubicBezTo>
                    <a:pt x="8330" y="4181"/>
                    <a:pt x="8101" y="3322"/>
                    <a:pt x="8357" y="2715"/>
                  </a:cubicBezTo>
                  <a:cubicBezTo>
                    <a:pt x="8431" y="2535"/>
                    <a:pt x="8423" y="2401"/>
                    <a:pt x="8377" y="2237"/>
                  </a:cubicBezTo>
                  <a:cubicBezTo>
                    <a:pt x="8346" y="2134"/>
                    <a:pt x="8322" y="2026"/>
                    <a:pt x="8307" y="1918"/>
                  </a:cubicBezTo>
                  <a:cubicBezTo>
                    <a:pt x="8287" y="1789"/>
                    <a:pt x="8322" y="1702"/>
                    <a:pt x="8427" y="1671"/>
                  </a:cubicBezTo>
                  <a:cubicBezTo>
                    <a:pt x="8447" y="1666"/>
                    <a:pt x="8466" y="1645"/>
                    <a:pt x="8489" y="1650"/>
                  </a:cubicBezTo>
                  <a:cubicBezTo>
                    <a:pt x="8722" y="1666"/>
                    <a:pt x="8886" y="1491"/>
                    <a:pt x="9060" y="1321"/>
                  </a:cubicBezTo>
                  <a:cubicBezTo>
                    <a:pt x="9697" y="709"/>
                    <a:pt x="10416" y="365"/>
                    <a:pt x="11189" y="200"/>
                  </a:cubicBezTo>
                  <a:cubicBezTo>
                    <a:pt x="11426" y="149"/>
                    <a:pt x="11655" y="66"/>
                    <a:pt x="11892" y="15"/>
                  </a:cubicBezTo>
                  <a:cubicBezTo>
                    <a:pt x="12223" y="-57"/>
                    <a:pt x="12681" y="133"/>
                    <a:pt x="12798" y="642"/>
                  </a:cubicBezTo>
                  <a:cubicBezTo>
                    <a:pt x="12840" y="822"/>
                    <a:pt x="12848" y="1002"/>
                    <a:pt x="12805" y="1208"/>
                  </a:cubicBezTo>
                  <a:cubicBezTo>
                    <a:pt x="12945" y="1136"/>
                    <a:pt x="13062" y="1049"/>
                    <a:pt x="13202" y="1038"/>
                  </a:cubicBezTo>
                  <a:cubicBezTo>
                    <a:pt x="13575" y="1023"/>
                    <a:pt x="13905" y="1373"/>
                    <a:pt x="14025" y="1923"/>
                  </a:cubicBezTo>
                  <a:cubicBezTo>
                    <a:pt x="14084" y="2185"/>
                    <a:pt x="14107" y="2458"/>
                    <a:pt x="14103" y="2730"/>
                  </a:cubicBezTo>
                  <a:cubicBezTo>
                    <a:pt x="14091" y="3548"/>
                    <a:pt x="14072" y="4361"/>
                    <a:pt x="14064" y="5178"/>
                  </a:cubicBezTo>
                  <a:cubicBezTo>
                    <a:pt x="14060" y="5646"/>
                    <a:pt x="14084" y="6114"/>
                    <a:pt x="14041" y="6582"/>
                  </a:cubicBezTo>
                  <a:cubicBezTo>
                    <a:pt x="14029" y="6711"/>
                    <a:pt x="14068" y="6773"/>
                    <a:pt x="14169" y="6809"/>
                  </a:cubicBezTo>
                  <a:cubicBezTo>
                    <a:pt x="14387" y="6886"/>
                    <a:pt x="14600" y="6984"/>
                    <a:pt x="14670" y="7318"/>
                  </a:cubicBezTo>
                  <a:cubicBezTo>
                    <a:pt x="14686" y="7385"/>
                    <a:pt x="14732" y="7385"/>
                    <a:pt x="14771" y="7400"/>
                  </a:cubicBezTo>
                  <a:cubicBezTo>
                    <a:pt x="14884" y="7441"/>
                    <a:pt x="15000" y="7477"/>
                    <a:pt x="15113" y="7503"/>
                  </a:cubicBezTo>
                  <a:cubicBezTo>
                    <a:pt x="15369" y="7554"/>
                    <a:pt x="15443" y="7688"/>
                    <a:pt x="15459" y="8017"/>
                  </a:cubicBezTo>
                  <a:cubicBezTo>
                    <a:pt x="15470" y="8269"/>
                    <a:pt x="15540" y="8357"/>
                    <a:pt x="15715" y="8429"/>
                  </a:cubicBezTo>
                  <a:cubicBezTo>
                    <a:pt x="16442" y="8727"/>
                    <a:pt x="17168" y="9020"/>
                    <a:pt x="17879" y="9380"/>
                  </a:cubicBezTo>
                  <a:cubicBezTo>
                    <a:pt x="18532" y="9714"/>
                    <a:pt x="18881" y="10357"/>
                    <a:pt x="18986" y="11247"/>
                  </a:cubicBezTo>
                  <a:cubicBezTo>
                    <a:pt x="19103" y="12204"/>
                    <a:pt x="19122" y="13170"/>
                    <a:pt x="19165" y="14132"/>
                  </a:cubicBezTo>
                  <a:cubicBezTo>
                    <a:pt x="19184" y="14616"/>
                    <a:pt x="19200" y="15104"/>
                    <a:pt x="19208" y="15588"/>
                  </a:cubicBezTo>
                  <a:cubicBezTo>
                    <a:pt x="19212" y="15696"/>
                    <a:pt x="19243" y="15726"/>
                    <a:pt x="19309" y="15757"/>
                  </a:cubicBezTo>
                  <a:cubicBezTo>
                    <a:pt x="19755" y="15978"/>
                    <a:pt x="20043" y="16390"/>
                    <a:pt x="20144" y="17012"/>
                  </a:cubicBezTo>
                  <a:cubicBezTo>
                    <a:pt x="20214" y="17449"/>
                    <a:pt x="20152" y="17876"/>
                    <a:pt x="20062" y="18298"/>
                  </a:cubicBezTo>
                  <a:cubicBezTo>
                    <a:pt x="19860" y="19254"/>
                    <a:pt x="19654" y="20206"/>
                    <a:pt x="19449" y="21178"/>
                  </a:cubicBezTo>
                  <a:cubicBezTo>
                    <a:pt x="19487" y="21183"/>
                    <a:pt x="19526" y="21188"/>
                    <a:pt x="19569" y="21188"/>
                  </a:cubicBezTo>
                  <a:cubicBezTo>
                    <a:pt x="20163" y="21193"/>
                    <a:pt x="20758" y="21204"/>
                    <a:pt x="21356" y="21209"/>
                  </a:cubicBezTo>
                  <a:cubicBezTo>
                    <a:pt x="21395" y="21209"/>
                    <a:pt x="21434" y="21214"/>
                    <a:pt x="21469" y="21219"/>
                  </a:cubicBezTo>
                  <a:cubicBezTo>
                    <a:pt x="21535" y="21224"/>
                    <a:pt x="21566" y="21286"/>
                    <a:pt x="21574" y="21358"/>
                  </a:cubicBezTo>
                  <a:cubicBezTo>
                    <a:pt x="21593" y="21430"/>
                    <a:pt x="21558" y="21481"/>
                    <a:pt x="21504" y="21517"/>
                  </a:cubicBezTo>
                  <a:close/>
                  <a:moveTo>
                    <a:pt x="15253" y="11674"/>
                  </a:moveTo>
                  <a:cubicBezTo>
                    <a:pt x="15241" y="11792"/>
                    <a:pt x="15198" y="11880"/>
                    <a:pt x="15125" y="11952"/>
                  </a:cubicBezTo>
                  <a:cubicBezTo>
                    <a:pt x="15031" y="12044"/>
                    <a:pt x="14938" y="12137"/>
                    <a:pt x="14837" y="12240"/>
                  </a:cubicBezTo>
                  <a:cubicBezTo>
                    <a:pt x="14938" y="12332"/>
                    <a:pt x="15039" y="12404"/>
                    <a:pt x="15129" y="12497"/>
                  </a:cubicBezTo>
                  <a:cubicBezTo>
                    <a:pt x="15366" y="12738"/>
                    <a:pt x="15377" y="12841"/>
                    <a:pt x="15296" y="13165"/>
                  </a:cubicBezTo>
                  <a:cubicBezTo>
                    <a:pt x="15284" y="13206"/>
                    <a:pt x="15272" y="13248"/>
                    <a:pt x="15261" y="13289"/>
                  </a:cubicBezTo>
                  <a:cubicBezTo>
                    <a:pt x="14857" y="14688"/>
                    <a:pt x="14449" y="16086"/>
                    <a:pt x="14049" y="17490"/>
                  </a:cubicBezTo>
                  <a:cubicBezTo>
                    <a:pt x="13955" y="17809"/>
                    <a:pt x="13850" y="18123"/>
                    <a:pt x="13804" y="18462"/>
                  </a:cubicBezTo>
                  <a:cubicBezTo>
                    <a:pt x="13777" y="18483"/>
                    <a:pt x="13773" y="18504"/>
                    <a:pt x="13800" y="18524"/>
                  </a:cubicBezTo>
                  <a:cubicBezTo>
                    <a:pt x="14177" y="18550"/>
                    <a:pt x="14557" y="18576"/>
                    <a:pt x="14934" y="18596"/>
                  </a:cubicBezTo>
                  <a:cubicBezTo>
                    <a:pt x="15245" y="18612"/>
                    <a:pt x="15245" y="18601"/>
                    <a:pt x="15249" y="18190"/>
                  </a:cubicBezTo>
                  <a:cubicBezTo>
                    <a:pt x="15253" y="17922"/>
                    <a:pt x="15191" y="17670"/>
                    <a:pt x="15101" y="17424"/>
                  </a:cubicBezTo>
                  <a:cubicBezTo>
                    <a:pt x="15167" y="17429"/>
                    <a:pt x="15179" y="17490"/>
                    <a:pt x="15198" y="17537"/>
                  </a:cubicBezTo>
                  <a:cubicBezTo>
                    <a:pt x="15315" y="17809"/>
                    <a:pt x="15393" y="18102"/>
                    <a:pt x="15424" y="18416"/>
                  </a:cubicBezTo>
                  <a:cubicBezTo>
                    <a:pt x="15428" y="18462"/>
                    <a:pt x="15408" y="18524"/>
                    <a:pt x="15482" y="18529"/>
                  </a:cubicBezTo>
                  <a:cubicBezTo>
                    <a:pt x="15793" y="18555"/>
                    <a:pt x="16115" y="18216"/>
                    <a:pt x="16166" y="17814"/>
                  </a:cubicBezTo>
                  <a:cubicBezTo>
                    <a:pt x="16201" y="17537"/>
                    <a:pt x="16150" y="17274"/>
                    <a:pt x="16108" y="17007"/>
                  </a:cubicBezTo>
                  <a:cubicBezTo>
                    <a:pt x="16096" y="16935"/>
                    <a:pt x="16065" y="16889"/>
                    <a:pt x="16003" y="16894"/>
                  </a:cubicBezTo>
                  <a:cubicBezTo>
                    <a:pt x="15886" y="16878"/>
                    <a:pt x="15770" y="16863"/>
                    <a:pt x="15653" y="16848"/>
                  </a:cubicBezTo>
                  <a:cubicBezTo>
                    <a:pt x="15288" y="16801"/>
                    <a:pt x="14923" y="16817"/>
                    <a:pt x="14557" y="16801"/>
                  </a:cubicBezTo>
                  <a:cubicBezTo>
                    <a:pt x="14530" y="16801"/>
                    <a:pt x="14472" y="16842"/>
                    <a:pt x="14472" y="16755"/>
                  </a:cubicBezTo>
                  <a:cubicBezTo>
                    <a:pt x="14472" y="16698"/>
                    <a:pt x="14515" y="16688"/>
                    <a:pt x="14554" y="16673"/>
                  </a:cubicBezTo>
                  <a:cubicBezTo>
                    <a:pt x="14701" y="16632"/>
                    <a:pt x="14857" y="16642"/>
                    <a:pt x="15004" y="16626"/>
                  </a:cubicBezTo>
                  <a:cubicBezTo>
                    <a:pt x="15303" y="16637"/>
                    <a:pt x="15602" y="16626"/>
                    <a:pt x="15898" y="16678"/>
                  </a:cubicBezTo>
                  <a:cubicBezTo>
                    <a:pt x="16010" y="16698"/>
                    <a:pt x="16053" y="16668"/>
                    <a:pt x="16034" y="16503"/>
                  </a:cubicBezTo>
                  <a:cubicBezTo>
                    <a:pt x="16003" y="16225"/>
                    <a:pt x="16053" y="15973"/>
                    <a:pt x="16174" y="15747"/>
                  </a:cubicBezTo>
                  <a:cubicBezTo>
                    <a:pt x="16271" y="15562"/>
                    <a:pt x="16325" y="15351"/>
                    <a:pt x="16310" y="15120"/>
                  </a:cubicBezTo>
                  <a:cubicBezTo>
                    <a:pt x="16298" y="14965"/>
                    <a:pt x="16282" y="14811"/>
                    <a:pt x="16271" y="14657"/>
                  </a:cubicBezTo>
                  <a:cubicBezTo>
                    <a:pt x="16251" y="14410"/>
                    <a:pt x="16220" y="14168"/>
                    <a:pt x="16244" y="13916"/>
                  </a:cubicBezTo>
                  <a:cubicBezTo>
                    <a:pt x="16430" y="14451"/>
                    <a:pt x="16578" y="15006"/>
                    <a:pt x="16822" y="15500"/>
                  </a:cubicBezTo>
                  <a:cubicBezTo>
                    <a:pt x="16815" y="15588"/>
                    <a:pt x="16807" y="15670"/>
                    <a:pt x="16795" y="15773"/>
                  </a:cubicBezTo>
                  <a:cubicBezTo>
                    <a:pt x="16923" y="15665"/>
                    <a:pt x="17055" y="15649"/>
                    <a:pt x="17191" y="15675"/>
                  </a:cubicBezTo>
                  <a:cubicBezTo>
                    <a:pt x="17090" y="15716"/>
                    <a:pt x="16986" y="15747"/>
                    <a:pt x="16888" y="15814"/>
                  </a:cubicBezTo>
                  <a:cubicBezTo>
                    <a:pt x="16842" y="15845"/>
                    <a:pt x="16795" y="15876"/>
                    <a:pt x="16791" y="15953"/>
                  </a:cubicBezTo>
                  <a:cubicBezTo>
                    <a:pt x="16760" y="16416"/>
                    <a:pt x="16706" y="16878"/>
                    <a:pt x="16745" y="17346"/>
                  </a:cubicBezTo>
                  <a:cubicBezTo>
                    <a:pt x="16752" y="17588"/>
                    <a:pt x="16760" y="17830"/>
                    <a:pt x="16768" y="18077"/>
                  </a:cubicBezTo>
                  <a:cubicBezTo>
                    <a:pt x="16768" y="18144"/>
                    <a:pt x="16787" y="18169"/>
                    <a:pt x="16838" y="18190"/>
                  </a:cubicBezTo>
                  <a:cubicBezTo>
                    <a:pt x="16989" y="18252"/>
                    <a:pt x="17137" y="18324"/>
                    <a:pt x="17285" y="18390"/>
                  </a:cubicBezTo>
                  <a:cubicBezTo>
                    <a:pt x="17277" y="18473"/>
                    <a:pt x="17331" y="18468"/>
                    <a:pt x="17366" y="18488"/>
                  </a:cubicBezTo>
                  <a:cubicBezTo>
                    <a:pt x="17836" y="18771"/>
                    <a:pt x="18314" y="19038"/>
                    <a:pt x="18776" y="19352"/>
                  </a:cubicBezTo>
                  <a:cubicBezTo>
                    <a:pt x="18854" y="19404"/>
                    <a:pt x="18924" y="19476"/>
                    <a:pt x="19021" y="19491"/>
                  </a:cubicBezTo>
                  <a:cubicBezTo>
                    <a:pt x="19025" y="19342"/>
                    <a:pt x="19037" y="19203"/>
                    <a:pt x="19017" y="19069"/>
                  </a:cubicBezTo>
                  <a:cubicBezTo>
                    <a:pt x="19041" y="18874"/>
                    <a:pt x="19052" y="18684"/>
                    <a:pt x="19048" y="18488"/>
                  </a:cubicBezTo>
                  <a:cubicBezTo>
                    <a:pt x="19045" y="17141"/>
                    <a:pt x="18998" y="15793"/>
                    <a:pt x="18963" y="14441"/>
                  </a:cubicBezTo>
                  <a:cubicBezTo>
                    <a:pt x="18959" y="14240"/>
                    <a:pt x="18971" y="14040"/>
                    <a:pt x="18928" y="13844"/>
                  </a:cubicBezTo>
                  <a:cubicBezTo>
                    <a:pt x="18932" y="13813"/>
                    <a:pt x="18944" y="13777"/>
                    <a:pt x="18940" y="13746"/>
                  </a:cubicBezTo>
                  <a:cubicBezTo>
                    <a:pt x="18916" y="13263"/>
                    <a:pt x="18889" y="12774"/>
                    <a:pt x="18866" y="12291"/>
                  </a:cubicBezTo>
                  <a:cubicBezTo>
                    <a:pt x="18881" y="12224"/>
                    <a:pt x="18866" y="12162"/>
                    <a:pt x="18846" y="12101"/>
                  </a:cubicBezTo>
                  <a:cubicBezTo>
                    <a:pt x="18831" y="11864"/>
                    <a:pt x="18819" y="11628"/>
                    <a:pt x="18796" y="11391"/>
                  </a:cubicBezTo>
                  <a:cubicBezTo>
                    <a:pt x="18749" y="10928"/>
                    <a:pt x="18648" y="10491"/>
                    <a:pt x="18388" y="10146"/>
                  </a:cubicBezTo>
                  <a:cubicBezTo>
                    <a:pt x="18248" y="9915"/>
                    <a:pt x="18240" y="9910"/>
                    <a:pt x="18058" y="10059"/>
                  </a:cubicBezTo>
                  <a:cubicBezTo>
                    <a:pt x="17735" y="10326"/>
                    <a:pt x="17487" y="10692"/>
                    <a:pt x="17273" y="11108"/>
                  </a:cubicBezTo>
                  <a:cubicBezTo>
                    <a:pt x="17250" y="11154"/>
                    <a:pt x="17246" y="11232"/>
                    <a:pt x="17184" y="11226"/>
                  </a:cubicBezTo>
                  <a:cubicBezTo>
                    <a:pt x="17184" y="11216"/>
                    <a:pt x="17176" y="11201"/>
                    <a:pt x="17180" y="11196"/>
                  </a:cubicBezTo>
                  <a:cubicBezTo>
                    <a:pt x="17347" y="10666"/>
                    <a:pt x="17553" y="10167"/>
                    <a:pt x="17914" y="9822"/>
                  </a:cubicBezTo>
                  <a:cubicBezTo>
                    <a:pt x="17999" y="9740"/>
                    <a:pt x="17968" y="9714"/>
                    <a:pt x="17898" y="9678"/>
                  </a:cubicBezTo>
                  <a:cubicBezTo>
                    <a:pt x="17794" y="9622"/>
                    <a:pt x="17689" y="9560"/>
                    <a:pt x="17580" y="9519"/>
                  </a:cubicBezTo>
                  <a:cubicBezTo>
                    <a:pt x="17436" y="9462"/>
                    <a:pt x="17304" y="9354"/>
                    <a:pt x="17149" y="9349"/>
                  </a:cubicBezTo>
                  <a:cubicBezTo>
                    <a:pt x="16927" y="9200"/>
                    <a:pt x="16686" y="9123"/>
                    <a:pt x="16453" y="9020"/>
                  </a:cubicBezTo>
                  <a:cubicBezTo>
                    <a:pt x="16142" y="8886"/>
                    <a:pt x="15828" y="8758"/>
                    <a:pt x="15509" y="8624"/>
                  </a:cubicBezTo>
                  <a:cubicBezTo>
                    <a:pt x="15490" y="9658"/>
                    <a:pt x="15366" y="10666"/>
                    <a:pt x="15253" y="11674"/>
                  </a:cubicBezTo>
                  <a:close/>
                  <a:moveTo>
                    <a:pt x="15028" y="8228"/>
                  </a:moveTo>
                  <a:cubicBezTo>
                    <a:pt x="14647" y="9555"/>
                    <a:pt x="14418" y="10938"/>
                    <a:pt x="14169" y="12317"/>
                  </a:cubicBezTo>
                  <a:cubicBezTo>
                    <a:pt x="14142" y="12471"/>
                    <a:pt x="14091" y="12625"/>
                    <a:pt x="14126" y="12790"/>
                  </a:cubicBezTo>
                  <a:cubicBezTo>
                    <a:pt x="14060" y="12888"/>
                    <a:pt x="14056" y="13016"/>
                    <a:pt x="14037" y="13134"/>
                  </a:cubicBezTo>
                  <a:cubicBezTo>
                    <a:pt x="13784" y="14518"/>
                    <a:pt x="13532" y="15901"/>
                    <a:pt x="13287" y="17285"/>
                  </a:cubicBezTo>
                  <a:cubicBezTo>
                    <a:pt x="13237" y="17573"/>
                    <a:pt x="13167" y="17861"/>
                    <a:pt x="13151" y="18159"/>
                  </a:cubicBezTo>
                  <a:cubicBezTo>
                    <a:pt x="13136" y="18216"/>
                    <a:pt x="13124" y="18267"/>
                    <a:pt x="13108" y="18324"/>
                  </a:cubicBezTo>
                  <a:cubicBezTo>
                    <a:pt x="13085" y="18432"/>
                    <a:pt x="13085" y="18509"/>
                    <a:pt x="13202" y="18493"/>
                  </a:cubicBezTo>
                  <a:cubicBezTo>
                    <a:pt x="13291" y="18483"/>
                    <a:pt x="13380" y="18488"/>
                    <a:pt x="13466" y="18498"/>
                  </a:cubicBezTo>
                  <a:cubicBezTo>
                    <a:pt x="13547" y="18509"/>
                    <a:pt x="13582" y="18468"/>
                    <a:pt x="13610" y="18365"/>
                  </a:cubicBezTo>
                  <a:cubicBezTo>
                    <a:pt x="14122" y="16596"/>
                    <a:pt x="14635" y="14826"/>
                    <a:pt x="15152" y="13062"/>
                  </a:cubicBezTo>
                  <a:cubicBezTo>
                    <a:pt x="15195" y="12913"/>
                    <a:pt x="15179" y="12810"/>
                    <a:pt x="15078" y="12723"/>
                  </a:cubicBezTo>
                  <a:cubicBezTo>
                    <a:pt x="14954" y="12620"/>
                    <a:pt x="14833" y="12507"/>
                    <a:pt x="14713" y="12389"/>
                  </a:cubicBezTo>
                  <a:cubicBezTo>
                    <a:pt x="14592" y="12265"/>
                    <a:pt x="14592" y="12168"/>
                    <a:pt x="14709" y="12039"/>
                  </a:cubicBezTo>
                  <a:cubicBezTo>
                    <a:pt x="14787" y="11952"/>
                    <a:pt x="14868" y="11869"/>
                    <a:pt x="14954" y="11802"/>
                  </a:cubicBezTo>
                  <a:cubicBezTo>
                    <a:pt x="15074" y="11710"/>
                    <a:pt x="15109" y="11571"/>
                    <a:pt x="15125" y="11401"/>
                  </a:cubicBezTo>
                  <a:cubicBezTo>
                    <a:pt x="15160" y="10969"/>
                    <a:pt x="15202" y="10537"/>
                    <a:pt x="15237" y="10105"/>
                  </a:cubicBezTo>
                  <a:cubicBezTo>
                    <a:pt x="15288" y="9493"/>
                    <a:pt x="15319" y="8881"/>
                    <a:pt x="15296" y="8269"/>
                  </a:cubicBezTo>
                  <a:cubicBezTo>
                    <a:pt x="15292" y="8146"/>
                    <a:pt x="15268" y="8028"/>
                    <a:pt x="15253" y="7909"/>
                  </a:cubicBezTo>
                  <a:cubicBezTo>
                    <a:pt x="15249" y="7873"/>
                    <a:pt x="15241" y="7822"/>
                    <a:pt x="15206" y="7827"/>
                  </a:cubicBezTo>
                  <a:cubicBezTo>
                    <a:pt x="15187" y="7827"/>
                    <a:pt x="15164" y="7863"/>
                    <a:pt x="15152" y="7889"/>
                  </a:cubicBezTo>
                  <a:cubicBezTo>
                    <a:pt x="15094" y="7986"/>
                    <a:pt x="15062" y="8110"/>
                    <a:pt x="15028" y="8228"/>
                  </a:cubicBezTo>
                  <a:close/>
                  <a:moveTo>
                    <a:pt x="12798" y="18493"/>
                  </a:moveTo>
                  <a:cubicBezTo>
                    <a:pt x="12899" y="18509"/>
                    <a:pt x="12891" y="18421"/>
                    <a:pt x="12902" y="18344"/>
                  </a:cubicBezTo>
                  <a:cubicBezTo>
                    <a:pt x="12914" y="18272"/>
                    <a:pt x="12930" y="18205"/>
                    <a:pt x="12941" y="18133"/>
                  </a:cubicBezTo>
                  <a:cubicBezTo>
                    <a:pt x="13244" y="16452"/>
                    <a:pt x="13540" y="14770"/>
                    <a:pt x="13870" y="13098"/>
                  </a:cubicBezTo>
                  <a:cubicBezTo>
                    <a:pt x="14029" y="12286"/>
                    <a:pt x="14185" y="11468"/>
                    <a:pt x="14340" y="10656"/>
                  </a:cubicBezTo>
                  <a:cubicBezTo>
                    <a:pt x="14359" y="10635"/>
                    <a:pt x="14359" y="10609"/>
                    <a:pt x="14352" y="10584"/>
                  </a:cubicBezTo>
                  <a:cubicBezTo>
                    <a:pt x="14340" y="10599"/>
                    <a:pt x="14328" y="10609"/>
                    <a:pt x="14317" y="10625"/>
                  </a:cubicBezTo>
                  <a:cubicBezTo>
                    <a:pt x="14254" y="10743"/>
                    <a:pt x="14188" y="10861"/>
                    <a:pt x="14130" y="10980"/>
                  </a:cubicBezTo>
                  <a:cubicBezTo>
                    <a:pt x="13897" y="11442"/>
                    <a:pt x="13660" y="11900"/>
                    <a:pt x="13400" y="12337"/>
                  </a:cubicBezTo>
                  <a:cubicBezTo>
                    <a:pt x="13295" y="12512"/>
                    <a:pt x="13221" y="12497"/>
                    <a:pt x="13159" y="12286"/>
                  </a:cubicBezTo>
                  <a:cubicBezTo>
                    <a:pt x="13097" y="12075"/>
                    <a:pt x="13035" y="11859"/>
                    <a:pt x="12965" y="11617"/>
                  </a:cubicBezTo>
                  <a:cubicBezTo>
                    <a:pt x="12941" y="11684"/>
                    <a:pt x="12930" y="11720"/>
                    <a:pt x="12918" y="11761"/>
                  </a:cubicBezTo>
                  <a:cubicBezTo>
                    <a:pt x="12825" y="12070"/>
                    <a:pt x="12708" y="12363"/>
                    <a:pt x="12708" y="12713"/>
                  </a:cubicBezTo>
                  <a:cubicBezTo>
                    <a:pt x="12704" y="13433"/>
                    <a:pt x="12685" y="14153"/>
                    <a:pt x="12669" y="14873"/>
                  </a:cubicBezTo>
                  <a:cubicBezTo>
                    <a:pt x="12650" y="16025"/>
                    <a:pt x="12669" y="17172"/>
                    <a:pt x="12712" y="18324"/>
                  </a:cubicBezTo>
                  <a:cubicBezTo>
                    <a:pt x="12724" y="18390"/>
                    <a:pt x="12700" y="18478"/>
                    <a:pt x="12798" y="18493"/>
                  </a:cubicBezTo>
                  <a:close/>
                  <a:moveTo>
                    <a:pt x="12572" y="14703"/>
                  </a:moveTo>
                  <a:cubicBezTo>
                    <a:pt x="12584" y="14297"/>
                    <a:pt x="12588" y="13890"/>
                    <a:pt x="12607" y="13489"/>
                  </a:cubicBezTo>
                  <a:cubicBezTo>
                    <a:pt x="12619" y="13222"/>
                    <a:pt x="12634" y="12949"/>
                    <a:pt x="12662" y="12677"/>
                  </a:cubicBezTo>
                  <a:cubicBezTo>
                    <a:pt x="12700" y="12286"/>
                    <a:pt x="12693" y="12286"/>
                    <a:pt x="12386" y="12270"/>
                  </a:cubicBezTo>
                  <a:cubicBezTo>
                    <a:pt x="12308" y="12250"/>
                    <a:pt x="12289" y="12286"/>
                    <a:pt x="12285" y="12389"/>
                  </a:cubicBezTo>
                  <a:cubicBezTo>
                    <a:pt x="12281" y="12666"/>
                    <a:pt x="12269" y="12944"/>
                    <a:pt x="12254" y="13222"/>
                  </a:cubicBezTo>
                  <a:cubicBezTo>
                    <a:pt x="12223" y="13772"/>
                    <a:pt x="12172" y="14317"/>
                    <a:pt x="12157" y="14868"/>
                  </a:cubicBezTo>
                  <a:cubicBezTo>
                    <a:pt x="12153" y="14888"/>
                    <a:pt x="12141" y="14909"/>
                    <a:pt x="12141" y="14929"/>
                  </a:cubicBezTo>
                  <a:cubicBezTo>
                    <a:pt x="12091" y="15624"/>
                    <a:pt x="12036" y="16318"/>
                    <a:pt x="11990" y="17012"/>
                  </a:cubicBezTo>
                  <a:cubicBezTo>
                    <a:pt x="11958" y="17470"/>
                    <a:pt x="11935" y="17922"/>
                    <a:pt x="11912" y="18380"/>
                  </a:cubicBezTo>
                  <a:cubicBezTo>
                    <a:pt x="11908" y="18426"/>
                    <a:pt x="11881" y="18509"/>
                    <a:pt x="11962" y="18488"/>
                  </a:cubicBezTo>
                  <a:cubicBezTo>
                    <a:pt x="12160" y="18442"/>
                    <a:pt x="12359" y="18468"/>
                    <a:pt x="12557" y="18468"/>
                  </a:cubicBezTo>
                  <a:cubicBezTo>
                    <a:pt x="12634" y="18468"/>
                    <a:pt x="12650" y="18447"/>
                    <a:pt x="12631" y="18344"/>
                  </a:cubicBezTo>
                  <a:cubicBezTo>
                    <a:pt x="12572" y="17989"/>
                    <a:pt x="12545" y="17629"/>
                    <a:pt x="12541" y="17264"/>
                  </a:cubicBezTo>
                  <a:cubicBezTo>
                    <a:pt x="12526" y="16410"/>
                    <a:pt x="12545" y="15557"/>
                    <a:pt x="12572" y="14703"/>
                  </a:cubicBezTo>
                  <a:close/>
                  <a:moveTo>
                    <a:pt x="11865" y="16884"/>
                  </a:moveTo>
                  <a:cubicBezTo>
                    <a:pt x="11900" y="16086"/>
                    <a:pt x="11958" y="15294"/>
                    <a:pt x="12009" y="14497"/>
                  </a:cubicBezTo>
                  <a:cubicBezTo>
                    <a:pt x="12048" y="13854"/>
                    <a:pt x="12094" y="13206"/>
                    <a:pt x="12122" y="12564"/>
                  </a:cubicBezTo>
                  <a:cubicBezTo>
                    <a:pt x="12126" y="12435"/>
                    <a:pt x="12133" y="12306"/>
                    <a:pt x="12110" y="12183"/>
                  </a:cubicBezTo>
                  <a:cubicBezTo>
                    <a:pt x="12071" y="11982"/>
                    <a:pt x="12036" y="11787"/>
                    <a:pt x="11990" y="11592"/>
                  </a:cubicBezTo>
                  <a:cubicBezTo>
                    <a:pt x="11947" y="11396"/>
                    <a:pt x="11970" y="11232"/>
                    <a:pt x="12087" y="11093"/>
                  </a:cubicBezTo>
                  <a:cubicBezTo>
                    <a:pt x="12188" y="10974"/>
                    <a:pt x="12273" y="10836"/>
                    <a:pt x="12374" y="10717"/>
                  </a:cubicBezTo>
                  <a:cubicBezTo>
                    <a:pt x="12425" y="10656"/>
                    <a:pt x="12417" y="10635"/>
                    <a:pt x="12366" y="10584"/>
                  </a:cubicBezTo>
                  <a:cubicBezTo>
                    <a:pt x="12195" y="10414"/>
                    <a:pt x="12048" y="10218"/>
                    <a:pt x="11924" y="9992"/>
                  </a:cubicBezTo>
                  <a:cubicBezTo>
                    <a:pt x="11865" y="9884"/>
                    <a:pt x="11803" y="9781"/>
                    <a:pt x="11725" y="9653"/>
                  </a:cubicBezTo>
                  <a:cubicBezTo>
                    <a:pt x="11702" y="10136"/>
                    <a:pt x="11683" y="10589"/>
                    <a:pt x="11659" y="11036"/>
                  </a:cubicBezTo>
                  <a:cubicBezTo>
                    <a:pt x="11652" y="11201"/>
                    <a:pt x="11683" y="11355"/>
                    <a:pt x="11737" y="11504"/>
                  </a:cubicBezTo>
                  <a:cubicBezTo>
                    <a:pt x="11795" y="11658"/>
                    <a:pt x="11857" y="11808"/>
                    <a:pt x="11935" y="11946"/>
                  </a:cubicBezTo>
                  <a:cubicBezTo>
                    <a:pt x="11955" y="11982"/>
                    <a:pt x="11990" y="12039"/>
                    <a:pt x="11951" y="12080"/>
                  </a:cubicBezTo>
                  <a:cubicBezTo>
                    <a:pt x="11916" y="12116"/>
                    <a:pt x="11877" y="12070"/>
                    <a:pt x="11850" y="12039"/>
                  </a:cubicBezTo>
                  <a:cubicBezTo>
                    <a:pt x="11822" y="12008"/>
                    <a:pt x="11795" y="11967"/>
                    <a:pt x="11776" y="11926"/>
                  </a:cubicBezTo>
                  <a:cubicBezTo>
                    <a:pt x="11737" y="11844"/>
                    <a:pt x="11706" y="11751"/>
                    <a:pt x="11659" y="11638"/>
                  </a:cubicBezTo>
                  <a:cubicBezTo>
                    <a:pt x="11702" y="13973"/>
                    <a:pt x="11741" y="16282"/>
                    <a:pt x="11784" y="18596"/>
                  </a:cubicBezTo>
                  <a:cubicBezTo>
                    <a:pt x="11873" y="18576"/>
                    <a:pt x="11861" y="18514"/>
                    <a:pt x="11857" y="18442"/>
                  </a:cubicBezTo>
                  <a:cubicBezTo>
                    <a:pt x="11838" y="17922"/>
                    <a:pt x="11842" y="17403"/>
                    <a:pt x="11865" y="16884"/>
                  </a:cubicBezTo>
                  <a:close/>
                  <a:moveTo>
                    <a:pt x="12168" y="11566"/>
                  </a:moveTo>
                  <a:cubicBezTo>
                    <a:pt x="12160" y="11689"/>
                    <a:pt x="12215" y="11787"/>
                    <a:pt x="12234" y="11900"/>
                  </a:cubicBezTo>
                  <a:cubicBezTo>
                    <a:pt x="12254" y="12024"/>
                    <a:pt x="12281" y="12132"/>
                    <a:pt x="12397" y="12147"/>
                  </a:cubicBezTo>
                  <a:cubicBezTo>
                    <a:pt x="12495" y="12162"/>
                    <a:pt x="12588" y="12198"/>
                    <a:pt x="12681" y="12214"/>
                  </a:cubicBezTo>
                  <a:cubicBezTo>
                    <a:pt x="12704" y="12219"/>
                    <a:pt x="12712" y="12168"/>
                    <a:pt x="12724" y="12137"/>
                  </a:cubicBezTo>
                  <a:cubicBezTo>
                    <a:pt x="12786" y="11946"/>
                    <a:pt x="12852" y="11761"/>
                    <a:pt x="12918" y="11576"/>
                  </a:cubicBezTo>
                  <a:cubicBezTo>
                    <a:pt x="12937" y="11520"/>
                    <a:pt x="12945" y="11473"/>
                    <a:pt x="12918" y="11422"/>
                  </a:cubicBezTo>
                  <a:cubicBezTo>
                    <a:pt x="12848" y="11278"/>
                    <a:pt x="12786" y="11124"/>
                    <a:pt x="12693" y="11000"/>
                  </a:cubicBezTo>
                  <a:cubicBezTo>
                    <a:pt x="12662" y="10923"/>
                    <a:pt x="12638" y="10836"/>
                    <a:pt x="12580" y="10784"/>
                  </a:cubicBezTo>
                  <a:cubicBezTo>
                    <a:pt x="12432" y="10933"/>
                    <a:pt x="12312" y="11118"/>
                    <a:pt x="12188" y="11298"/>
                  </a:cubicBezTo>
                  <a:cubicBezTo>
                    <a:pt x="12122" y="11386"/>
                    <a:pt x="12110" y="11468"/>
                    <a:pt x="12168" y="11566"/>
                  </a:cubicBezTo>
                  <a:close/>
                  <a:moveTo>
                    <a:pt x="14767" y="7822"/>
                  </a:moveTo>
                  <a:cubicBezTo>
                    <a:pt x="14771" y="7837"/>
                    <a:pt x="14775" y="7853"/>
                    <a:pt x="14779" y="7868"/>
                  </a:cubicBezTo>
                  <a:cubicBezTo>
                    <a:pt x="14798" y="8043"/>
                    <a:pt x="14818" y="8223"/>
                    <a:pt x="14841" y="8398"/>
                  </a:cubicBezTo>
                  <a:cubicBezTo>
                    <a:pt x="14907" y="8202"/>
                    <a:pt x="15004" y="8043"/>
                    <a:pt x="15016" y="7837"/>
                  </a:cubicBezTo>
                  <a:cubicBezTo>
                    <a:pt x="15051" y="7832"/>
                    <a:pt x="15090" y="7822"/>
                    <a:pt x="15094" y="7770"/>
                  </a:cubicBezTo>
                  <a:cubicBezTo>
                    <a:pt x="15097" y="7719"/>
                    <a:pt x="15051" y="7724"/>
                    <a:pt x="15028" y="7714"/>
                  </a:cubicBezTo>
                  <a:cubicBezTo>
                    <a:pt x="14977" y="7688"/>
                    <a:pt x="14923" y="7678"/>
                    <a:pt x="14872" y="7662"/>
                  </a:cubicBezTo>
                  <a:cubicBezTo>
                    <a:pt x="14725" y="7621"/>
                    <a:pt x="14721" y="7626"/>
                    <a:pt x="14767" y="7822"/>
                  </a:cubicBezTo>
                  <a:close/>
                  <a:moveTo>
                    <a:pt x="14142" y="7009"/>
                  </a:moveTo>
                  <a:cubicBezTo>
                    <a:pt x="14169" y="7292"/>
                    <a:pt x="14185" y="7344"/>
                    <a:pt x="14274" y="7354"/>
                  </a:cubicBezTo>
                  <a:cubicBezTo>
                    <a:pt x="14394" y="7369"/>
                    <a:pt x="14421" y="7482"/>
                    <a:pt x="14441" y="7606"/>
                  </a:cubicBezTo>
                  <a:cubicBezTo>
                    <a:pt x="14460" y="7740"/>
                    <a:pt x="14425" y="7858"/>
                    <a:pt x="14371" y="7971"/>
                  </a:cubicBezTo>
                  <a:cubicBezTo>
                    <a:pt x="13936" y="8886"/>
                    <a:pt x="13419" y="9714"/>
                    <a:pt x="12844" y="10476"/>
                  </a:cubicBezTo>
                  <a:cubicBezTo>
                    <a:pt x="12700" y="10666"/>
                    <a:pt x="12693" y="10656"/>
                    <a:pt x="12813" y="10882"/>
                  </a:cubicBezTo>
                  <a:cubicBezTo>
                    <a:pt x="12844" y="10938"/>
                    <a:pt x="12871" y="10990"/>
                    <a:pt x="12895" y="11046"/>
                  </a:cubicBezTo>
                  <a:cubicBezTo>
                    <a:pt x="13058" y="11396"/>
                    <a:pt x="13182" y="11772"/>
                    <a:pt x="13299" y="12178"/>
                  </a:cubicBezTo>
                  <a:cubicBezTo>
                    <a:pt x="13326" y="12142"/>
                    <a:pt x="13341" y="12121"/>
                    <a:pt x="13353" y="12101"/>
                  </a:cubicBezTo>
                  <a:cubicBezTo>
                    <a:pt x="13683" y="11509"/>
                    <a:pt x="14014" y="10918"/>
                    <a:pt x="14383" y="10368"/>
                  </a:cubicBezTo>
                  <a:cubicBezTo>
                    <a:pt x="14429" y="10296"/>
                    <a:pt x="14449" y="10213"/>
                    <a:pt x="14468" y="10131"/>
                  </a:cubicBezTo>
                  <a:cubicBezTo>
                    <a:pt x="14561" y="9714"/>
                    <a:pt x="14655" y="9293"/>
                    <a:pt x="14752" y="8876"/>
                  </a:cubicBezTo>
                  <a:cubicBezTo>
                    <a:pt x="14771" y="8789"/>
                    <a:pt x="14783" y="8701"/>
                    <a:pt x="14767" y="8614"/>
                  </a:cubicBezTo>
                  <a:cubicBezTo>
                    <a:pt x="14717" y="8285"/>
                    <a:pt x="14674" y="7945"/>
                    <a:pt x="14604" y="7621"/>
                  </a:cubicBezTo>
                  <a:cubicBezTo>
                    <a:pt x="14495" y="7107"/>
                    <a:pt x="14585" y="7179"/>
                    <a:pt x="14161" y="7004"/>
                  </a:cubicBezTo>
                  <a:cubicBezTo>
                    <a:pt x="14153" y="6999"/>
                    <a:pt x="14146" y="7004"/>
                    <a:pt x="14142" y="7009"/>
                  </a:cubicBezTo>
                  <a:close/>
                  <a:moveTo>
                    <a:pt x="8761" y="1949"/>
                  </a:moveTo>
                  <a:cubicBezTo>
                    <a:pt x="8773" y="1954"/>
                    <a:pt x="8785" y="1964"/>
                    <a:pt x="8796" y="1974"/>
                  </a:cubicBezTo>
                  <a:cubicBezTo>
                    <a:pt x="8936" y="2088"/>
                    <a:pt x="9014" y="2077"/>
                    <a:pt x="9134" y="1949"/>
                  </a:cubicBezTo>
                  <a:cubicBezTo>
                    <a:pt x="9010" y="1933"/>
                    <a:pt x="8886" y="1938"/>
                    <a:pt x="8761" y="1949"/>
                  </a:cubicBezTo>
                  <a:close/>
                  <a:moveTo>
                    <a:pt x="8750" y="3065"/>
                  </a:moveTo>
                  <a:cubicBezTo>
                    <a:pt x="8656" y="2977"/>
                    <a:pt x="8590" y="2874"/>
                    <a:pt x="8513" y="2761"/>
                  </a:cubicBezTo>
                  <a:cubicBezTo>
                    <a:pt x="8388" y="3065"/>
                    <a:pt x="8388" y="3348"/>
                    <a:pt x="8493" y="3651"/>
                  </a:cubicBezTo>
                  <a:cubicBezTo>
                    <a:pt x="8575" y="3445"/>
                    <a:pt x="8575" y="3198"/>
                    <a:pt x="8750" y="3065"/>
                  </a:cubicBezTo>
                  <a:close/>
                  <a:moveTo>
                    <a:pt x="8936" y="3198"/>
                  </a:moveTo>
                  <a:cubicBezTo>
                    <a:pt x="8777" y="3132"/>
                    <a:pt x="8746" y="3152"/>
                    <a:pt x="8680" y="3312"/>
                  </a:cubicBezTo>
                  <a:cubicBezTo>
                    <a:pt x="8610" y="3486"/>
                    <a:pt x="8602" y="3636"/>
                    <a:pt x="8664" y="3893"/>
                  </a:cubicBezTo>
                  <a:cubicBezTo>
                    <a:pt x="8703" y="3620"/>
                    <a:pt x="8757" y="3378"/>
                    <a:pt x="8936" y="3198"/>
                  </a:cubicBezTo>
                  <a:close/>
                  <a:moveTo>
                    <a:pt x="9099" y="4222"/>
                  </a:moveTo>
                  <a:cubicBezTo>
                    <a:pt x="9088" y="4078"/>
                    <a:pt x="9088" y="3965"/>
                    <a:pt x="9025" y="3872"/>
                  </a:cubicBezTo>
                  <a:cubicBezTo>
                    <a:pt x="9037" y="3985"/>
                    <a:pt x="9037" y="4098"/>
                    <a:pt x="9099" y="4222"/>
                  </a:cubicBezTo>
                  <a:close/>
                  <a:moveTo>
                    <a:pt x="9177" y="4062"/>
                  </a:moveTo>
                  <a:cubicBezTo>
                    <a:pt x="9216" y="4356"/>
                    <a:pt x="9278" y="4638"/>
                    <a:pt x="9460" y="4854"/>
                  </a:cubicBezTo>
                  <a:cubicBezTo>
                    <a:pt x="9507" y="4494"/>
                    <a:pt x="9394" y="4242"/>
                    <a:pt x="9177" y="4062"/>
                  </a:cubicBezTo>
                  <a:close/>
                  <a:moveTo>
                    <a:pt x="9958" y="2777"/>
                  </a:moveTo>
                  <a:cubicBezTo>
                    <a:pt x="9647" y="2813"/>
                    <a:pt x="9352" y="2766"/>
                    <a:pt x="9080" y="2556"/>
                  </a:cubicBezTo>
                  <a:cubicBezTo>
                    <a:pt x="9072" y="2550"/>
                    <a:pt x="9056" y="2550"/>
                    <a:pt x="9045" y="2550"/>
                  </a:cubicBezTo>
                  <a:cubicBezTo>
                    <a:pt x="9053" y="2494"/>
                    <a:pt x="9014" y="2473"/>
                    <a:pt x="8990" y="2448"/>
                  </a:cubicBezTo>
                  <a:cubicBezTo>
                    <a:pt x="8889" y="2334"/>
                    <a:pt x="8808" y="2206"/>
                    <a:pt x="8746" y="2052"/>
                  </a:cubicBezTo>
                  <a:cubicBezTo>
                    <a:pt x="8734" y="2021"/>
                    <a:pt x="8691" y="1995"/>
                    <a:pt x="8734" y="1959"/>
                  </a:cubicBezTo>
                  <a:cubicBezTo>
                    <a:pt x="8734" y="1959"/>
                    <a:pt x="8738" y="1959"/>
                    <a:pt x="8738" y="1954"/>
                  </a:cubicBezTo>
                  <a:cubicBezTo>
                    <a:pt x="8707" y="1959"/>
                    <a:pt x="8680" y="1959"/>
                    <a:pt x="8649" y="1964"/>
                  </a:cubicBezTo>
                  <a:cubicBezTo>
                    <a:pt x="8532" y="1980"/>
                    <a:pt x="8520" y="1995"/>
                    <a:pt x="8567" y="2144"/>
                  </a:cubicBezTo>
                  <a:cubicBezTo>
                    <a:pt x="8575" y="2170"/>
                    <a:pt x="8586" y="2190"/>
                    <a:pt x="8598" y="2216"/>
                  </a:cubicBezTo>
                  <a:cubicBezTo>
                    <a:pt x="8598" y="2581"/>
                    <a:pt x="8878" y="3054"/>
                    <a:pt x="9142" y="3106"/>
                  </a:cubicBezTo>
                  <a:cubicBezTo>
                    <a:pt x="9445" y="3157"/>
                    <a:pt x="9701" y="2972"/>
                    <a:pt x="9958" y="2777"/>
                  </a:cubicBezTo>
                  <a:close/>
                  <a:moveTo>
                    <a:pt x="10012" y="5821"/>
                  </a:moveTo>
                  <a:cubicBezTo>
                    <a:pt x="10051" y="5878"/>
                    <a:pt x="10101" y="5857"/>
                    <a:pt x="10152" y="5852"/>
                  </a:cubicBezTo>
                  <a:cubicBezTo>
                    <a:pt x="10160" y="5852"/>
                    <a:pt x="10171" y="5832"/>
                    <a:pt x="10171" y="5821"/>
                  </a:cubicBezTo>
                  <a:cubicBezTo>
                    <a:pt x="10168" y="5749"/>
                    <a:pt x="10117" y="5744"/>
                    <a:pt x="10082" y="5724"/>
                  </a:cubicBezTo>
                  <a:cubicBezTo>
                    <a:pt x="10035" y="5698"/>
                    <a:pt x="9981" y="5682"/>
                    <a:pt x="9919" y="5657"/>
                  </a:cubicBezTo>
                  <a:cubicBezTo>
                    <a:pt x="9954" y="5724"/>
                    <a:pt x="9981" y="5775"/>
                    <a:pt x="10012" y="5821"/>
                  </a:cubicBezTo>
                  <a:close/>
                  <a:moveTo>
                    <a:pt x="10020" y="6063"/>
                  </a:moveTo>
                  <a:cubicBezTo>
                    <a:pt x="10039" y="6258"/>
                    <a:pt x="10101" y="6438"/>
                    <a:pt x="10152" y="6634"/>
                  </a:cubicBezTo>
                  <a:cubicBezTo>
                    <a:pt x="10160" y="6557"/>
                    <a:pt x="10168" y="6495"/>
                    <a:pt x="10171" y="6438"/>
                  </a:cubicBezTo>
                  <a:cubicBezTo>
                    <a:pt x="10175" y="6377"/>
                    <a:pt x="10183" y="6315"/>
                    <a:pt x="10183" y="6253"/>
                  </a:cubicBezTo>
                  <a:cubicBezTo>
                    <a:pt x="10191" y="6042"/>
                    <a:pt x="10187" y="6042"/>
                    <a:pt x="10020" y="6063"/>
                  </a:cubicBezTo>
                  <a:close/>
                  <a:moveTo>
                    <a:pt x="10486" y="7467"/>
                  </a:moveTo>
                  <a:cubicBezTo>
                    <a:pt x="10525" y="7575"/>
                    <a:pt x="10560" y="7668"/>
                    <a:pt x="10599" y="7760"/>
                  </a:cubicBezTo>
                  <a:cubicBezTo>
                    <a:pt x="10560" y="7668"/>
                    <a:pt x="10688" y="7457"/>
                    <a:pt x="10486" y="7467"/>
                  </a:cubicBezTo>
                  <a:close/>
                  <a:moveTo>
                    <a:pt x="11298" y="9056"/>
                  </a:moveTo>
                  <a:cubicBezTo>
                    <a:pt x="11496" y="9102"/>
                    <a:pt x="11675" y="9072"/>
                    <a:pt x="11842" y="8933"/>
                  </a:cubicBezTo>
                  <a:cubicBezTo>
                    <a:pt x="12293" y="8557"/>
                    <a:pt x="12724" y="8156"/>
                    <a:pt x="12934" y="7467"/>
                  </a:cubicBezTo>
                  <a:cubicBezTo>
                    <a:pt x="12972" y="7344"/>
                    <a:pt x="13023" y="7230"/>
                    <a:pt x="13077" y="7112"/>
                  </a:cubicBezTo>
                  <a:cubicBezTo>
                    <a:pt x="13155" y="6937"/>
                    <a:pt x="13221" y="6747"/>
                    <a:pt x="13330" y="6562"/>
                  </a:cubicBezTo>
                  <a:cubicBezTo>
                    <a:pt x="13326" y="6618"/>
                    <a:pt x="13322" y="6644"/>
                    <a:pt x="13318" y="6670"/>
                  </a:cubicBezTo>
                  <a:cubicBezTo>
                    <a:pt x="13213" y="7184"/>
                    <a:pt x="13027" y="7647"/>
                    <a:pt x="12868" y="8130"/>
                  </a:cubicBezTo>
                  <a:cubicBezTo>
                    <a:pt x="12677" y="8701"/>
                    <a:pt x="12456" y="9257"/>
                    <a:pt x="12316" y="9858"/>
                  </a:cubicBezTo>
                  <a:cubicBezTo>
                    <a:pt x="12269" y="10059"/>
                    <a:pt x="12277" y="10203"/>
                    <a:pt x="12417" y="10342"/>
                  </a:cubicBezTo>
                  <a:cubicBezTo>
                    <a:pt x="12561" y="10486"/>
                    <a:pt x="12553" y="10506"/>
                    <a:pt x="12685" y="10332"/>
                  </a:cubicBezTo>
                  <a:cubicBezTo>
                    <a:pt x="13209" y="9642"/>
                    <a:pt x="13679" y="8892"/>
                    <a:pt x="14118" y="8105"/>
                  </a:cubicBezTo>
                  <a:cubicBezTo>
                    <a:pt x="14157" y="8033"/>
                    <a:pt x="14157" y="7971"/>
                    <a:pt x="14138" y="7889"/>
                  </a:cubicBezTo>
                  <a:cubicBezTo>
                    <a:pt x="14021" y="7374"/>
                    <a:pt x="13897" y="6860"/>
                    <a:pt x="13831" y="6330"/>
                  </a:cubicBezTo>
                  <a:cubicBezTo>
                    <a:pt x="13819" y="6228"/>
                    <a:pt x="13784" y="6130"/>
                    <a:pt x="13742" y="6042"/>
                  </a:cubicBezTo>
                  <a:cubicBezTo>
                    <a:pt x="13664" y="5883"/>
                    <a:pt x="13648" y="5878"/>
                    <a:pt x="13540" y="6012"/>
                  </a:cubicBezTo>
                  <a:cubicBezTo>
                    <a:pt x="13439" y="6135"/>
                    <a:pt x="13334" y="6243"/>
                    <a:pt x="13182" y="6145"/>
                  </a:cubicBezTo>
                  <a:cubicBezTo>
                    <a:pt x="13190" y="6130"/>
                    <a:pt x="13190" y="6114"/>
                    <a:pt x="13198" y="6109"/>
                  </a:cubicBezTo>
                  <a:cubicBezTo>
                    <a:pt x="13687" y="5724"/>
                    <a:pt x="13780" y="5101"/>
                    <a:pt x="13761" y="4422"/>
                  </a:cubicBezTo>
                  <a:cubicBezTo>
                    <a:pt x="13749" y="4109"/>
                    <a:pt x="13532" y="3954"/>
                    <a:pt x="13314" y="4078"/>
                  </a:cubicBezTo>
                  <a:cubicBezTo>
                    <a:pt x="13182" y="4155"/>
                    <a:pt x="13093" y="4294"/>
                    <a:pt x="13031" y="4464"/>
                  </a:cubicBezTo>
                  <a:cubicBezTo>
                    <a:pt x="12953" y="4680"/>
                    <a:pt x="12926" y="4921"/>
                    <a:pt x="12879" y="5153"/>
                  </a:cubicBezTo>
                  <a:cubicBezTo>
                    <a:pt x="12852" y="5286"/>
                    <a:pt x="12829" y="5425"/>
                    <a:pt x="12735" y="5518"/>
                  </a:cubicBezTo>
                  <a:cubicBezTo>
                    <a:pt x="12677" y="5415"/>
                    <a:pt x="12650" y="5297"/>
                    <a:pt x="12623" y="5184"/>
                  </a:cubicBezTo>
                  <a:cubicBezTo>
                    <a:pt x="12530" y="4782"/>
                    <a:pt x="12347" y="4500"/>
                    <a:pt x="12040" y="4356"/>
                  </a:cubicBezTo>
                  <a:cubicBezTo>
                    <a:pt x="11784" y="4232"/>
                    <a:pt x="11788" y="4217"/>
                    <a:pt x="11811" y="3852"/>
                  </a:cubicBezTo>
                  <a:cubicBezTo>
                    <a:pt x="11819" y="3733"/>
                    <a:pt x="11838" y="3620"/>
                    <a:pt x="11838" y="3502"/>
                  </a:cubicBezTo>
                  <a:cubicBezTo>
                    <a:pt x="11838" y="3420"/>
                    <a:pt x="11854" y="3368"/>
                    <a:pt x="11908" y="3327"/>
                  </a:cubicBezTo>
                  <a:cubicBezTo>
                    <a:pt x="11935" y="3389"/>
                    <a:pt x="11966" y="3342"/>
                    <a:pt x="11993" y="3327"/>
                  </a:cubicBezTo>
                  <a:cubicBezTo>
                    <a:pt x="12110" y="3260"/>
                    <a:pt x="12223" y="3183"/>
                    <a:pt x="12335" y="3116"/>
                  </a:cubicBezTo>
                  <a:cubicBezTo>
                    <a:pt x="12502" y="3013"/>
                    <a:pt x="12666" y="2910"/>
                    <a:pt x="12856" y="2941"/>
                  </a:cubicBezTo>
                  <a:cubicBezTo>
                    <a:pt x="12666" y="3044"/>
                    <a:pt x="12479" y="3157"/>
                    <a:pt x="12308" y="3306"/>
                  </a:cubicBezTo>
                  <a:cubicBezTo>
                    <a:pt x="12219" y="3389"/>
                    <a:pt x="12195" y="3492"/>
                    <a:pt x="12250" y="3610"/>
                  </a:cubicBezTo>
                  <a:cubicBezTo>
                    <a:pt x="12471" y="4098"/>
                    <a:pt x="12483" y="4140"/>
                    <a:pt x="12860" y="3888"/>
                  </a:cubicBezTo>
                  <a:cubicBezTo>
                    <a:pt x="12891" y="3867"/>
                    <a:pt x="12922" y="3846"/>
                    <a:pt x="12949" y="3821"/>
                  </a:cubicBezTo>
                  <a:cubicBezTo>
                    <a:pt x="13171" y="3615"/>
                    <a:pt x="13404" y="3569"/>
                    <a:pt x="13648" y="3749"/>
                  </a:cubicBezTo>
                  <a:cubicBezTo>
                    <a:pt x="13711" y="3795"/>
                    <a:pt x="13726" y="3769"/>
                    <a:pt x="13734" y="3687"/>
                  </a:cubicBezTo>
                  <a:cubicBezTo>
                    <a:pt x="13757" y="3456"/>
                    <a:pt x="13769" y="3219"/>
                    <a:pt x="13815" y="2993"/>
                  </a:cubicBezTo>
                  <a:cubicBezTo>
                    <a:pt x="13854" y="2797"/>
                    <a:pt x="13796" y="2710"/>
                    <a:pt x="13683" y="2622"/>
                  </a:cubicBezTo>
                  <a:cubicBezTo>
                    <a:pt x="13474" y="2458"/>
                    <a:pt x="13256" y="2334"/>
                    <a:pt x="13004" y="2324"/>
                  </a:cubicBezTo>
                  <a:cubicBezTo>
                    <a:pt x="13077" y="2273"/>
                    <a:pt x="13155" y="2252"/>
                    <a:pt x="13237" y="2273"/>
                  </a:cubicBezTo>
                  <a:cubicBezTo>
                    <a:pt x="13446" y="2319"/>
                    <a:pt x="13625" y="2458"/>
                    <a:pt x="13780" y="2638"/>
                  </a:cubicBezTo>
                  <a:cubicBezTo>
                    <a:pt x="13843" y="2710"/>
                    <a:pt x="13862" y="2694"/>
                    <a:pt x="13889" y="2597"/>
                  </a:cubicBezTo>
                  <a:cubicBezTo>
                    <a:pt x="13994" y="2196"/>
                    <a:pt x="13901" y="1733"/>
                    <a:pt x="13656" y="1460"/>
                  </a:cubicBezTo>
                  <a:cubicBezTo>
                    <a:pt x="13509" y="1296"/>
                    <a:pt x="13341" y="1213"/>
                    <a:pt x="13155" y="1311"/>
                  </a:cubicBezTo>
                  <a:cubicBezTo>
                    <a:pt x="13070" y="1352"/>
                    <a:pt x="12988" y="1398"/>
                    <a:pt x="12902" y="1429"/>
                  </a:cubicBezTo>
                  <a:cubicBezTo>
                    <a:pt x="12868" y="1445"/>
                    <a:pt x="12840" y="1470"/>
                    <a:pt x="12825" y="1512"/>
                  </a:cubicBezTo>
                  <a:cubicBezTo>
                    <a:pt x="12809" y="1517"/>
                    <a:pt x="12794" y="1517"/>
                    <a:pt x="12798" y="1548"/>
                  </a:cubicBezTo>
                  <a:lnTo>
                    <a:pt x="12798" y="1542"/>
                  </a:lnTo>
                  <a:cubicBezTo>
                    <a:pt x="12681" y="1620"/>
                    <a:pt x="12619" y="1769"/>
                    <a:pt x="12530" y="1887"/>
                  </a:cubicBezTo>
                  <a:cubicBezTo>
                    <a:pt x="12475" y="1964"/>
                    <a:pt x="12421" y="2098"/>
                    <a:pt x="12335" y="1892"/>
                  </a:cubicBezTo>
                  <a:cubicBezTo>
                    <a:pt x="12328" y="2005"/>
                    <a:pt x="12320" y="2082"/>
                    <a:pt x="12316" y="2160"/>
                  </a:cubicBezTo>
                  <a:cubicBezTo>
                    <a:pt x="12277" y="2016"/>
                    <a:pt x="12331" y="1856"/>
                    <a:pt x="12246" y="1733"/>
                  </a:cubicBezTo>
                  <a:cubicBezTo>
                    <a:pt x="12195" y="1409"/>
                    <a:pt x="12126" y="1100"/>
                    <a:pt x="11947" y="853"/>
                  </a:cubicBezTo>
                  <a:cubicBezTo>
                    <a:pt x="12005" y="822"/>
                    <a:pt x="12036" y="874"/>
                    <a:pt x="12071" y="915"/>
                  </a:cubicBezTo>
                  <a:cubicBezTo>
                    <a:pt x="12195" y="1054"/>
                    <a:pt x="12261" y="1234"/>
                    <a:pt x="12324" y="1429"/>
                  </a:cubicBezTo>
                  <a:cubicBezTo>
                    <a:pt x="12362" y="1548"/>
                    <a:pt x="12351" y="1764"/>
                    <a:pt x="12440" y="1764"/>
                  </a:cubicBezTo>
                  <a:cubicBezTo>
                    <a:pt x="12537" y="1764"/>
                    <a:pt x="12584" y="1568"/>
                    <a:pt x="12634" y="1440"/>
                  </a:cubicBezTo>
                  <a:cubicBezTo>
                    <a:pt x="12642" y="1414"/>
                    <a:pt x="12654" y="1388"/>
                    <a:pt x="12662" y="1362"/>
                  </a:cubicBezTo>
                  <a:cubicBezTo>
                    <a:pt x="12794" y="807"/>
                    <a:pt x="12669" y="344"/>
                    <a:pt x="12265" y="221"/>
                  </a:cubicBezTo>
                  <a:cubicBezTo>
                    <a:pt x="12122" y="174"/>
                    <a:pt x="11970" y="200"/>
                    <a:pt x="11826" y="252"/>
                  </a:cubicBezTo>
                  <a:cubicBezTo>
                    <a:pt x="11558" y="344"/>
                    <a:pt x="11286" y="416"/>
                    <a:pt x="11011" y="478"/>
                  </a:cubicBezTo>
                  <a:cubicBezTo>
                    <a:pt x="10579" y="576"/>
                    <a:pt x="10156" y="735"/>
                    <a:pt x="9760" y="992"/>
                  </a:cubicBezTo>
                  <a:cubicBezTo>
                    <a:pt x="9596" y="1100"/>
                    <a:pt x="9449" y="1239"/>
                    <a:pt x="9336" y="1429"/>
                  </a:cubicBezTo>
                  <a:cubicBezTo>
                    <a:pt x="9313" y="1470"/>
                    <a:pt x="9258" y="1542"/>
                    <a:pt x="9359" y="1548"/>
                  </a:cubicBezTo>
                  <a:cubicBezTo>
                    <a:pt x="9729" y="1568"/>
                    <a:pt x="10101" y="1594"/>
                    <a:pt x="10467" y="1645"/>
                  </a:cubicBezTo>
                  <a:cubicBezTo>
                    <a:pt x="10785" y="1774"/>
                    <a:pt x="10972" y="1964"/>
                    <a:pt x="11030" y="2226"/>
                  </a:cubicBezTo>
                  <a:cubicBezTo>
                    <a:pt x="10925" y="2103"/>
                    <a:pt x="10828" y="1995"/>
                    <a:pt x="10704" y="1944"/>
                  </a:cubicBezTo>
                  <a:cubicBezTo>
                    <a:pt x="10377" y="1810"/>
                    <a:pt x="10090" y="1964"/>
                    <a:pt x="9806" y="2144"/>
                  </a:cubicBezTo>
                  <a:cubicBezTo>
                    <a:pt x="9725" y="2154"/>
                    <a:pt x="9678" y="2262"/>
                    <a:pt x="9593" y="2278"/>
                  </a:cubicBezTo>
                  <a:cubicBezTo>
                    <a:pt x="9589" y="2190"/>
                    <a:pt x="9635" y="2144"/>
                    <a:pt x="9647" y="2082"/>
                  </a:cubicBezTo>
                  <a:cubicBezTo>
                    <a:pt x="9721" y="2016"/>
                    <a:pt x="9795" y="1954"/>
                    <a:pt x="9868" y="1887"/>
                  </a:cubicBezTo>
                  <a:cubicBezTo>
                    <a:pt x="9713" y="1851"/>
                    <a:pt x="9569" y="1805"/>
                    <a:pt x="9457" y="2005"/>
                  </a:cubicBezTo>
                  <a:cubicBezTo>
                    <a:pt x="9422" y="2062"/>
                    <a:pt x="9352" y="2093"/>
                    <a:pt x="9293" y="2113"/>
                  </a:cubicBezTo>
                  <a:cubicBezTo>
                    <a:pt x="9200" y="2144"/>
                    <a:pt x="9107" y="2154"/>
                    <a:pt x="9010" y="2180"/>
                  </a:cubicBezTo>
                  <a:cubicBezTo>
                    <a:pt x="8952" y="2196"/>
                    <a:pt x="9010" y="2216"/>
                    <a:pt x="9010" y="2237"/>
                  </a:cubicBezTo>
                  <a:cubicBezTo>
                    <a:pt x="9041" y="2298"/>
                    <a:pt x="9088" y="2340"/>
                    <a:pt x="9130" y="2381"/>
                  </a:cubicBezTo>
                  <a:cubicBezTo>
                    <a:pt x="9387" y="2607"/>
                    <a:pt x="9670" y="2602"/>
                    <a:pt x="9958" y="2530"/>
                  </a:cubicBezTo>
                  <a:cubicBezTo>
                    <a:pt x="10144" y="2484"/>
                    <a:pt x="10327" y="2412"/>
                    <a:pt x="10513" y="2365"/>
                  </a:cubicBezTo>
                  <a:cubicBezTo>
                    <a:pt x="10820" y="2293"/>
                    <a:pt x="11038" y="2617"/>
                    <a:pt x="10960" y="3018"/>
                  </a:cubicBezTo>
                  <a:cubicBezTo>
                    <a:pt x="10937" y="3132"/>
                    <a:pt x="10882" y="3224"/>
                    <a:pt x="10832" y="3348"/>
                  </a:cubicBezTo>
                  <a:cubicBezTo>
                    <a:pt x="11038" y="3188"/>
                    <a:pt x="11158" y="2972"/>
                    <a:pt x="11213" y="2694"/>
                  </a:cubicBezTo>
                  <a:cubicBezTo>
                    <a:pt x="11251" y="2566"/>
                    <a:pt x="11236" y="2432"/>
                    <a:pt x="11189" y="2324"/>
                  </a:cubicBezTo>
                  <a:cubicBezTo>
                    <a:pt x="11026" y="1969"/>
                    <a:pt x="10832" y="1645"/>
                    <a:pt x="10498" y="1553"/>
                  </a:cubicBezTo>
                  <a:cubicBezTo>
                    <a:pt x="10447" y="1481"/>
                    <a:pt x="10366" y="1532"/>
                    <a:pt x="10311" y="1470"/>
                  </a:cubicBezTo>
                  <a:cubicBezTo>
                    <a:pt x="10346" y="1404"/>
                    <a:pt x="10401" y="1414"/>
                    <a:pt x="10447" y="1409"/>
                  </a:cubicBezTo>
                  <a:cubicBezTo>
                    <a:pt x="10933" y="1383"/>
                    <a:pt x="11391" y="1887"/>
                    <a:pt x="11457" y="2530"/>
                  </a:cubicBezTo>
                  <a:cubicBezTo>
                    <a:pt x="11477" y="2725"/>
                    <a:pt x="11488" y="2741"/>
                    <a:pt x="11632" y="2664"/>
                  </a:cubicBezTo>
                  <a:cubicBezTo>
                    <a:pt x="11920" y="2509"/>
                    <a:pt x="12032" y="2196"/>
                    <a:pt x="12063" y="1810"/>
                  </a:cubicBezTo>
                  <a:cubicBezTo>
                    <a:pt x="12079" y="1640"/>
                    <a:pt x="12067" y="1470"/>
                    <a:pt x="12044" y="1301"/>
                  </a:cubicBezTo>
                  <a:cubicBezTo>
                    <a:pt x="12149" y="1429"/>
                    <a:pt x="12164" y="1614"/>
                    <a:pt x="12219" y="1774"/>
                  </a:cubicBezTo>
                  <a:cubicBezTo>
                    <a:pt x="12223" y="1974"/>
                    <a:pt x="12227" y="2175"/>
                    <a:pt x="12192" y="2370"/>
                  </a:cubicBezTo>
                  <a:cubicBezTo>
                    <a:pt x="12110" y="2818"/>
                    <a:pt x="11951" y="3168"/>
                    <a:pt x="11574" y="3240"/>
                  </a:cubicBezTo>
                  <a:cubicBezTo>
                    <a:pt x="11438" y="3265"/>
                    <a:pt x="11286" y="3306"/>
                    <a:pt x="11166" y="3214"/>
                  </a:cubicBezTo>
                  <a:cubicBezTo>
                    <a:pt x="11104" y="3168"/>
                    <a:pt x="11088" y="3188"/>
                    <a:pt x="11053" y="3229"/>
                  </a:cubicBezTo>
                  <a:cubicBezTo>
                    <a:pt x="10878" y="3414"/>
                    <a:pt x="10680" y="3522"/>
                    <a:pt x="10459" y="3564"/>
                  </a:cubicBezTo>
                  <a:cubicBezTo>
                    <a:pt x="10191" y="3615"/>
                    <a:pt x="9927" y="3589"/>
                    <a:pt x="9655" y="3533"/>
                  </a:cubicBezTo>
                  <a:cubicBezTo>
                    <a:pt x="9616" y="4026"/>
                    <a:pt x="9639" y="4510"/>
                    <a:pt x="9662" y="4993"/>
                  </a:cubicBezTo>
                  <a:cubicBezTo>
                    <a:pt x="9674" y="5199"/>
                    <a:pt x="9748" y="5286"/>
                    <a:pt x="9892" y="5338"/>
                  </a:cubicBezTo>
                  <a:cubicBezTo>
                    <a:pt x="10144" y="5436"/>
                    <a:pt x="10335" y="5662"/>
                    <a:pt x="10323" y="6078"/>
                  </a:cubicBezTo>
                  <a:cubicBezTo>
                    <a:pt x="10315" y="6382"/>
                    <a:pt x="10300" y="6680"/>
                    <a:pt x="10249" y="6973"/>
                  </a:cubicBezTo>
                  <a:cubicBezTo>
                    <a:pt x="10234" y="7061"/>
                    <a:pt x="10179" y="7179"/>
                    <a:pt x="10265" y="7251"/>
                  </a:cubicBezTo>
                  <a:cubicBezTo>
                    <a:pt x="10342" y="7318"/>
                    <a:pt x="10436" y="7349"/>
                    <a:pt x="10529" y="7287"/>
                  </a:cubicBezTo>
                  <a:cubicBezTo>
                    <a:pt x="10634" y="7215"/>
                    <a:pt x="10739" y="7153"/>
                    <a:pt x="10851" y="7117"/>
                  </a:cubicBezTo>
                  <a:cubicBezTo>
                    <a:pt x="10910" y="7097"/>
                    <a:pt x="10933" y="7045"/>
                    <a:pt x="10925" y="6968"/>
                  </a:cubicBezTo>
                  <a:cubicBezTo>
                    <a:pt x="10921" y="6891"/>
                    <a:pt x="10886" y="6845"/>
                    <a:pt x="10828" y="6840"/>
                  </a:cubicBezTo>
                  <a:cubicBezTo>
                    <a:pt x="10789" y="6834"/>
                    <a:pt x="10750" y="6840"/>
                    <a:pt x="10700" y="6840"/>
                  </a:cubicBezTo>
                  <a:cubicBezTo>
                    <a:pt x="10781" y="6762"/>
                    <a:pt x="10859" y="6752"/>
                    <a:pt x="10929" y="6819"/>
                  </a:cubicBezTo>
                  <a:cubicBezTo>
                    <a:pt x="10999" y="6886"/>
                    <a:pt x="11007" y="6984"/>
                    <a:pt x="10987" y="7092"/>
                  </a:cubicBezTo>
                  <a:cubicBezTo>
                    <a:pt x="10964" y="7210"/>
                    <a:pt x="10906" y="7266"/>
                    <a:pt x="10812" y="7261"/>
                  </a:cubicBezTo>
                  <a:cubicBezTo>
                    <a:pt x="10785" y="7261"/>
                    <a:pt x="10754" y="7277"/>
                    <a:pt x="10727" y="7282"/>
                  </a:cubicBezTo>
                  <a:cubicBezTo>
                    <a:pt x="10684" y="7287"/>
                    <a:pt x="10680" y="7313"/>
                    <a:pt x="10696" y="7359"/>
                  </a:cubicBezTo>
                  <a:cubicBezTo>
                    <a:pt x="10731" y="7472"/>
                    <a:pt x="10719" y="7590"/>
                    <a:pt x="10715" y="7709"/>
                  </a:cubicBezTo>
                  <a:cubicBezTo>
                    <a:pt x="10711" y="7770"/>
                    <a:pt x="10723" y="7796"/>
                    <a:pt x="10774" y="7796"/>
                  </a:cubicBezTo>
                  <a:cubicBezTo>
                    <a:pt x="10941" y="7796"/>
                    <a:pt x="11108" y="7812"/>
                    <a:pt x="11275" y="7745"/>
                  </a:cubicBezTo>
                  <a:cubicBezTo>
                    <a:pt x="11341" y="7719"/>
                    <a:pt x="11415" y="7668"/>
                    <a:pt x="11488" y="7709"/>
                  </a:cubicBezTo>
                  <a:cubicBezTo>
                    <a:pt x="11492" y="7760"/>
                    <a:pt x="11465" y="7776"/>
                    <a:pt x="11450" y="7796"/>
                  </a:cubicBezTo>
                  <a:cubicBezTo>
                    <a:pt x="11271" y="8007"/>
                    <a:pt x="11053" y="8012"/>
                    <a:pt x="10832" y="8007"/>
                  </a:cubicBezTo>
                  <a:cubicBezTo>
                    <a:pt x="10785" y="8007"/>
                    <a:pt x="10711" y="7997"/>
                    <a:pt x="10700" y="8058"/>
                  </a:cubicBezTo>
                  <a:cubicBezTo>
                    <a:pt x="10684" y="8141"/>
                    <a:pt x="10746" y="8192"/>
                    <a:pt x="10797" y="8238"/>
                  </a:cubicBezTo>
                  <a:cubicBezTo>
                    <a:pt x="10816" y="8254"/>
                    <a:pt x="10844" y="8259"/>
                    <a:pt x="10867" y="8269"/>
                  </a:cubicBezTo>
                  <a:cubicBezTo>
                    <a:pt x="10983" y="8341"/>
                    <a:pt x="11104" y="8264"/>
                    <a:pt x="11236" y="8269"/>
                  </a:cubicBezTo>
                  <a:cubicBezTo>
                    <a:pt x="11115" y="8444"/>
                    <a:pt x="10968" y="8403"/>
                    <a:pt x="10832" y="8403"/>
                  </a:cubicBezTo>
                  <a:cubicBezTo>
                    <a:pt x="10913" y="8717"/>
                    <a:pt x="11014" y="8994"/>
                    <a:pt x="11298" y="9056"/>
                  </a:cubicBezTo>
                  <a:close/>
                  <a:moveTo>
                    <a:pt x="9732" y="12574"/>
                  </a:moveTo>
                  <a:cubicBezTo>
                    <a:pt x="9760" y="12816"/>
                    <a:pt x="9783" y="13057"/>
                    <a:pt x="9822" y="13294"/>
                  </a:cubicBezTo>
                  <a:cubicBezTo>
                    <a:pt x="9899" y="13752"/>
                    <a:pt x="10039" y="14189"/>
                    <a:pt x="10152" y="14631"/>
                  </a:cubicBezTo>
                  <a:cubicBezTo>
                    <a:pt x="10160" y="14826"/>
                    <a:pt x="10222" y="15006"/>
                    <a:pt x="10261" y="15197"/>
                  </a:cubicBezTo>
                  <a:cubicBezTo>
                    <a:pt x="10513" y="16385"/>
                    <a:pt x="10746" y="17583"/>
                    <a:pt x="11022" y="18766"/>
                  </a:cubicBezTo>
                  <a:cubicBezTo>
                    <a:pt x="11034" y="18822"/>
                    <a:pt x="11042" y="18894"/>
                    <a:pt x="11088" y="18920"/>
                  </a:cubicBezTo>
                  <a:cubicBezTo>
                    <a:pt x="11228" y="19002"/>
                    <a:pt x="11360" y="19090"/>
                    <a:pt x="11516" y="19110"/>
                  </a:cubicBezTo>
                  <a:cubicBezTo>
                    <a:pt x="11624" y="19121"/>
                    <a:pt x="11655" y="19074"/>
                    <a:pt x="11648" y="18936"/>
                  </a:cubicBezTo>
                  <a:cubicBezTo>
                    <a:pt x="11574" y="17634"/>
                    <a:pt x="11578" y="16323"/>
                    <a:pt x="11551" y="15022"/>
                  </a:cubicBezTo>
                  <a:cubicBezTo>
                    <a:pt x="11531" y="14158"/>
                    <a:pt x="11519" y="13294"/>
                    <a:pt x="11508" y="12425"/>
                  </a:cubicBezTo>
                  <a:cubicBezTo>
                    <a:pt x="11508" y="12353"/>
                    <a:pt x="11508" y="12286"/>
                    <a:pt x="11461" y="12224"/>
                  </a:cubicBezTo>
                  <a:cubicBezTo>
                    <a:pt x="11360" y="12090"/>
                    <a:pt x="11271" y="11941"/>
                    <a:pt x="11154" y="11828"/>
                  </a:cubicBezTo>
                  <a:cubicBezTo>
                    <a:pt x="11143" y="11818"/>
                    <a:pt x="11135" y="11802"/>
                    <a:pt x="11123" y="11792"/>
                  </a:cubicBezTo>
                  <a:cubicBezTo>
                    <a:pt x="11115" y="11782"/>
                    <a:pt x="11104" y="11766"/>
                    <a:pt x="11096" y="11756"/>
                  </a:cubicBezTo>
                  <a:cubicBezTo>
                    <a:pt x="11096" y="11756"/>
                    <a:pt x="11096" y="11756"/>
                    <a:pt x="11096" y="11756"/>
                  </a:cubicBezTo>
                  <a:cubicBezTo>
                    <a:pt x="10812" y="11376"/>
                    <a:pt x="10494" y="11077"/>
                    <a:pt x="10094" y="10954"/>
                  </a:cubicBezTo>
                  <a:cubicBezTo>
                    <a:pt x="10059" y="10918"/>
                    <a:pt x="10016" y="10918"/>
                    <a:pt x="9973" y="10908"/>
                  </a:cubicBezTo>
                  <a:cubicBezTo>
                    <a:pt x="9736" y="10841"/>
                    <a:pt x="9736" y="10841"/>
                    <a:pt x="9701" y="11160"/>
                  </a:cubicBezTo>
                  <a:cubicBezTo>
                    <a:pt x="9694" y="11221"/>
                    <a:pt x="9686" y="11278"/>
                    <a:pt x="9682" y="11340"/>
                  </a:cubicBezTo>
                  <a:cubicBezTo>
                    <a:pt x="9666" y="11751"/>
                    <a:pt x="9670" y="12162"/>
                    <a:pt x="9732" y="12574"/>
                  </a:cubicBezTo>
                  <a:close/>
                  <a:moveTo>
                    <a:pt x="9841" y="17161"/>
                  </a:moveTo>
                  <a:cubicBezTo>
                    <a:pt x="9814" y="17110"/>
                    <a:pt x="9775" y="17094"/>
                    <a:pt x="9732" y="17094"/>
                  </a:cubicBezTo>
                  <a:cubicBezTo>
                    <a:pt x="9534" y="17084"/>
                    <a:pt x="9336" y="17074"/>
                    <a:pt x="9138" y="17069"/>
                  </a:cubicBezTo>
                  <a:cubicBezTo>
                    <a:pt x="9029" y="17069"/>
                    <a:pt x="9033" y="17208"/>
                    <a:pt x="8998" y="17295"/>
                  </a:cubicBezTo>
                  <a:cubicBezTo>
                    <a:pt x="8983" y="17331"/>
                    <a:pt x="8940" y="17382"/>
                    <a:pt x="8990" y="17424"/>
                  </a:cubicBezTo>
                  <a:cubicBezTo>
                    <a:pt x="9068" y="17490"/>
                    <a:pt x="9138" y="17578"/>
                    <a:pt x="9235" y="17583"/>
                  </a:cubicBezTo>
                  <a:cubicBezTo>
                    <a:pt x="9511" y="17588"/>
                    <a:pt x="9791" y="17583"/>
                    <a:pt x="10098" y="17629"/>
                  </a:cubicBezTo>
                  <a:cubicBezTo>
                    <a:pt x="9997" y="17449"/>
                    <a:pt x="9919" y="17305"/>
                    <a:pt x="9841" y="17161"/>
                  </a:cubicBezTo>
                  <a:close/>
                  <a:moveTo>
                    <a:pt x="8874" y="16930"/>
                  </a:moveTo>
                  <a:cubicBezTo>
                    <a:pt x="9099" y="16981"/>
                    <a:pt x="9317" y="16914"/>
                    <a:pt x="9538" y="16909"/>
                  </a:cubicBezTo>
                  <a:cubicBezTo>
                    <a:pt x="9596" y="16914"/>
                    <a:pt x="9674" y="16950"/>
                    <a:pt x="9705" y="16894"/>
                  </a:cubicBezTo>
                  <a:cubicBezTo>
                    <a:pt x="9740" y="16827"/>
                    <a:pt x="9674" y="16755"/>
                    <a:pt x="9643" y="16688"/>
                  </a:cubicBezTo>
                  <a:cubicBezTo>
                    <a:pt x="9406" y="16122"/>
                    <a:pt x="9262" y="15541"/>
                    <a:pt x="9363" y="14878"/>
                  </a:cubicBezTo>
                  <a:cubicBezTo>
                    <a:pt x="9391" y="14708"/>
                    <a:pt x="9418" y="14528"/>
                    <a:pt x="9367" y="14338"/>
                  </a:cubicBezTo>
                  <a:cubicBezTo>
                    <a:pt x="9297" y="14662"/>
                    <a:pt x="9224" y="14981"/>
                    <a:pt x="9154" y="15305"/>
                  </a:cubicBezTo>
                  <a:cubicBezTo>
                    <a:pt x="9056" y="15804"/>
                    <a:pt x="8940" y="16292"/>
                    <a:pt x="8808" y="16770"/>
                  </a:cubicBezTo>
                  <a:cubicBezTo>
                    <a:pt x="8777" y="16889"/>
                    <a:pt x="8792" y="16914"/>
                    <a:pt x="8874" y="16930"/>
                  </a:cubicBezTo>
                  <a:close/>
                  <a:moveTo>
                    <a:pt x="7374" y="19728"/>
                  </a:moveTo>
                  <a:cubicBezTo>
                    <a:pt x="7304" y="19676"/>
                    <a:pt x="7316" y="19573"/>
                    <a:pt x="7300" y="19496"/>
                  </a:cubicBezTo>
                  <a:cubicBezTo>
                    <a:pt x="7203" y="19085"/>
                    <a:pt x="7052" y="18714"/>
                    <a:pt x="6827" y="18401"/>
                  </a:cubicBezTo>
                  <a:cubicBezTo>
                    <a:pt x="6939" y="18894"/>
                    <a:pt x="7056" y="19383"/>
                    <a:pt x="7176" y="19872"/>
                  </a:cubicBezTo>
                  <a:cubicBezTo>
                    <a:pt x="7238" y="20118"/>
                    <a:pt x="7246" y="20124"/>
                    <a:pt x="7452" y="20077"/>
                  </a:cubicBezTo>
                  <a:cubicBezTo>
                    <a:pt x="7363" y="19969"/>
                    <a:pt x="7378" y="19856"/>
                    <a:pt x="7429" y="19733"/>
                  </a:cubicBezTo>
                  <a:cubicBezTo>
                    <a:pt x="7518" y="19661"/>
                    <a:pt x="7611" y="19599"/>
                    <a:pt x="7689" y="19501"/>
                  </a:cubicBezTo>
                  <a:cubicBezTo>
                    <a:pt x="7973" y="19152"/>
                    <a:pt x="8260" y="18807"/>
                    <a:pt x="8544" y="18457"/>
                  </a:cubicBezTo>
                  <a:cubicBezTo>
                    <a:pt x="8645" y="18334"/>
                    <a:pt x="8753" y="18262"/>
                    <a:pt x="8893" y="18272"/>
                  </a:cubicBezTo>
                  <a:cubicBezTo>
                    <a:pt x="9018" y="18282"/>
                    <a:pt x="9146" y="18272"/>
                    <a:pt x="9270" y="18267"/>
                  </a:cubicBezTo>
                  <a:cubicBezTo>
                    <a:pt x="9406" y="18267"/>
                    <a:pt x="9538" y="18267"/>
                    <a:pt x="9674" y="18267"/>
                  </a:cubicBezTo>
                  <a:cubicBezTo>
                    <a:pt x="9674" y="18252"/>
                    <a:pt x="9674" y="18231"/>
                    <a:pt x="9674" y="18216"/>
                  </a:cubicBezTo>
                  <a:cubicBezTo>
                    <a:pt x="9616" y="18154"/>
                    <a:pt x="9558" y="18097"/>
                    <a:pt x="9499" y="18036"/>
                  </a:cubicBezTo>
                  <a:cubicBezTo>
                    <a:pt x="9332" y="17845"/>
                    <a:pt x="9154" y="17670"/>
                    <a:pt x="8955" y="17542"/>
                  </a:cubicBezTo>
                  <a:cubicBezTo>
                    <a:pt x="8870" y="17485"/>
                    <a:pt x="8781" y="17470"/>
                    <a:pt x="8695" y="17547"/>
                  </a:cubicBezTo>
                  <a:cubicBezTo>
                    <a:pt x="8656" y="17552"/>
                    <a:pt x="8621" y="17573"/>
                    <a:pt x="8590" y="17609"/>
                  </a:cubicBezTo>
                  <a:cubicBezTo>
                    <a:pt x="8555" y="17557"/>
                    <a:pt x="8513" y="17573"/>
                    <a:pt x="8474" y="17583"/>
                  </a:cubicBezTo>
                  <a:cubicBezTo>
                    <a:pt x="8245" y="17660"/>
                    <a:pt x="8011" y="17727"/>
                    <a:pt x="7786" y="17814"/>
                  </a:cubicBezTo>
                  <a:cubicBezTo>
                    <a:pt x="7522" y="17917"/>
                    <a:pt x="7262" y="18036"/>
                    <a:pt x="6986" y="18154"/>
                  </a:cubicBezTo>
                  <a:cubicBezTo>
                    <a:pt x="7048" y="18210"/>
                    <a:pt x="7091" y="18246"/>
                    <a:pt x="7130" y="18288"/>
                  </a:cubicBezTo>
                  <a:cubicBezTo>
                    <a:pt x="7401" y="18689"/>
                    <a:pt x="7537" y="19131"/>
                    <a:pt x="7378" y="19666"/>
                  </a:cubicBezTo>
                  <a:cubicBezTo>
                    <a:pt x="7374" y="19692"/>
                    <a:pt x="7374" y="19712"/>
                    <a:pt x="7374" y="19728"/>
                  </a:cubicBezTo>
                  <a:close/>
                  <a:moveTo>
                    <a:pt x="4305" y="20864"/>
                  </a:moveTo>
                  <a:cubicBezTo>
                    <a:pt x="4523" y="20844"/>
                    <a:pt x="4744" y="20864"/>
                    <a:pt x="4958" y="20808"/>
                  </a:cubicBezTo>
                  <a:cubicBezTo>
                    <a:pt x="4981" y="20808"/>
                    <a:pt x="5008" y="20813"/>
                    <a:pt x="5032" y="20813"/>
                  </a:cubicBezTo>
                  <a:cubicBezTo>
                    <a:pt x="5634" y="20766"/>
                    <a:pt x="6240" y="20725"/>
                    <a:pt x="6842" y="20679"/>
                  </a:cubicBezTo>
                  <a:cubicBezTo>
                    <a:pt x="6959" y="20669"/>
                    <a:pt x="7013" y="20576"/>
                    <a:pt x="7032" y="20432"/>
                  </a:cubicBezTo>
                  <a:cubicBezTo>
                    <a:pt x="7060" y="20309"/>
                    <a:pt x="7032" y="20190"/>
                    <a:pt x="7001" y="20077"/>
                  </a:cubicBezTo>
                  <a:cubicBezTo>
                    <a:pt x="6477" y="17922"/>
                    <a:pt x="5956" y="15768"/>
                    <a:pt x="5432" y="13613"/>
                  </a:cubicBezTo>
                  <a:cubicBezTo>
                    <a:pt x="5346" y="13258"/>
                    <a:pt x="5273" y="12893"/>
                    <a:pt x="5156" y="12548"/>
                  </a:cubicBezTo>
                  <a:cubicBezTo>
                    <a:pt x="5140" y="12507"/>
                    <a:pt x="5125" y="12461"/>
                    <a:pt x="5090" y="12445"/>
                  </a:cubicBezTo>
                  <a:cubicBezTo>
                    <a:pt x="4942" y="12276"/>
                    <a:pt x="4768" y="12306"/>
                    <a:pt x="4600" y="12342"/>
                  </a:cubicBezTo>
                  <a:cubicBezTo>
                    <a:pt x="3524" y="12574"/>
                    <a:pt x="2444" y="12805"/>
                    <a:pt x="1368" y="13047"/>
                  </a:cubicBezTo>
                  <a:cubicBezTo>
                    <a:pt x="1275" y="13068"/>
                    <a:pt x="1155" y="13042"/>
                    <a:pt x="1096" y="13196"/>
                  </a:cubicBezTo>
                  <a:cubicBezTo>
                    <a:pt x="1054" y="13273"/>
                    <a:pt x="1065" y="13356"/>
                    <a:pt x="1081" y="13438"/>
                  </a:cubicBezTo>
                  <a:cubicBezTo>
                    <a:pt x="1158" y="13844"/>
                    <a:pt x="1271" y="14235"/>
                    <a:pt x="1372" y="14631"/>
                  </a:cubicBezTo>
                  <a:cubicBezTo>
                    <a:pt x="1850" y="16544"/>
                    <a:pt x="2332" y="18457"/>
                    <a:pt x="2813" y="20365"/>
                  </a:cubicBezTo>
                  <a:cubicBezTo>
                    <a:pt x="2845" y="20494"/>
                    <a:pt x="2868" y="20638"/>
                    <a:pt x="2957" y="20730"/>
                  </a:cubicBezTo>
                  <a:cubicBezTo>
                    <a:pt x="3054" y="20916"/>
                    <a:pt x="3198" y="20936"/>
                    <a:pt x="3346" y="20931"/>
                  </a:cubicBezTo>
                  <a:cubicBezTo>
                    <a:pt x="3668" y="20905"/>
                    <a:pt x="3987" y="20895"/>
                    <a:pt x="4305" y="20864"/>
                  </a:cubicBezTo>
                  <a:close/>
                  <a:moveTo>
                    <a:pt x="9853" y="21111"/>
                  </a:moveTo>
                  <a:cubicBezTo>
                    <a:pt x="9736" y="21101"/>
                    <a:pt x="9620" y="21090"/>
                    <a:pt x="9507" y="21080"/>
                  </a:cubicBezTo>
                  <a:cubicBezTo>
                    <a:pt x="9293" y="21065"/>
                    <a:pt x="9076" y="21049"/>
                    <a:pt x="8862" y="21034"/>
                  </a:cubicBezTo>
                  <a:cubicBezTo>
                    <a:pt x="8198" y="20977"/>
                    <a:pt x="7534" y="20910"/>
                    <a:pt x="6865" y="20936"/>
                  </a:cubicBezTo>
                  <a:cubicBezTo>
                    <a:pt x="6209" y="20962"/>
                    <a:pt x="5552" y="21008"/>
                    <a:pt x="4892" y="21049"/>
                  </a:cubicBezTo>
                  <a:cubicBezTo>
                    <a:pt x="4818" y="21044"/>
                    <a:pt x="4744" y="21044"/>
                    <a:pt x="4678" y="21106"/>
                  </a:cubicBezTo>
                  <a:cubicBezTo>
                    <a:pt x="4966" y="21106"/>
                    <a:pt x="5253" y="21106"/>
                    <a:pt x="5541" y="21106"/>
                  </a:cubicBezTo>
                  <a:cubicBezTo>
                    <a:pt x="6652" y="21111"/>
                    <a:pt x="7763" y="21116"/>
                    <a:pt x="8874" y="21116"/>
                  </a:cubicBezTo>
                  <a:cubicBezTo>
                    <a:pt x="9200" y="21142"/>
                    <a:pt x="9527" y="21142"/>
                    <a:pt x="9853" y="21111"/>
                  </a:cubicBezTo>
                  <a:close/>
                  <a:moveTo>
                    <a:pt x="11216" y="20982"/>
                  </a:moveTo>
                  <a:cubicBezTo>
                    <a:pt x="11135" y="20900"/>
                    <a:pt x="11077" y="20885"/>
                    <a:pt x="11014" y="20864"/>
                  </a:cubicBezTo>
                  <a:cubicBezTo>
                    <a:pt x="10676" y="20756"/>
                    <a:pt x="10331" y="20761"/>
                    <a:pt x="9989" y="20705"/>
                  </a:cubicBezTo>
                  <a:cubicBezTo>
                    <a:pt x="9600" y="20643"/>
                    <a:pt x="9208" y="20617"/>
                    <a:pt x="8816" y="20576"/>
                  </a:cubicBezTo>
                  <a:cubicBezTo>
                    <a:pt x="8617" y="20556"/>
                    <a:pt x="8447" y="20376"/>
                    <a:pt x="8233" y="20412"/>
                  </a:cubicBezTo>
                  <a:cubicBezTo>
                    <a:pt x="8140" y="20427"/>
                    <a:pt x="8039" y="20381"/>
                    <a:pt x="7945" y="20381"/>
                  </a:cubicBezTo>
                  <a:cubicBezTo>
                    <a:pt x="7739" y="20370"/>
                    <a:pt x="7534" y="20365"/>
                    <a:pt x="7324" y="20360"/>
                  </a:cubicBezTo>
                  <a:cubicBezTo>
                    <a:pt x="7192" y="20355"/>
                    <a:pt x="7223" y="20520"/>
                    <a:pt x="7203" y="20607"/>
                  </a:cubicBezTo>
                  <a:cubicBezTo>
                    <a:pt x="7188" y="20684"/>
                    <a:pt x="7269" y="20658"/>
                    <a:pt x="7308" y="20658"/>
                  </a:cubicBezTo>
                  <a:cubicBezTo>
                    <a:pt x="7611" y="20674"/>
                    <a:pt x="7914" y="20679"/>
                    <a:pt x="8217" y="20725"/>
                  </a:cubicBezTo>
                  <a:cubicBezTo>
                    <a:pt x="8610" y="20761"/>
                    <a:pt x="9002" y="20792"/>
                    <a:pt x="9398" y="20828"/>
                  </a:cubicBezTo>
                  <a:cubicBezTo>
                    <a:pt x="9690" y="20854"/>
                    <a:pt x="9981" y="20874"/>
                    <a:pt x="10272" y="20895"/>
                  </a:cubicBezTo>
                  <a:cubicBezTo>
                    <a:pt x="10575" y="20962"/>
                    <a:pt x="10882" y="20936"/>
                    <a:pt x="11216" y="20982"/>
                  </a:cubicBezTo>
                  <a:close/>
                  <a:moveTo>
                    <a:pt x="12335" y="19512"/>
                  </a:moveTo>
                  <a:cubicBezTo>
                    <a:pt x="12312" y="19429"/>
                    <a:pt x="12273" y="19393"/>
                    <a:pt x="12203" y="19393"/>
                  </a:cubicBezTo>
                  <a:cubicBezTo>
                    <a:pt x="11990" y="19398"/>
                    <a:pt x="11772" y="19393"/>
                    <a:pt x="11558" y="19398"/>
                  </a:cubicBezTo>
                  <a:cubicBezTo>
                    <a:pt x="11485" y="19398"/>
                    <a:pt x="11415" y="19388"/>
                    <a:pt x="11349" y="19347"/>
                  </a:cubicBezTo>
                  <a:cubicBezTo>
                    <a:pt x="11014" y="19116"/>
                    <a:pt x="10638" y="19008"/>
                    <a:pt x="10304" y="18786"/>
                  </a:cubicBezTo>
                  <a:cubicBezTo>
                    <a:pt x="9938" y="18545"/>
                    <a:pt x="9561" y="18488"/>
                    <a:pt x="9169" y="18514"/>
                  </a:cubicBezTo>
                  <a:cubicBezTo>
                    <a:pt x="9091" y="18519"/>
                    <a:pt x="9018" y="18529"/>
                    <a:pt x="8940" y="18524"/>
                  </a:cubicBezTo>
                  <a:cubicBezTo>
                    <a:pt x="8843" y="18519"/>
                    <a:pt x="8769" y="18565"/>
                    <a:pt x="8699" y="18642"/>
                  </a:cubicBezTo>
                  <a:cubicBezTo>
                    <a:pt x="8318" y="19095"/>
                    <a:pt x="7973" y="19599"/>
                    <a:pt x="7530" y="19954"/>
                  </a:cubicBezTo>
                  <a:cubicBezTo>
                    <a:pt x="7553" y="19969"/>
                    <a:pt x="7565" y="19985"/>
                    <a:pt x="7580" y="19995"/>
                  </a:cubicBezTo>
                  <a:cubicBezTo>
                    <a:pt x="7743" y="20077"/>
                    <a:pt x="7794" y="20057"/>
                    <a:pt x="7879" y="19866"/>
                  </a:cubicBezTo>
                  <a:cubicBezTo>
                    <a:pt x="7899" y="19825"/>
                    <a:pt x="7926" y="19805"/>
                    <a:pt x="7957" y="19784"/>
                  </a:cubicBezTo>
                  <a:cubicBezTo>
                    <a:pt x="8132" y="19656"/>
                    <a:pt x="8291" y="19506"/>
                    <a:pt x="8447" y="19342"/>
                  </a:cubicBezTo>
                  <a:cubicBezTo>
                    <a:pt x="9033" y="18740"/>
                    <a:pt x="9033" y="18740"/>
                    <a:pt x="9573" y="18766"/>
                  </a:cubicBezTo>
                  <a:cubicBezTo>
                    <a:pt x="9589" y="18766"/>
                    <a:pt x="9608" y="18766"/>
                    <a:pt x="9624" y="18771"/>
                  </a:cubicBezTo>
                  <a:cubicBezTo>
                    <a:pt x="9748" y="18807"/>
                    <a:pt x="9884" y="18786"/>
                    <a:pt x="10008" y="18889"/>
                  </a:cubicBezTo>
                  <a:cubicBezTo>
                    <a:pt x="9791" y="18920"/>
                    <a:pt x="9585" y="18946"/>
                    <a:pt x="9379" y="18972"/>
                  </a:cubicBezTo>
                  <a:cubicBezTo>
                    <a:pt x="9208" y="18992"/>
                    <a:pt x="9056" y="19059"/>
                    <a:pt x="8920" y="19208"/>
                  </a:cubicBezTo>
                  <a:cubicBezTo>
                    <a:pt x="8664" y="19486"/>
                    <a:pt x="8400" y="19758"/>
                    <a:pt x="8105" y="19964"/>
                  </a:cubicBezTo>
                  <a:cubicBezTo>
                    <a:pt x="8074" y="19985"/>
                    <a:pt x="8023" y="19995"/>
                    <a:pt x="8027" y="20052"/>
                  </a:cubicBezTo>
                  <a:cubicBezTo>
                    <a:pt x="8031" y="20098"/>
                    <a:pt x="8074" y="20129"/>
                    <a:pt x="8109" y="20144"/>
                  </a:cubicBezTo>
                  <a:cubicBezTo>
                    <a:pt x="8248" y="20216"/>
                    <a:pt x="8373" y="20149"/>
                    <a:pt x="8493" y="20062"/>
                  </a:cubicBezTo>
                  <a:cubicBezTo>
                    <a:pt x="8715" y="19902"/>
                    <a:pt x="8932" y="19733"/>
                    <a:pt x="9138" y="19542"/>
                  </a:cubicBezTo>
                  <a:cubicBezTo>
                    <a:pt x="9212" y="19476"/>
                    <a:pt x="9290" y="19424"/>
                    <a:pt x="9383" y="19424"/>
                  </a:cubicBezTo>
                  <a:cubicBezTo>
                    <a:pt x="9608" y="19429"/>
                    <a:pt x="9830" y="19424"/>
                    <a:pt x="10055" y="19440"/>
                  </a:cubicBezTo>
                  <a:cubicBezTo>
                    <a:pt x="10168" y="19445"/>
                    <a:pt x="10276" y="19481"/>
                    <a:pt x="10373" y="19589"/>
                  </a:cubicBezTo>
                  <a:cubicBezTo>
                    <a:pt x="9748" y="19558"/>
                    <a:pt x="9177" y="19764"/>
                    <a:pt x="8687" y="20288"/>
                  </a:cubicBezTo>
                  <a:cubicBezTo>
                    <a:pt x="8843" y="20386"/>
                    <a:pt x="8998" y="20365"/>
                    <a:pt x="9161" y="20268"/>
                  </a:cubicBezTo>
                  <a:cubicBezTo>
                    <a:pt x="9585" y="20010"/>
                    <a:pt x="10008" y="19949"/>
                    <a:pt x="10447" y="20232"/>
                  </a:cubicBezTo>
                  <a:cubicBezTo>
                    <a:pt x="10719" y="20406"/>
                    <a:pt x="10999" y="20561"/>
                    <a:pt x="11314" y="20607"/>
                  </a:cubicBezTo>
                  <a:cubicBezTo>
                    <a:pt x="11652" y="20653"/>
                    <a:pt x="11986" y="20751"/>
                    <a:pt x="12324" y="20787"/>
                  </a:cubicBezTo>
                  <a:cubicBezTo>
                    <a:pt x="12386" y="20792"/>
                    <a:pt x="12405" y="20766"/>
                    <a:pt x="12417" y="20700"/>
                  </a:cubicBezTo>
                  <a:cubicBezTo>
                    <a:pt x="12464" y="20288"/>
                    <a:pt x="12452" y="19892"/>
                    <a:pt x="12335" y="19512"/>
                  </a:cubicBezTo>
                  <a:close/>
                  <a:moveTo>
                    <a:pt x="19006" y="19861"/>
                  </a:moveTo>
                  <a:cubicBezTo>
                    <a:pt x="19013" y="19681"/>
                    <a:pt x="18971" y="19594"/>
                    <a:pt x="18854" y="19537"/>
                  </a:cubicBezTo>
                  <a:cubicBezTo>
                    <a:pt x="18718" y="19465"/>
                    <a:pt x="18586" y="19378"/>
                    <a:pt x="18450" y="19301"/>
                  </a:cubicBezTo>
                  <a:cubicBezTo>
                    <a:pt x="18147" y="19126"/>
                    <a:pt x="17840" y="18966"/>
                    <a:pt x="17526" y="18822"/>
                  </a:cubicBezTo>
                  <a:cubicBezTo>
                    <a:pt x="17386" y="18678"/>
                    <a:pt x="17211" y="18632"/>
                    <a:pt x="17052" y="18540"/>
                  </a:cubicBezTo>
                  <a:cubicBezTo>
                    <a:pt x="16838" y="18416"/>
                    <a:pt x="16834" y="18426"/>
                    <a:pt x="16717" y="18704"/>
                  </a:cubicBezTo>
                  <a:cubicBezTo>
                    <a:pt x="16570" y="18920"/>
                    <a:pt x="16407" y="19064"/>
                    <a:pt x="16170" y="19049"/>
                  </a:cubicBezTo>
                  <a:cubicBezTo>
                    <a:pt x="15579" y="18997"/>
                    <a:pt x="14993" y="18966"/>
                    <a:pt x="14402" y="18930"/>
                  </a:cubicBezTo>
                  <a:cubicBezTo>
                    <a:pt x="14196" y="18920"/>
                    <a:pt x="13990" y="18905"/>
                    <a:pt x="13784" y="18925"/>
                  </a:cubicBezTo>
                  <a:cubicBezTo>
                    <a:pt x="13326" y="18884"/>
                    <a:pt x="12864" y="18894"/>
                    <a:pt x="12401" y="18889"/>
                  </a:cubicBezTo>
                  <a:cubicBezTo>
                    <a:pt x="12118" y="18812"/>
                    <a:pt x="11958" y="18869"/>
                    <a:pt x="11889" y="19085"/>
                  </a:cubicBezTo>
                  <a:cubicBezTo>
                    <a:pt x="11997" y="19085"/>
                    <a:pt x="12106" y="19085"/>
                    <a:pt x="12211" y="19085"/>
                  </a:cubicBezTo>
                  <a:cubicBezTo>
                    <a:pt x="12261" y="19090"/>
                    <a:pt x="12316" y="19090"/>
                    <a:pt x="12366" y="19095"/>
                  </a:cubicBezTo>
                  <a:cubicBezTo>
                    <a:pt x="12483" y="19218"/>
                    <a:pt x="12541" y="19388"/>
                    <a:pt x="12584" y="19573"/>
                  </a:cubicBezTo>
                  <a:cubicBezTo>
                    <a:pt x="12689" y="20046"/>
                    <a:pt x="12689" y="20520"/>
                    <a:pt x="12561" y="20988"/>
                  </a:cubicBezTo>
                  <a:cubicBezTo>
                    <a:pt x="12526" y="21116"/>
                    <a:pt x="12541" y="21142"/>
                    <a:pt x="12642" y="21142"/>
                  </a:cubicBezTo>
                  <a:cubicBezTo>
                    <a:pt x="14472" y="21147"/>
                    <a:pt x="16302" y="21157"/>
                    <a:pt x="18135" y="21173"/>
                  </a:cubicBezTo>
                  <a:cubicBezTo>
                    <a:pt x="18326" y="21173"/>
                    <a:pt x="18481" y="21096"/>
                    <a:pt x="18625" y="20946"/>
                  </a:cubicBezTo>
                  <a:cubicBezTo>
                    <a:pt x="18897" y="20674"/>
                    <a:pt x="18986" y="20298"/>
                    <a:pt x="19006" y="19861"/>
                  </a:cubicBezTo>
                  <a:close/>
                  <a:moveTo>
                    <a:pt x="19390" y="20216"/>
                  </a:moveTo>
                  <a:cubicBezTo>
                    <a:pt x="19569" y="19342"/>
                    <a:pt x="19798" y="18483"/>
                    <a:pt x="19922" y="17588"/>
                  </a:cubicBezTo>
                  <a:cubicBezTo>
                    <a:pt x="20004" y="16976"/>
                    <a:pt x="19779" y="16390"/>
                    <a:pt x="19359" y="16122"/>
                  </a:cubicBezTo>
                  <a:cubicBezTo>
                    <a:pt x="19239" y="16045"/>
                    <a:pt x="19227" y="16050"/>
                    <a:pt x="19235" y="16225"/>
                  </a:cubicBezTo>
                  <a:cubicBezTo>
                    <a:pt x="19270" y="17465"/>
                    <a:pt x="19297" y="18699"/>
                    <a:pt x="19231" y="19938"/>
                  </a:cubicBezTo>
                  <a:cubicBezTo>
                    <a:pt x="19204" y="20412"/>
                    <a:pt x="19091" y="20828"/>
                    <a:pt x="18796" y="21173"/>
                  </a:cubicBezTo>
                  <a:cubicBezTo>
                    <a:pt x="18909" y="21173"/>
                    <a:pt x="18998" y="21162"/>
                    <a:pt x="19083" y="21178"/>
                  </a:cubicBezTo>
                  <a:cubicBezTo>
                    <a:pt x="19157" y="21188"/>
                    <a:pt x="19184" y="21147"/>
                    <a:pt x="19204" y="21060"/>
                  </a:cubicBezTo>
                  <a:cubicBezTo>
                    <a:pt x="19262" y="20777"/>
                    <a:pt x="19332" y="20499"/>
                    <a:pt x="19390" y="20216"/>
                  </a:cubicBezTo>
                  <a:close/>
                  <a:moveTo>
                    <a:pt x="17654" y="13083"/>
                  </a:moveTo>
                  <a:cubicBezTo>
                    <a:pt x="17401" y="13253"/>
                    <a:pt x="17149" y="13422"/>
                    <a:pt x="16989" y="13762"/>
                  </a:cubicBezTo>
                  <a:cubicBezTo>
                    <a:pt x="17533" y="13222"/>
                    <a:pt x="18182" y="12949"/>
                    <a:pt x="18776" y="12533"/>
                  </a:cubicBezTo>
                  <a:cubicBezTo>
                    <a:pt x="18400" y="12713"/>
                    <a:pt x="18011" y="12841"/>
                    <a:pt x="17654" y="13083"/>
                  </a:cubicBezTo>
                  <a:close/>
                  <a:moveTo>
                    <a:pt x="11733" y="5153"/>
                  </a:moveTo>
                  <a:cubicBezTo>
                    <a:pt x="11741" y="5153"/>
                    <a:pt x="11753" y="5142"/>
                    <a:pt x="11772" y="5132"/>
                  </a:cubicBezTo>
                  <a:cubicBezTo>
                    <a:pt x="11624" y="5060"/>
                    <a:pt x="11488" y="4947"/>
                    <a:pt x="11345" y="4968"/>
                  </a:cubicBezTo>
                  <a:cubicBezTo>
                    <a:pt x="11065" y="5004"/>
                    <a:pt x="10801" y="5137"/>
                    <a:pt x="10537" y="5256"/>
                  </a:cubicBezTo>
                  <a:cubicBezTo>
                    <a:pt x="10490" y="5276"/>
                    <a:pt x="10463" y="5333"/>
                    <a:pt x="10467" y="5400"/>
                  </a:cubicBezTo>
                  <a:cubicBezTo>
                    <a:pt x="10471" y="5456"/>
                    <a:pt x="10498" y="5508"/>
                    <a:pt x="10533" y="5533"/>
                  </a:cubicBezTo>
                  <a:cubicBezTo>
                    <a:pt x="10583" y="5574"/>
                    <a:pt x="10630" y="5523"/>
                    <a:pt x="10676" y="5508"/>
                  </a:cubicBezTo>
                  <a:cubicBezTo>
                    <a:pt x="11026" y="5384"/>
                    <a:pt x="11352" y="5117"/>
                    <a:pt x="11733" y="5153"/>
                  </a:cubicBezTo>
                  <a:close/>
                  <a:moveTo>
                    <a:pt x="13198" y="4834"/>
                  </a:moveTo>
                  <a:cubicBezTo>
                    <a:pt x="13392" y="5019"/>
                    <a:pt x="13419" y="5256"/>
                    <a:pt x="13283" y="5523"/>
                  </a:cubicBezTo>
                  <a:cubicBezTo>
                    <a:pt x="13268" y="5554"/>
                    <a:pt x="13233" y="5580"/>
                    <a:pt x="13260" y="5641"/>
                  </a:cubicBezTo>
                  <a:cubicBezTo>
                    <a:pt x="13380" y="5508"/>
                    <a:pt x="13454" y="5348"/>
                    <a:pt x="13462" y="5142"/>
                  </a:cubicBezTo>
                  <a:cubicBezTo>
                    <a:pt x="13470" y="4937"/>
                    <a:pt x="13384" y="4803"/>
                    <a:pt x="13237" y="4726"/>
                  </a:cubicBezTo>
                  <a:cubicBezTo>
                    <a:pt x="13283" y="4659"/>
                    <a:pt x="13318" y="4602"/>
                    <a:pt x="13353" y="4551"/>
                  </a:cubicBezTo>
                  <a:cubicBezTo>
                    <a:pt x="13454" y="4407"/>
                    <a:pt x="13462" y="4407"/>
                    <a:pt x="13540" y="4566"/>
                  </a:cubicBezTo>
                  <a:cubicBezTo>
                    <a:pt x="13555" y="4386"/>
                    <a:pt x="13474" y="4289"/>
                    <a:pt x="13349" y="4356"/>
                  </a:cubicBezTo>
                  <a:cubicBezTo>
                    <a:pt x="13272" y="4397"/>
                    <a:pt x="13209" y="4474"/>
                    <a:pt x="13159" y="4566"/>
                  </a:cubicBezTo>
                  <a:cubicBezTo>
                    <a:pt x="13108" y="4674"/>
                    <a:pt x="13112" y="4757"/>
                    <a:pt x="13198" y="4834"/>
                  </a:cubicBezTo>
                  <a:close/>
                  <a:moveTo>
                    <a:pt x="11566" y="5636"/>
                  </a:moveTo>
                  <a:cubicBezTo>
                    <a:pt x="11516" y="5610"/>
                    <a:pt x="11488" y="5626"/>
                    <a:pt x="11461" y="5636"/>
                  </a:cubicBezTo>
                  <a:cubicBezTo>
                    <a:pt x="11306" y="5682"/>
                    <a:pt x="11147" y="5734"/>
                    <a:pt x="10987" y="5708"/>
                  </a:cubicBezTo>
                  <a:cubicBezTo>
                    <a:pt x="10871" y="5693"/>
                    <a:pt x="10820" y="5760"/>
                    <a:pt x="10758" y="5873"/>
                  </a:cubicBezTo>
                  <a:cubicBezTo>
                    <a:pt x="11065" y="5950"/>
                    <a:pt x="11337" y="5965"/>
                    <a:pt x="11566" y="5636"/>
                  </a:cubicBezTo>
                  <a:close/>
                  <a:moveTo>
                    <a:pt x="13244" y="5626"/>
                  </a:moveTo>
                  <a:cubicBezTo>
                    <a:pt x="13198" y="5693"/>
                    <a:pt x="13171" y="5734"/>
                    <a:pt x="13136" y="5780"/>
                  </a:cubicBezTo>
                  <a:cubicBezTo>
                    <a:pt x="13186" y="5754"/>
                    <a:pt x="13221" y="5724"/>
                    <a:pt x="13244" y="5626"/>
                  </a:cubicBezTo>
                  <a:close/>
                  <a:moveTo>
                    <a:pt x="10890" y="13381"/>
                  </a:moveTo>
                  <a:cubicBezTo>
                    <a:pt x="10933" y="14096"/>
                    <a:pt x="10968" y="14811"/>
                    <a:pt x="11022" y="15526"/>
                  </a:cubicBezTo>
                  <a:cubicBezTo>
                    <a:pt x="11065" y="16112"/>
                    <a:pt x="11131" y="16693"/>
                    <a:pt x="11185" y="17274"/>
                  </a:cubicBezTo>
                  <a:cubicBezTo>
                    <a:pt x="11189" y="17331"/>
                    <a:pt x="11193" y="17382"/>
                    <a:pt x="11197" y="17439"/>
                  </a:cubicBezTo>
                  <a:cubicBezTo>
                    <a:pt x="11294" y="17686"/>
                    <a:pt x="11282" y="17974"/>
                    <a:pt x="11364" y="18262"/>
                  </a:cubicBezTo>
                  <a:cubicBezTo>
                    <a:pt x="11387" y="18097"/>
                    <a:pt x="11372" y="17974"/>
                    <a:pt x="11364" y="17850"/>
                  </a:cubicBezTo>
                  <a:cubicBezTo>
                    <a:pt x="11298" y="17017"/>
                    <a:pt x="11232" y="16184"/>
                    <a:pt x="11174" y="15351"/>
                  </a:cubicBezTo>
                  <a:cubicBezTo>
                    <a:pt x="11127" y="14693"/>
                    <a:pt x="11088" y="14040"/>
                    <a:pt x="11057" y="13381"/>
                  </a:cubicBezTo>
                  <a:cubicBezTo>
                    <a:pt x="11026" y="12821"/>
                    <a:pt x="10983" y="12260"/>
                    <a:pt x="10991" y="11694"/>
                  </a:cubicBezTo>
                  <a:cubicBezTo>
                    <a:pt x="10968" y="11658"/>
                    <a:pt x="10945" y="11617"/>
                    <a:pt x="10902" y="11612"/>
                  </a:cubicBezTo>
                  <a:cubicBezTo>
                    <a:pt x="10871" y="11746"/>
                    <a:pt x="10871" y="11885"/>
                    <a:pt x="10871" y="12029"/>
                  </a:cubicBezTo>
                  <a:cubicBezTo>
                    <a:pt x="10878" y="12481"/>
                    <a:pt x="10886" y="12934"/>
                    <a:pt x="10890" y="13381"/>
                  </a:cubicBezTo>
                  <a:close/>
                </a:path>
              </a:pathLst>
            </a:custGeom>
            <a:solidFill>
              <a:schemeClr val="dk1"/>
            </a:solidFill>
            <a:ln>
              <a:noFill/>
            </a:ln>
          </p:spPr>
          <p:txBody>
            <a:bodyPr spcFirstLastPara="1" wrap="square" lIns="38100" tIns="38100" rIns="38100" bIns="381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Calibri"/>
                <a:ea typeface="Calibri"/>
                <a:cs typeface="Calibri"/>
                <a:sym typeface="Calibri"/>
              </a:endParaRPr>
            </a:p>
          </p:txBody>
        </p:sp>
        <p:sp>
          <p:nvSpPr>
            <p:cNvPr id="95" name="Google Shape;99;p5">
              <a:extLst>
                <a:ext uri="{FF2B5EF4-FFF2-40B4-BE49-F238E27FC236}">
                  <a16:creationId xmlns:a16="http://schemas.microsoft.com/office/drawing/2014/main" id="{B35F69B4-796C-69C6-D749-2458F20D6BF0}"/>
                </a:ext>
              </a:extLst>
            </p:cNvPr>
            <p:cNvSpPr/>
            <p:nvPr/>
          </p:nvSpPr>
          <p:spPr>
            <a:xfrm>
              <a:off x="5836767" y="1214740"/>
              <a:ext cx="5731012" cy="4787988"/>
            </a:xfrm>
            <a:custGeom>
              <a:avLst/>
              <a:gdLst/>
              <a:ahLst/>
              <a:cxnLst/>
              <a:rect l="l" t="t" r="r" b="b"/>
              <a:pathLst>
                <a:path w="21585" h="21577" extrusionOk="0">
                  <a:moveTo>
                    <a:pt x="9699" y="8525"/>
                  </a:moveTo>
                  <a:cubicBezTo>
                    <a:pt x="9469" y="8530"/>
                    <a:pt x="9487" y="8472"/>
                    <a:pt x="9482" y="8779"/>
                  </a:cubicBezTo>
                  <a:cubicBezTo>
                    <a:pt x="9482" y="8959"/>
                    <a:pt x="9478" y="9134"/>
                    <a:pt x="9482" y="9314"/>
                  </a:cubicBezTo>
                  <a:cubicBezTo>
                    <a:pt x="9487" y="9419"/>
                    <a:pt x="9465" y="9451"/>
                    <a:pt x="9372" y="9451"/>
                  </a:cubicBezTo>
                  <a:cubicBezTo>
                    <a:pt x="9142" y="9441"/>
                    <a:pt x="8912" y="9456"/>
                    <a:pt x="8682" y="9446"/>
                  </a:cubicBezTo>
                  <a:cubicBezTo>
                    <a:pt x="8558" y="9441"/>
                    <a:pt x="8531" y="9488"/>
                    <a:pt x="8531" y="9631"/>
                  </a:cubicBezTo>
                  <a:cubicBezTo>
                    <a:pt x="8536" y="11558"/>
                    <a:pt x="8531" y="13484"/>
                    <a:pt x="8527" y="15411"/>
                  </a:cubicBezTo>
                  <a:cubicBezTo>
                    <a:pt x="8527" y="15490"/>
                    <a:pt x="8580" y="15633"/>
                    <a:pt x="8478" y="15638"/>
                  </a:cubicBezTo>
                  <a:cubicBezTo>
                    <a:pt x="8403" y="15644"/>
                    <a:pt x="8438" y="15496"/>
                    <a:pt x="8438" y="15416"/>
                  </a:cubicBezTo>
                  <a:cubicBezTo>
                    <a:pt x="8438" y="14945"/>
                    <a:pt x="8438" y="14474"/>
                    <a:pt x="8443" y="14003"/>
                  </a:cubicBezTo>
                  <a:cubicBezTo>
                    <a:pt x="8443" y="13902"/>
                    <a:pt x="8421" y="13855"/>
                    <a:pt x="8332" y="13855"/>
                  </a:cubicBezTo>
                  <a:cubicBezTo>
                    <a:pt x="7315" y="13855"/>
                    <a:pt x="6293" y="13834"/>
                    <a:pt x="5276" y="13860"/>
                  </a:cubicBezTo>
                  <a:cubicBezTo>
                    <a:pt x="5267" y="13860"/>
                    <a:pt x="5258" y="13865"/>
                    <a:pt x="5249" y="13871"/>
                  </a:cubicBezTo>
                  <a:cubicBezTo>
                    <a:pt x="5222" y="13834"/>
                    <a:pt x="5214" y="13797"/>
                    <a:pt x="5218" y="13749"/>
                  </a:cubicBezTo>
                  <a:cubicBezTo>
                    <a:pt x="6240" y="13749"/>
                    <a:pt x="7266" y="13754"/>
                    <a:pt x="8288" y="13760"/>
                  </a:cubicBezTo>
                  <a:cubicBezTo>
                    <a:pt x="8403" y="13760"/>
                    <a:pt x="8443" y="13728"/>
                    <a:pt x="8443" y="13580"/>
                  </a:cubicBezTo>
                  <a:cubicBezTo>
                    <a:pt x="8438" y="12267"/>
                    <a:pt x="8438" y="10960"/>
                    <a:pt x="8443" y="9647"/>
                  </a:cubicBezTo>
                  <a:cubicBezTo>
                    <a:pt x="8443" y="9499"/>
                    <a:pt x="8416" y="9446"/>
                    <a:pt x="8284" y="9451"/>
                  </a:cubicBezTo>
                  <a:cubicBezTo>
                    <a:pt x="7996" y="9462"/>
                    <a:pt x="7708" y="9451"/>
                    <a:pt x="7421" y="9451"/>
                  </a:cubicBezTo>
                  <a:cubicBezTo>
                    <a:pt x="7372" y="9451"/>
                    <a:pt x="7315" y="9467"/>
                    <a:pt x="7266" y="9409"/>
                  </a:cubicBezTo>
                  <a:cubicBezTo>
                    <a:pt x="7310" y="9345"/>
                    <a:pt x="7368" y="9366"/>
                    <a:pt x="7412" y="9366"/>
                  </a:cubicBezTo>
                  <a:cubicBezTo>
                    <a:pt x="7708" y="9361"/>
                    <a:pt x="8009" y="9361"/>
                    <a:pt x="8306" y="9366"/>
                  </a:cubicBezTo>
                  <a:cubicBezTo>
                    <a:pt x="8403" y="9366"/>
                    <a:pt x="8447" y="9340"/>
                    <a:pt x="8438" y="9213"/>
                  </a:cubicBezTo>
                  <a:cubicBezTo>
                    <a:pt x="8429" y="9086"/>
                    <a:pt x="8434" y="8959"/>
                    <a:pt x="8438" y="8832"/>
                  </a:cubicBezTo>
                  <a:cubicBezTo>
                    <a:pt x="8438" y="8800"/>
                    <a:pt x="8434" y="8737"/>
                    <a:pt x="8483" y="8747"/>
                  </a:cubicBezTo>
                  <a:cubicBezTo>
                    <a:pt x="8518" y="8752"/>
                    <a:pt x="8531" y="8795"/>
                    <a:pt x="8531" y="8842"/>
                  </a:cubicBezTo>
                  <a:cubicBezTo>
                    <a:pt x="8531" y="8975"/>
                    <a:pt x="8536" y="9107"/>
                    <a:pt x="8531" y="9239"/>
                  </a:cubicBezTo>
                  <a:cubicBezTo>
                    <a:pt x="8527" y="9340"/>
                    <a:pt x="8562" y="9372"/>
                    <a:pt x="8642" y="9366"/>
                  </a:cubicBezTo>
                  <a:cubicBezTo>
                    <a:pt x="8863" y="9361"/>
                    <a:pt x="9084" y="9361"/>
                    <a:pt x="9305" y="9366"/>
                  </a:cubicBezTo>
                  <a:cubicBezTo>
                    <a:pt x="9381" y="9366"/>
                    <a:pt x="9407" y="9335"/>
                    <a:pt x="9403" y="9245"/>
                  </a:cubicBezTo>
                  <a:cubicBezTo>
                    <a:pt x="9398" y="9054"/>
                    <a:pt x="9394" y="8864"/>
                    <a:pt x="9403" y="8673"/>
                  </a:cubicBezTo>
                  <a:cubicBezTo>
                    <a:pt x="9407" y="8546"/>
                    <a:pt x="9363" y="8520"/>
                    <a:pt x="9270" y="8520"/>
                  </a:cubicBezTo>
                  <a:cubicBezTo>
                    <a:pt x="8735" y="8525"/>
                    <a:pt x="8204" y="8520"/>
                    <a:pt x="7669" y="8520"/>
                  </a:cubicBezTo>
                  <a:cubicBezTo>
                    <a:pt x="7616" y="8520"/>
                    <a:pt x="7554" y="8546"/>
                    <a:pt x="7505" y="8483"/>
                  </a:cubicBezTo>
                  <a:cubicBezTo>
                    <a:pt x="7554" y="8408"/>
                    <a:pt x="7620" y="8435"/>
                    <a:pt x="7677" y="8435"/>
                  </a:cubicBezTo>
                  <a:cubicBezTo>
                    <a:pt x="8199" y="8435"/>
                    <a:pt x="8726" y="8430"/>
                    <a:pt x="9248" y="8440"/>
                  </a:cubicBezTo>
                  <a:cubicBezTo>
                    <a:pt x="9367" y="8440"/>
                    <a:pt x="9407" y="8403"/>
                    <a:pt x="9403" y="8260"/>
                  </a:cubicBezTo>
                  <a:cubicBezTo>
                    <a:pt x="9394" y="8064"/>
                    <a:pt x="9389" y="7869"/>
                    <a:pt x="9403" y="7673"/>
                  </a:cubicBezTo>
                  <a:cubicBezTo>
                    <a:pt x="9407" y="7535"/>
                    <a:pt x="9381" y="7488"/>
                    <a:pt x="9257" y="7488"/>
                  </a:cubicBezTo>
                  <a:cubicBezTo>
                    <a:pt x="8850" y="7498"/>
                    <a:pt x="8438" y="7493"/>
                    <a:pt x="8031" y="7493"/>
                  </a:cubicBezTo>
                  <a:cubicBezTo>
                    <a:pt x="7987" y="7493"/>
                    <a:pt x="7943" y="7498"/>
                    <a:pt x="7903" y="7493"/>
                  </a:cubicBezTo>
                  <a:cubicBezTo>
                    <a:pt x="7872" y="7488"/>
                    <a:pt x="7810" y="7519"/>
                    <a:pt x="7815" y="7445"/>
                  </a:cubicBezTo>
                  <a:cubicBezTo>
                    <a:pt x="7819" y="7387"/>
                    <a:pt x="7872" y="7403"/>
                    <a:pt x="7912" y="7403"/>
                  </a:cubicBezTo>
                  <a:cubicBezTo>
                    <a:pt x="8359" y="7403"/>
                    <a:pt x="8805" y="7398"/>
                    <a:pt x="9252" y="7403"/>
                  </a:cubicBezTo>
                  <a:cubicBezTo>
                    <a:pt x="9381" y="7408"/>
                    <a:pt x="9416" y="7360"/>
                    <a:pt x="9407" y="7212"/>
                  </a:cubicBezTo>
                  <a:cubicBezTo>
                    <a:pt x="9394" y="6995"/>
                    <a:pt x="9398" y="6773"/>
                    <a:pt x="9407" y="6556"/>
                  </a:cubicBezTo>
                  <a:cubicBezTo>
                    <a:pt x="9411" y="6434"/>
                    <a:pt x="9376" y="6397"/>
                    <a:pt x="9279" y="6397"/>
                  </a:cubicBezTo>
                  <a:cubicBezTo>
                    <a:pt x="9000" y="6402"/>
                    <a:pt x="8721" y="6392"/>
                    <a:pt x="8443" y="6397"/>
                  </a:cubicBezTo>
                  <a:cubicBezTo>
                    <a:pt x="7576" y="6397"/>
                    <a:pt x="6713" y="6402"/>
                    <a:pt x="5846" y="6402"/>
                  </a:cubicBezTo>
                  <a:cubicBezTo>
                    <a:pt x="5784" y="6402"/>
                    <a:pt x="5674" y="6434"/>
                    <a:pt x="5674" y="6344"/>
                  </a:cubicBezTo>
                  <a:cubicBezTo>
                    <a:pt x="5669" y="6254"/>
                    <a:pt x="5780" y="6275"/>
                    <a:pt x="5842" y="6275"/>
                  </a:cubicBezTo>
                  <a:cubicBezTo>
                    <a:pt x="7014" y="6275"/>
                    <a:pt x="8186" y="6286"/>
                    <a:pt x="9358" y="6286"/>
                  </a:cubicBezTo>
                  <a:cubicBezTo>
                    <a:pt x="9465" y="6286"/>
                    <a:pt x="9496" y="6318"/>
                    <a:pt x="9491" y="6450"/>
                  </a:cubicBezTo>
                  <a:cubicBezTo>
                    <a:pt x="9482" y="6678"/>
                    <a:pt x="9487" y="6911"/>
                    <a:pt x="9487" y="7138"/>
                  </a:cubicBezTo>
                  <a:cubicBezTo>
                    <a:pt x="9487" y="7403"/>
                    <a:pt x="9487" y="7403"/>
                    <a:pt x="9703" y="7403"/>
                  </a:cubicBezTo>
                  <a:cubicBezTo>
                    <a:pt x="9801" y="7403"/>
                    <a:pt x="9894" y="7403"/>
                    <a:pt x="9991" y="7403"/>
                  </a:cubicBezTo>
                  <a:cubicBezTo>
                    <a:pt x="10022" y="7403"/>
                    <a:pt x="10057" y="7408"/>
                    <a:pt x="10057" y="7450"/>
                  </a:cubicBezTo>
                  <a:cubicBezTo>
                    <a:pt x="10057" y="7498"/>
                    <a:pt x="10018" y="7493"/>
                    <a:pt x="9991" y="7493"/>
                  </a:cubicBezTo>
                  <a:cubicBezTo>
                    <a:pt x="9858" y="7498"/>
                    <a:pt x="9721" y="7498"/>
                    <a:pt x="9588" y="7498"/>
                  </a:cubicBezTo>
                  <a:cubicBezTo>
                    <a:pt x="9513" y="7498"/>
                    <a:pt x="9487" y="7525"/>
                    <a:pt x="9487" y="7615"/>
                  </a:cubicBezTo>
                  <a:cubicBezTo>
                    <a:pt x="9491" y="7853"/>
                    <a:pt x="9491" y="8086"/>
                    <a:pt x="9487" y="8324"/>
                  </a:cubicBezTo>
                  <a:cubicBezTo>
                    <a:pt x="9482" y="8424"/>
                    <a:pt x="9518" y="8451"/>
                    <a:pt x="9597" y="8446"/>
                  </a:cubicBezTo>
                  <a:cubicBezTo>
                    <a:pt x="9743" y="8440"/>
                    <a:pt x="9885" y="8440"/>
                    <a:pt x="10031" y="8446"/>
                  </a:cubicBezTo>
                  <a:cubicBezTo>
                    <a:pt x="10079" y="8446"/>
                    <a:pt x="10137" y="8424"/>
                    <a:pt x="10190" y="8535"/>
                  </a:cubicBezTo>
                  <a:cubicBezTo>
                    <a:pt x="10009" y="8525"/>
                    <a:pt x="9854" y="8525"/>
                    <a:pt x="9699" y="8525"/>
                  </a:cubicBezTo>
                  <a:close/>
                  <a:moveTo>
                    <a:pt x="17745" y="6413"/>
                  </a:moveTo>
                  <a:cubicBezTo>
                    <a:pt x="17728" y="6434"/>
                    <a:pt x="17710" y="6455"/>
                    <a:pt x="17692" y="6477"/>
                  </a:cubicBezTo>
                  <a:cubicBezTo>
                    <a:pt x="18971" y="7969"/>
                    <a:pt x="20249" y="9456"/>
                    <a:pt x="21532" y="10949"/>
                  </a:cubicBezTo>
                  <a:cubicBezTo>
                    <a:pt x="21550" y="10928"/>
                    <a:pt x="21567" y="10907"/>
                    <a:pt x="21585" y="10886"/>
                  </a:cubicBezTo>
                  <a:cubicBezTo>
                    <a:pt x="20311" y="9388"/>
                    <a:pt x="19028" y="7900"/>
                    <a:pt x="17745" y="6413"/>
                  </a:cubicBezTo>
                  <a:close/>
                  <a:moveTo>
                    <a:pt x="2944" y="11245"/>
                  </a:moveTo>
                  <a:cubicBezTo>
                    <a:pt x="4439" y="11245"/>
                    <a:pt x="5908" y="11245"/>
                    <a:pt x="7381" y="11245"/>
                  </a:cubicBezTo>
                  <a:cubicBezTo>
                    <a:pt x="7240" y="11134"/>
                    <a:pt x="3064" y="11145"/>
                    <a:pt x="2944" y="11245"/>
                  </a:cubicBezTo>
                  <a:close/>
                  <a:moveTo>
                    <a:pt x="5023" y="5175"/>
                  </a:moveTo>
                  <a:cubicBezTo>
                    <a:pt x="5045" y="5175"/>
                    <a:pt x="5072" y="5175"/>
                    <a:pt x="5094" y="5175"/>
                  </a:cubicBezTo>
                  <a:cubicBezTo>
                    <a:pt x="5700" y="5175"/>
                    <a:pt x="6302" y="5175"/>
                    <a:pt x="6908" y="5175"/>
                  </a:cubicBezTo>
                  <a:cubicBezTo>
                    <a:pt x="6908" y="5175"/>
                    <a:pt x="6908" y="5175"/>
                    <a:pt x="6908" y="5175"/>
                  </a:cubicBezTo>
                  <a:cubicBezTo>
                    <a:pt x="7523" y="5175"/>
                    <a:pt x="8138" y="5175"/>
                    <a:pt x="8752" y="5175"/>
                  </a:cubicBezTo>
                  <a:cubicBezTo>
                    <a:pt x="8775" y="5175"/>
                    <a:pt x="8801" y="5175"/>
                    <a:pt x="8823" y="5175"/>
                  </a:cubicBezTo>
                  <a:cubicBezTo>
                    <a:pt x="8859" y="5169"/>
                    <a:pt x="8894" y="5153"/>
                    <a:pt x="8890" y="5106"/>
                  </a:cubicBezTo>
                  <a:cubicBezTo>
                    <a:pt x="8885" y="5058"/>
                    <a:pt x="8854" y="5048"/>
                    <a:pt x="8814" y="5048"/>
                  </a:cubicBezTo>
                  <a:cubicBezTo>
                    <a:pt x="8792" y="5048"/>
                    <a:pt x="8766" y="5048"/>
                    <a:pt x="8744" y="5048"/>
                  </a:cubicBezTo>
                  <a:cubicBezTo>
                    <a:pt x="7536" y="5048"/>
                    <a:pt x="6324" y="5048"/>
                    <a:pt x="5116" y="5048"/>
                  </a:cubicBezTo>
                  <a:cubicBezTo>
                    <a:pt x="5081" y="5048"/>
                    <a:pt x="5050" y="5048"/>
                    <a:pt x="5015" y="5053"/>
                  </a:cubicBezTo>
                  <a:cubicBezTo>
                    <a:pt x="4979" y="5053"/>
                    <a:pt x="4944" y="5069"/>
                    <a:pt x="4948" y="5122"/>
                  </a:cubicBezTo>
                  <a:cubicBezTo>
                    <a:pt x="4953" y="5159"/>
                    <a:pt x="4984" y="5175"/>
                    <a:pt x="5023" y="5175"/>
                  </a:cubicBezTo>
                  <a:close/>
                  <a:moveTo>
                    <a:pt x="8173" y="4412"/>
                  </a:moveTo>
                  <a:cubicBezTo>
                    <a:pt x="8173" y="4397"/>
                    <a:pt x="8173" y="4381"/>
                    <a:pt x="8173" y="4365"/>
                  </a:cubicBezTo>
                  <a:cubicBezTo>
                    <a:pt x="7257" y="4365"/>
                    <a:pt x="6342" y="4365"/>
                    <a:pt x="5426" y="4365"/>
                  </a:cubicBezTo>
                  <a:cubicBezTo>
                    <a:pt x="5426" y="4381"/>
                    <a:pt x="5426" y="4397"/>
                    <a:pt x="5426" y="4412"/>
                  </a:cubicBezTo>
                  <a:cubicBezTo>
                    <a:pt x="6342" y="4412"/>
                    <a:pt x="7257" y="4412"/>
                    <a:pt x="8173" y="4412"/>
                  </a:cubicBezTo>
                  <a:close/>
                  <a:moveTo>
                    <a:pt x="16715" y="6694"/>
                  </a:moveTo>
                  <a:cubicBezTo>
                    <a:pt x="16923" y="6937"/>
                    <a:pt x="17131" y="7186"/>
                    <a:pt x="17343" y="7429"/>
                  </a:cubicBezTo>
                  <a:cubicBezTo>
                    <a:pt x="17754" y="7906"/>
                    <a:pt x="18161" y="8377"/>
                    <a:pt x="18573" y="8853"/>
                  </a:cubicBezTo>
                  <a:cubicBezTo>
                    <a:pt x="18608" y="8890"/>
                    <a:pt x="18657" y="8975"/>
                    <a:pt x="18701" y="8917"/>
                  </a:cubicBezTo>
                  <a:cubicBezTo>
                    <a:pt x="18750" y="8853"/>
                    <a:pt x="18670" y="8811"/>
                    <a:pt x="18639" y="8774"/>
                  </a:cubicBezTo>
                  <a:cubicBezTo>
                    <a:pt x="18378" y="8467"/>
                    <a:pt x="18117" y="8165"/>
                    <a:pt x="17852" y="7863"/>
                  </a:cubicBezTo>
                  <a:cubicBezTo>
                    <a:pt x="17511" y="7472"/>
                    <a:pt x="17170" y="7075"/>
                    <a:pt x="16825" y="6683"/>
                  </a:cubicBezTo>
                  <a:cubicBezTo>
                    <a:pt x="16790" y="6646"/>
                    <a:pt x="16750" y="6614"/>
                    <a:pt x="16710" y="6577"/>
                  </a:cubicBezTo>
                  <a:cubicBezTo>
                    <a:pt x="16697" y="6588"/>
                    <a:pt x="16679" y="6588"/>
                    <a:pt x="16675" y="6604"/>
                  </a:cubicBezTo>
                  <a:cubicBezTo>
                    <a:pt x="16662" y="6641"/>
                    <a:pt x="16693" y="6667"/>
                    <a:pt x="16715" y="6694"/>
                  </a:cubicBezTo>
                  <a:close/>
                  <a:moveTo>
                    <a:pt x="5780" y="3370"/>
                  </a:moveTo>
                  <a:cubicBezTo>
                    <a:pt x="6483" y="3370"/>
                    <a:pt x="7164" y="3370"/>
                    <a:pt x="7850" y="3370"/>
                  </a:cubicBezTo>
                  <a:cubicBezTo>
                    <a:pt x="7722" y="3264"/>
                    <a:pt x="5895" y="3274"/>
                    <a:pt x="5780" y="3370"/>
                  </a:cubicBezTo>
                  <a:close/>
                  <a:moveTo>
                    <a:pt x="6218" y="13135"/>
                  </a:moveTo>
                  <a:cubicBezTo>
                    <a:pt x="6271" y="13135"/>
                    <a:pt x="6324" y="13130"/>
                    <a:pt x="6377" y="13124"/>
                  </a:cubicBezTo>
                  <a:cubicBezTo>
                    <a:pt x="6399" y="13119"/>
                    <a:pt x="6426" y="13108"/>
                    <a:pt x="6426" y="13071"/>
                  </a:cubicBezTo>
                  <a:cubicBezTo>
                    <a:pt x="6426" y="13034"/>
                    <a:pt x="6404" y="13024"/>
                    <a:pt x="6377" y="13019"/>
                  </a:cubicBezTo>
                  <a:cubicBezTo>
                    <a:pt x="6328" y="13013"/>
                    <a:pt x="6280" y="13013"/>
                    <a:pt x="6235" y="13013"/>
                  </a:cubicBezTo>
                  <a:cubicBezTo>
                    <a:pt x="5833" y="13013"/>
                    <a:pt x="5430" y="13013"/>
                    <a:pt x="5028" y="13013"/>
                  </a:cubicBezTo>
                  <a:cubicBezTo>
                    <a:pt x="5037" y="13066"/>
                    <a:pt x="5050" y="13114"/>
                    <a:pt x="5059" y="13167"/>
                  </a:cubicBezTo>
                  <a:cubicBezTo>
                    <a:pt x="5439" y="13119"/>
                    <a:pt x="5828" y="13146"/>
                    <a:pt x="6218" y="13135"/>
                  </a:cubicBezTo>
                  <a:close/>
                  <a:moveTo>
                    <a:pt x="6492" y="20233"/>
                  </a:moveTo>
                  <a:cubicBezTo>
                    <a:pt x="5859" y="17861"/>
                    <a:pt x="5227" y="15490"/>
                    <a:pt x="4594" y="13119"/>
                  </a:cubicBezTo>
                  <a:cubicBezTo>
                    <a:pt x="4554" y="12966"/>
                    <a:pt x="4475" y="12796"/>
                    <a:pt x="4656" y="12685"/>
                  </a:cubicBezTo>
                  <a:cubicBezTo>
                    <a:pt x="4639" y="12643"/>
                    <a:pt x="4621" y="12595"/>
                    <a:pt x="4581" y="12579"/>
                  </a:cubicBezTo>
                  <a:cubicBezTo>
                    <a:pt x="3878" y="12717"/>
                    <a:pt x="3174" y="12860"/>
                    <a:pt x="2471" y="12992"/>
                  </a:cubicBezTo>
                  <a:cubicBezTo>
                    <a:pt x="1728" y="13135"/>
                    <a:pt x="989" y="13278"/>
                    <a:pt x="246" y="13415"/>
                  </a:cubicBezTo>
                  <a:cubicBezTo>
                    <a:pt x="166" y="13431"/>
                    <a:pt x="96" y="13415"/>
                    <a:pt x="34" y="13347"/>
                  </a:cubicBezTo>
                  <a:cubicBezTo>
                    <a:pt x="-15" y="13426"/>
                    <a:pt x="-2" y="13511"/>
                    <a:pt x="16" y="13595"/>
                  </a:cubicBezTo>
                  <a:cubicBezTo>
                    <a:pt x="104" y="14014"/>
                    <a:pt x="233" y="14416"/>
                    <a:pt x="348" y="14823"/>
                  </a:cubicBezTo>
                  <a:cubicBezTo>
                    <a:pt x="892" y="16792"/>
                    <a:pt x="1440" y="18761"/>
                    <a:pt x="1989" y="20725"/>
                  </a:cubicBezTo>
                  <a:cubicBezTo>
                    <a:pt x="2024" y="20857"/>
                    <a:pt x="2051" y="21005"/>
                    <a:pt x="2153" y="21101"/>
                  </a:cubicBezTo>
                  <a:cubicBezTo>
                    <a:pt x="2219" y="21058"/>
                    <a:pt x="2290" y="21058"/>
                    <a:pt x="2365" y="21058"/>
                  </a:cubicBezTo>
                  <a:cubicBezTo>
                    <a:pt x="3002" y="21058"/>
                    <a:pt x="3639" y="21058"/>
                    <a:pt x="4280" y="21058"/>
                  </a:cubicBezTo>
                  <a:cubicBezTo>
                    <a:pt x="4360" y="21058"/>
                    <a:pt x="4444" y="21048"/>
                    <a:pt x="4435" y="21191"/>
                  </a:cubicBezTo>
                  <a:cubicBezTo>
                    <a:pt x="4462" y="21191"/>
                    <a:pt x="4493" y="21196"/>
                    <a:pt x="4519" y="21196"/>
                  </a:cubicBezTo>
                  <a:cubicBezTo>
                    <a:pt x="5205" y="21148"/>
                    <a:pt x="5895" y="21106"/>
                    <a:pt x="6580" y="21058"/>
                  </a:cubicBezTo>
                  <a:cubicBezTo>
                    <a:pt x="6713" y="21048"/>
                    <a:pt x="6775" y="20952"/>
                    <a:pt x="6797" y="20804"/>
                  </a:cubicBezTo>
                  <a:cubicBezTo>
                    <a:pt x="6629" y="20661"/>
                    <a:pt x="6554" y="20455"/>
                    <a:pt x="6492" y="20233"/>
                  </a:cubicBezTo>
                  <a:close/>
                  <a:moveTo>
                    <a:pt x="20435" y="19407"/>
                  </a:moveTo>
                  <a:cubicBezTo>
                    <a:pt x="20457" y="19550"/>
                    <a:pt x="20444" y="19693"/>
                    <a:pt x="20439" y="19841"/>
                  </a:cubicBezTo>
                  <a:cubicBezTo>
                    <a:pt x="20333" y="19825"/>
                    <a:pt x="20249" y="19751"/>
                    <a:pt x="20161" y="19698"/>
                  </a:cubicBezTo>
                  <a:cubicBezTo>
                    <a:pt x="19634" y="19375"/>
                    <a:pt x="19095" y="19100"/>
                    <a:pt x="18555" y="18809"/>
                  </a:cubicBezTo>
                  <a:cubicBezTo>
                    <a:pt x="18515" y="18788"/>
                    <a:pt x="18458" y="18788"/>
                    <a:pt x="18466" y="18708"/>
                  </a:cubicBezTo>
                  <a:cubicBezTo>
                    <a:pt x="18568" y="18740"/>
                    <a:pt x="18670" y="18772"/>
                    <a:pt x="18772" y="18798"/>
                  </a:cubicBezTo>
                  <a:cubicBezTo>
                    <a:pt x="18993" y="18862"/>
                    <a:pt x="19205" y="18978"/>
                    <a:pt x="19435" y="18984"/>
                  </a:cubicBezTo>
                  <a:cubicBezTo>
                    <a:pt x="19409" y="18968"/>
                    <a:pt x="19378" y="18946"/>
                    <a:pt x="19351" y="18936"/>
                  </a:cubicBezTo>
                  <a:cubicBezTo>
                    <a:pt x="18962" y="18804"/>
                    <a:pt x="18604" y="18571"/>
                    <a:pt x="18232" y="18380"/>
                  </a:cubicBezTo>
                  <a:cubicBezTo>
                    <a:pt x="18104" y="18317"/>
                    <a:pt x="18024" y="18216"/>
                    <a:pt x="17993" y="18047"/>
                  </a:cubicBezTo>
                  <a:cubicBezTo>
                    <a:pt x="17962" y="17904"/>
                    <a:pt x="17927" y="17761"/>
                    <a:pt x="17856" y="17639"/>
                  </a:cubicBezTo>
                  <a:cubicBezTo>
                    <a:pt x="17812" y="17157"/>
                    <a:pt x="17874" y="16681"/>
                    <a:pt x="17909" y="16205"/>
                  </a:cubicBezTo>
                  <a:cubicBezTo>
                    <a:pt x="17913" y="16125"/>
                    <a:pt x="17971" y="16094"/>
                    <a:pt x="18020" y="16062"/>
                  </a:cubicBezTo>
                  <a:cubicBezTo>
                    <a:pt x="18130" y="15993"/>
                    <a:pt x="18250" y="15961"/>
                    <a:pt x="18365" y="15919"/>
                  </a:cubicBezTo>
                  <a:cubicBezTo>
                    <a:pt x="18489" y="15908"/>
                    <a:pt x="18608" y="15893"/>
                    <a:pt x="18732" y="15882"/>
                  </a:cubicBezTo>
                  <a:cubicBezTo>
                    <a:pt x="18918" y="15866"/>
                    <a:pt x="18993" y="15850"/>
                    <a:pt x="19090" y="15776"/>
                  </a:cubicBezTo>
                  <a:cubicBezTo>
                    <a:pt x="18696" y="15845"/>
                    <a:pt x="18320" y="15813"/>
                    <a:pt x="17944" y="15739"/>
                  </a:cubicBezTo>
                  <a:cubicBezTo>
                    <a:pt x="17666" y="15231"/>
                    <a:pt x="17498" y="14659"/>
                    <a:pt x="17285" y="14109"/>
                  </a:cubicBezTo>
                  <a:cubicBezTo>
                    <a:pt x="17259" y="14368"/>
                    <a:pt x="17290" y="14622"/>
                    <a:pt x="17316" y="14871"/>
                  </a:cubicBezTo>
                  <a:cubicBezTo>
                    <a:pt x="17330" y="15030"/>
                    <a:pt x="17347" y="15189"/>
                    <a:pt x="17361" y="15347"/>
                  </a:cubicBezTo>
                  <a:cubicBezTo>
                    <a:pt x="17383" y="15586"/>
                    <a:pt x="17321" y="15803"/>
                    <a:pt x="17206" y="15993"/>
                  </a:cubicBezTo>
                  <a:cubicBezTo>
                    <a:pt x="17069" y="16231"/>
                    <a:pt x="17007" y="16491"/>
                    <a:pt x="17046" y="16771"/>
                  </a:cubicBezTo>
                  <a:cubicBezTo>
                    <a:pt x="17069" y="16935"/>
                    <a:pt x="17020" y="16967"/>
                    <a:pt x="16892" y="16951"/>
                  </a:cubicBezTo>
                  <a:cubicBezTo>
                    <a:pt x="16555" y="16898"/>
                    <a:pt x="16215" y="16909"/>
                    <a:pt x="15874" y="16898"/>
                  </a:cubicBezTo>
                  <a:cubicBezTo>
                    <a:pt x="15773" y="16877"/>
                    <a:pt x="15666" y="16861"/>
                    <a:pt x="15565" y="16840"/>
                  </a:cubicBezTo>
                  <a:cubicBezTo>
                    <a:pt x="15463" y="16824"/>
                    <a:pt x="15405" y="16761"/>
                    <a:pt x="15423" y="16628"/>
                  </a:cubicBezTo>
                  <a:cubicBezTo>
                    <a:pt x="15441" y="16485"/>
                    <a:pt x="15454" y="16342"/>
                    <a:pt x="15481" y="16205"/>
                  </a:cubicBezTo>
                  <a:cubicBezTo>
                    <a:pt x="15706" y="15120"/>
                    <a:pt x="16091" y="14109"/>
                    <a:pt x="16511" y="13119"/>
                  </a:cubicBezTo>
                  <a:cubicBezTo>
                    <a:pt x="16573" y="12976"/>
                    <a:pt x="16560" y="12886"/>
                    <a:pt x="16463" y="12796"/>
                  </a:cubicBezTo>
                  <a:cubicBezTo>
                    <a:pt x="16374" y="12717"/>
                    <a:pt x="16286" y="12637"/>
                    <a:pt x="16197" y="12558"/>
                  </a:cubicBezTo>
                  <a:cubicBezTo>
                    <a:pt x="16113" y="12479"/>
                    <a:pt x="16095" y="12394"/>
                    <a:pt x="16202" y="12315"/>
                  </a:cubicBezTo>
                  <a:cubicBezTo>
                    <a:pt x="16294" y="12246"/>
                    <a:pt x="16321" y="12145"/>
                    <a:pt x="16330" y="12023"/>
                  </a:cubicBezTo>
                  <a:cubicBezTo>
                    <a:pt x="16348" y="11759"/>
                    <a:pt x="16379" y="11499"/>
                    <a:pt x="16401" y="11235"/>
                  </a:cubicBezTo>
                  <a:cubicBezTo>
                    <a:pt x="16458" y="10557"/>
                    <a:pt x="16586" y="9890"/>
                    <a:pt x="16622" y="9208"/>
                  </a:cubicBezTo>
                  <a:cubicBezTo>
                    <a:pt x="16635" y="8959"/>
                    <a:pt x="16648" y="8948"/>
                    <a:pt x="16856" y="9022"/>
                  </a:cubicBezTo>
                  <a:cubicBezTo>
                    <a:pt x="17285" y="9165"/>
                    <a:pt x="17710" y="9314"/>
                    <a:pt x="18130" y="9493"/>
                  </a:cubicBezTo>
                  <a:cubicBezTo>
                    <a:pt x="18228" y="9536"/>
                    <a:pt x="18298" y="9536"/>
                    <a:pt x="18307" y="9388"/>
                  </a:cubicBezTo>
                  <a:cubicBezTo>
                    <a:pt x="18484" y="9388"/>
                    <a:pt x="18635" y="9499"/>
                    <a:pt x="18798" y="9562"/>
                  </a:cubicBezTo>
                  <a:cubicBezTo>
                    <a:pt x="18922" y="9605"/>
                    <a:pt x="19041" y="9673"/>
                    <a:pt x="19161" y="9726"/>
                  </a:cubicBezTo>
                  <a:cubicBezTo>
                    <a:pt x="19241" y="9763"/>
                    <a:pt x="19276" y="9790"/>
                    <a:pt x="19179" y="9875"/>
                  </a:cubicBezTo>
                  <a:cubicBezTo>
                    <a:pt x="18767" y="10229"/>
                    <a:pt x="18533" y="10743"/>
                    <a:pt x="18343" y="11288"/>
                  </a:cubicBezTo>
                  <a:cubicBezTo>
                    <a:pt x="18338" y="11298"/>
                    <a:pt x="18347" y="11309"/>
                    <a:pt x="18347" y="11320"/>
                  </a:cubicBezTo>
                  <a:cubicBezTo>
                    <a:pt x="18329" y="11378"/>
                    <a:pt x="18320" y="11441"/>
                    <a:pt x="18294" y="11489"/>
                  </a:cubicBezTo>
                  <a:cubicBezTo>
                    <a:pt x="18121" y="11817"/>
                    <a:pt x="18006" y="12172"/>
                    <a:pt x="17909" y="12542"/>
                  </a:cubicBezTo>
                  <a:cubicBezTo>
                    <a:pt x="17887" y="12632"/>
                    <a:pt x="17847" y="12727"/>
                    <a:pt x="17860" y="12870"/>
                  </a:cubicBezTo>
                  <a:cubicBezTo>
                    <a:pt x="18037" y="12325"/>
                    <a:pt x="18228" y="11844"/>
                    <a:pt x="18493" y="11404"/>
                  </a:cubicBezTo>
                  <a:cubicBezTo>
                    <a:pt x="18811" y="10875"/>
                    <a:pt x="19179" y="10414"/>
                    <a:pt x="19718" y="10208"/>
                  </a:cubicBezTo>
                  <a:cubicBezTo>
                    <a:pt x="20015" y="10563"/>
                    <a:pt x="20125" y="11013"/>
                    <a:pt x="20183" y="11489"/>
                  </a:cubicBezTo>
                  <a:cubicBezTo>
                    <a:pt x="20209" y="11732"/>
                    <a:pt x="20223" y="11976"/>
                    <a:pt x="20240" y="12219"/>
                  </a:cubicBezTo>
                  <a:cubicBezTo>
                    <a:pt x="20152" y="12203"/>
                    <a:pt x="20072" y="12214"/>
                    <a:pt x="19984" y="12246"/>
                  </a:cubicBezTo>
                  <a:cubicBezTo>
                    <a:pt x="19568" y="12389"/>
                    <a:pt x="19218" y="12664"/>
                    <a:pt x="18900" y="13003"/>
                  </a:cubicBezTo>
                  <a:cubicBezTo>
                    <a:pt x="18882" y="13024"/>
                    <a:pt x="18847" y="13045"/>
                    <a:pt x="18869" y="13082"/>
                  </a:cubicBezTo>
                  <a:cubicBezTo>
                    <a:pt x="18891" y="13103"/>
                    <a:pt x="18909" y="13087"/>
                    <a:pt x="18922" y="13077"/>
                  </a:cubicBezTo>
                  <a:cubicBezTo>
                    <a:pt x="19342" y="12780"/>
                    <a:pt x="19785" y="12553"/>
                    <a:pt x="20258" y="12415"/>
                  </a:cubicBezTo>
                  <a:cubicBezTo>
                    <a:pt x="20289" y="12913"/>
                    <a:pt x="20315" y="13415"/>
                    <a:pt x="20342" y="13913"/>
                  </a:cubicBezTo>
                  <a:cubicBezTo>
                    <a:pt x="20342" y="13945"/>
                    <a:pt x="20333" y="13982"/>
                    <a:pt x="20329" y="14014"/>
                  </a:cubicBezTo>
                  <a:cubicBezTo>
                    <a:pt x="20214" y="13977"/>
                    <a:pt x="20214" y="14077"/>
                    <a:pt x="20209" y="14162"/>
                  </a:cubicBezTo>
                  <a:cubicBezTo>
                    <a:pt x="20205" y="14411"/>
                    <a:pt x="20205" y="14654"/>
                    <a:pt x="20200" y="14903"/>
                  </a:cubicBezTo>
                  <a:cubicBezTo>
                    <a:pt x="20200" y="14956"/>
                    <a:pt x="20205" y="15009"/>
                    <a:pt x="20147" y="15046"/>
                  </a:cubicBezTo>
                  <a:cubicBezTo>
                    <a:pt x="19705" y="15316"/>
                    <a:pt x="19448" y="15781"/>
                    <a:pt x="19227" y="16284"/>
                  </a:cubicBezTo>
                  <a:cubicBezTo>
                    <a:pt x="19183" y="16385"/>
                    <a:pt x="19148" y="16491"/>
                    <a:pt x="19112" y="16602"/>
                  </a:cubicBezTo>
                  <a:cubicBezTo>
                    <a:pt x="19077" y="16708"/>
                    <a:pt x="19046" y="16813"/>
                    <a:pt x="19033" y="16946"/>
                  </a:cubicBezTo>
                  <a:cubicBezTo>
                    <a:pt x="19050" y="16925"/>
                    <a:pt x="19064" y="16919"/>
                    <a:pt x="19068" y="16909"/>
                  </a:cubicBezTo>
                  <a:cubicBezTo>
                    <a:pt x="19081" y="16872"/>
                    <a:pt x="19095" y="16835"/>
                    <a:pt x="19112" y="16798"/>
                  </a:cubicBezTo>
                  <a:cubicBezTo>
                    <a:pt x="19351" y="16242"/>
                    <a:pt x="19643" y="15734"/>
                    <a:pt x="20081" y="15369"/>
                  </a:cubicBezTo>
                  <a:cubicBezTo>
                    <a:pt x="20116" y="15342"/>
                    <a:pt x="20152" y="15284"/>
                    <a:pt x="20192" y="15321"/>
                  </a:cubicBezTo>
                  <a:cubicBezTo>
                    <a:pt x="20214" y="15337"/>
                    <a:pt x="20205" y="15406"/>
                    <a:pt x="20205" y="15448"/>
                  </a:cubicBezTo>
                  <a:cubicBezTo>
                    <a:pt x="20218" y="16422"/>
                    <a:pt x="20227" y="17390"/>
                    <a:pt x="20245" y="18364"/>
                  </a:cubicBezTo>
                  <a:cubicBezTo>
                    <a:pt x="20249" y="18661"/>
                    <a:pt x="20249" y="18962"/>
                    <a:pt x="20289" y="19259"/>
                  </a:cubicBezTo>
                  <a:cubicBezTo>
                    <a:pt x="20315" y="19370"/>
                    <a:pt x="20333" y="19455"/>
                    <a:pt x="20435" y="19407"/>
                  </a:cubicBezTo>
                  <a:close/>
                  <a:moveTo>
                    <a:pt x="20165" y="12685"/>
                  </a:moveTo>
                  <a:cubicBezTo>
                    <a:pt x="19736" y="12865"/>
                    <a:pt x="19294" y="12997"/>
                    <a:pt x="18887" y="13246"/>
                  </a:cubicBezTo>
                  <a:cubicBezTo>
                    <a:pt x="18599" y="13421"/>
                    <a:pt x="18312" y="13595"/>
                    <a:pt x="18130" y="13945"/>
                  </a:cubicBezTo>
                  <a:cubicBezTo>
                    <a:pt x="18750" y="13389"/>
                    <a:pt x="19488" y="13114"/>
                    <a:pt x="20165" y="12685"/>
                  </a:cubicBezTo>
                  <a:close/>
                  <a:moveTo>
                    <a:pt x="19440" y="18989"/>
                  </a:moveTo>
                  <a:lnTo>
                    <a:pt x="19440" y="18989"/>
                  </a:lnTo>
                  <a:cubicBezTo>
                    <a:pt x="19440" y="18984"/>
                    <a:pt x="19440" y="18984"/>
                    <a:pt x="19440" y="18989"/>
                  </a:cubicBezTo>
                  <a:cubicBezTo>
                    <a:pt x="19440" y="18984"/>
                    <a:pt x="19440" y="18989"/>
                    <a:pt x="19440" y="18989"/>
                  </a:cubicBezTo>
                  <a:close/>
                  <a:moveTo>
                    <a:pt x="20426" y="20222"/>
                  </a:moveTo>
                  <a:cubicBezTo>
                    <a:pt x="20404" y="20667"/>
                    <a:pt x="20302" y="21058"/>
                    <a:pt x="19997" y="21344"/>
                  </a:cubicBezTo>
                  <a:cubicBezTo>
                    <a:pt x="19833" y="21498"/>
                    <a:pt x="19656" y="21577"/>
                    <a:pt x="19440" y="21577"/>
                  </a:cubicBezTo>
                  <a:cubicBezTo>
                    <a:pt x="17356" y="21561"/>
                    <a:pt x="15273" y="21551"/>
                    <a:pt x="13185" y="21545"/>
                  </a:cubicBezTo>
                  <a:cubicBezTo>
                    <a:pt x="13065" y="21545"/>
                    <a:pt x="13052" y="21513"/>
                    <a:pt x="13092" y="21386"/>
                  </a:cubicBezTo>
                  <a:cubicBezTo>
                    <a:pt x="13238" y="20905"/>
                    <a:pt x="13238" y="20418"/>
                    <a:pt x="13118" y="19931"/>
                  </a:cubicBezTo>
                  <a:cubicBezTo>
                    <a:pt x="13070" y="19740"/>
                    <a:pt x="13003" y="19566"/>
                    <a:pt x="12871" y="19439"/>
                  </a:cubicBezTo>
                  <a:cubicBezTo>
                    <a:pt x="13371" y="19439"/>
                    <a:pt x="13875" y="19439"/>
                    <a:pt x="14375" y="19439"/>
                  </a:cubicBezTo>
                  <a:cubicBezTo>
                    <a:pt x="14490" y="19439"/>
                    <a:pt x="14543" y="19407"/>
                    <a:pt x="14481" y="19264"/>
                  </a:cubicBezTo>
                  <a:cubicBezTo>
                    <a:pt x="14715" y="19238"/>
                    <a:pt x="14950" y="19259"/>
                    <a:pt x="15184" y="19269"/>
                  </a:cubicBezTo>
                  <a:cubicBezTo>
                    <a:pt x="15857" y="19301"/>
                    <a:pt x="16529" y="19338"/>
                    <a:pt x="17197" y="19391"/>
                  </a:cubicBezTo>
                  <a:cubicBezTo>
                    <a:pt x="17467" y="19412"/>
                    <a:pt x="17652" y="19259"/>
                    <a:pt x="17821" y="19042"/>
                  </a:cubicBezTo>
                  <a:cubicBezTo>
                    <a:pt x="17993" y="18984"/>
                    <a:pt x="18166" y="18994"/>
                    <a:pt x="18343" y="19047"/>
                  </a:cubicBezTo>
                  <a:cubicBezTo>
                    <a:pt x="18475" y="19084"/>
                    <a:pt x="18599" y="19169"/>
                    <a:pt x="18741" y="19158"/>
                  </a:cubicBezTo>
                  <a:cubicBezTo>
                    <a:pt x="19099" y="19301"/>
                    <a:pt x="19448" y="19470"/>
                    <a:pt x="19793" y="19650"/>
                  </a:cubicBezTo>
                  <a:cubicBezTo>
                    <a:pt x="19948" y="19730"/>
                    <a:pt x="20099" y="19820"/>
                    <a:pt x="20254" y="19894"/>
                  </a:cubicBezTo>
                  <a:cubicBezTo>
                    <a:pt x="20386" y="19952"/>
                    <a:pt x="20435" y="20042"/>
                    <a:pt x="20426" y="20222"/>
                  </a:cubicBezTo>
                  <a:close/>
                  <a:moveTo>
                    <a:pt x="17883" y="20810"/>
                  </a:moveTo>
                  <a:cubicBezTo>
                    <a:pt x="17829" y="20704"/>
                    <a:pt x="17829" y="20704"/>
                    <a:pt x="17763" y="20651"/>
                  </a:cubicBezTo>
                  <a:cubicBezTo>
                    <a:pt x="17122" y="20127"/>
                    <a:pt x="16423" y="19751"/>
                    <a:pt x="15684" y="19470"/>
                  </a:cubicBezTo>
                  <a:cubicBezTo>
                    <a:pt x="15542" y="19418"/>
                    <a:pt x="15401" y="19359"/>
                    <a:pt x="15255" y="19338"/>
                  </a:cubicBezTo>
                  <a:cubicBezTo>
                    <a:pt x="15220" y="19333"/>
                    <a:pt x="15175" y="19322"/>
                    <a:pt x="15162" y="19391"/>
                  </a:cubicBezTo>
                  <a:cubicBezTo>
                    <a:pt x="15153" y="19449"/>
                    <a:pt x="15180" y="19481"/>
                    <a:pt x="15220" y="19492"/>
                  </a:cubicBezTo>
                  <a:cubicBezTo>
                    <a:pt x="15290" y="19518"/>
                    <a:pt x="15366" y="19545"/>
                    <a:pt x="15441" y="19571"/>
                  </a:cubicBezTo>
                  <a:cubicBezTo>
                    <a:pt x="16290" y="19873"/>
                    <a:pt x="17095" y="20291"/>
                    <a:pt x="17883" y="20810"/>
                  </a:cubicBezTo>
                  <a:close/>
                  <a:moveTo>
                    <a:pt x="18692" y="20169"/>
                  </a:moveTo>
                  <a:cubicBezTo>
                    <a:pt x="18873" y="20286"/>
                    <a:pt x="19041" y="20439"/>
                    <a:pt x="19236" y="20534"/>
                  </a:cubicBezTo>
                  <a:cubicBezTo>
                    <a:pt x="19227" y="20518"/>
                    <a:pt x="19223" y="20497"/>
                    <a:pt x="19214" y="20481"/>
                  </a:cubicBezTo>
                  <a:cubicBezTo>
                    <a:pt x="18820" y="20053"/>
                    <a:pt x="18360" y="19751"/>
                    <a:pt x="17887" y="19476"/>
                  </a:cubicBezTo>
                  <a:cubicBezTo>
                    <a:pt x="17874" y="19470"/>
                    <a:pt x="17860" y="19465"/>
                    <a:pt x="17847" y="19465"/>
                  </a:cubicBezTo>
                  <a:cubicBezTo>
                    <a:pt x="17812" y="19465"/>
                    <a:pt x="17768" y="19444"/>
                    <a:pt x="17745" y="19497"/>
                  </a:cubicBezTo>
                  <a:cubicBezTo>
                    <a:pt x="17728" y="19550"/>
                    <a:pt x="17763" y="19582"/>
                    <a:pt x="17794" y="19608"/>
                  </a:cubicBezTo>
                  <a:cubicBezTo>
                    <a:pt x="17821" y="19629"/>
                    <a:pt x="17852" y="19650"/>
                    <a:pt x="17883" y="19666"/>
                  </a:cubicBezTo>
                  <a:cubicBezTo>
                    <a:pt x="18157" y="19814"/>
                    <a:pt x="18422" y="19994"/>
                    <a:pt x="18692" y="20169"/>
                  </a:cubicBezTo>
                  <a:close/>
                  <a:moveTo>
                    <a:pt x="19276" y="20561"/>
                  </a:moveTo>
                  <a:cubicBezTo>
                    <a:pt x="19267" y="20540"/>
                    <a:pt x="19254" y="20529"/>
                    <a:pt x="19236" y="20540"/>
                  </a:cubicBezTo>
                  <a:cubicBezTo>
                    <a:pt x="19232" y="20571"/>
                    <a:pt x="19254" y="20571"/>
                    <a:pt x="19272" y="20571"/>
                  </a:cubicBezTo>
                  <a:cubicBezTo>
                    <a:pt x="19272" y="20571"/>
                    <a:pt x="19280" y="20561"/>
                    <a:pt x="19276" y="20561"/>
                  </a:cubicBezTo>
                  <a:close/>
                  <a:moveTo>
                    <a:pt x="11451" y="11907"/>
                  </a:moveTo>
                  <a:cubicBezTo>
                    <a:pt x="11451" y="11912"/>
                    <a:pt x="11451" y="11912"/>
                    <a:pt x="11451" y="11907"/>
                  </a:cubicBezTo>
                  <a:cubicBezTo>
                    <a:pt x="11451" y="11912"/>
                    <a:pt x="11451" y="11912"/>
                    <a:pt x="11451" y="11907"/>
                  </a:cubicBezTo>
                  <a:cubicBezTo>
                    <a:pt x="11451" y="11912"/>
                    <a:pt x="11451" y="11907"/>
                    <a:pt x="11451" y="11907"/>
                  </a:cubicBezTo>
                  <a:close/>
                  <a:moveTo>
                    <a:pt x="11937" y="15236"/>
                  </a:moveTo>
                  <a:cubicBezTo>
                    <a:pt x="11915" y="14347"/>
                    <a:pt x="11902" y="13458"/>
                    <a:pt x="11889" y="12563"/>
                  </a:cubicBezTo>
                  <a:cubicBezTo>
                    <a:pt x="11889" y="12489"/>
                    <a:pt x="11889" y="12420"/>
                    <a:pt x="11836" y="12357"/>
                  </a:cubicBezTo>
                  <a:cubicBezTo>
                    <a:pt x="11721" y="12219"/>
                    <a:pt x="11619" y="12066"/>
                    <a:pt x="11486" y="11949"/>
                  </a:cubicBezTo>
                  <a:cubicBezTo>
                    <a:pt x="11468" y="11939"/>
                    <a:pt x="11446" y="11944"/>
                    <a:pt x="11446" y="11912"/>
                  </a:cubicBezTo>
                  <a:cubicBezTo>
                    <a:pt x="11424" y="11918"/>
                    <a:pt x="11407" y="11912"/>
                    <a:pt x="11415" y="11875"/>
                  </a:cubicBezTo>
                  <a:cubicBezTo>
                    <a:pt x="11362" y="11902"/>
                    <a:pt x="11336" y="11833"/>
                    <a:pt x="11291" y="11817"/>
                  </a:cubicBezTo>
                  <a:cubicBezTo>
                    <a:pt x="11283" y="12399"/>
                    <a:pt x="11336" y="12976"/>
                    <a:pt x="11367" y="13553"/>
                  </a:cubicBezTo>
                  <a:cubicBezTo>
                    <a:pt x="11407" y="14231"/>
                    <a:pt x="11451" y="14903"/>
                    <a:pt x="11499" y="15580"/>
                  </a:cubicBezTo>
                  <a:cubicBezTo>
                    <a:pt x="11566" y="16438"/>
                    <a:pt x="11641" y="17295"/>
                    <a:pt x="11716" y="18153"/>
                  </a:cubicBezTo>
                  <a:cubicBezTo>
                    <a:pt x="11729" y="18280"/>
                    <a:pt x="11743" y="18412"/>
                    <a:pt x="11716" y="18576"/>
                  </a:cubicBezTo>
                  <a:cubicBezTo>
                    <a:pt x="11619" y="18280"/>
                    <a:pt x="11637" y="17983"/>
                    <a:pt x="11526" y="17729"/>
                  </a:cubicBezTo>
                  <a:cubicBezTo>
                    <a:pt x="11433" y="17824"/>
                    <a:pt x="11398" y="17771"/>
                    <a:pt x="11376" y="17650"/>
                  </a:cubicBezTo>
                  <a:cubicBezTo>
                    <a:pt x="11300" y="17216"/>
                    <a:pt x="11265" y="16776"/>
                    <a:pt x="11230" y="16337"/>
                  </a:cubicBezTo>
                  <a:cubicBezTo>
                    <a:pt x="11163" y="15464"/>
                    <a:pt x="11079" y="14590"/>
                    <a:pt x="11061" y="13712"/>
                  </a:cubicBezTo>
                  <a:cubicBezTo>
                    <a:pt x="11057" y="13601"/>
                    <a:pt x="11070" y="13527"/>
                    <a:pt x="11181" y="13548"/>
                  </a:cubicBezTo>
                  <a:cubicBezTo>
                    <a:pt x="11172" y="13082"/>
                    <a:pt x="11163" y="12616"/>
                    <a:pt x="11154" y="12156"/>
                  </a:cubicBezTo>
                  <a:cubicBezTo>
                    <a:pt x="11150" y="12013"/>
                    <a:pt x="11154" y="11870"/>
                    <a:pt x="11190" y="11727"/>
                  </a:cubicBezTo>
                  <a:cubicBezTo>
                    <a:pt x="10946" y="11494"/>
                    <a:pt x="10663" y="11341"/>
                    <a:pt x="10398" y="11145"/>
                  </a:cubicBezTo>
                  <a:cubicBezTo>
                    <a:pt x="10354" y="11113"/>
                    <a:pt x="10296" y="11103"/>
                    <a:pt x="10274" y="11039"/>
                  </a:cubicBezTo>
                  <a:cubicBezTo>
                    <a:pt x="10234" y="11002"/>
                    <a:pt x="10186" y="11002"/>
                    <a:pt x="10137" y="10991"/>
                  </a:cubicBezTo>
                  <a:cubicBezTo>
                    <a:pt x="9867" y="10923"/>
                    <a:pt x="9867" y="10923"/>
                    <a:pt x="9827" y="11251"/>
                  </a:cubicBezTo>
                  <a:cubicBezTo>
                    <a:pt x="9818" y="11314"/>
                    <a:pt x="9810" y="11372"/>
                    <a:pt x="9805" y="11436"/>
                  </a:cubicBezTo>
                  <a:cubicBezTo>
                    <a:pt x="9779" y="11865"/>
                    <a:pt x="9783" y="12293"/>
                    <a:pt x="9854" y="12712"/>
                  </a:cubicBezTo>
                  <a:cubicBezTo>
                    <a:pt x="9916" y="12738"/>
                    <a:pt x="9916" y="12812"/>
                    <a:pt x="9929" y="12865"/>
                  </a:cubicBezTo>
                  <a:cubicBezTo>
                    <a:pt x="10097" y="13532"/>
                    <a:pt x="10279" y="14194"/>
                    <a:pt x="10433" y="14860"/>
                  </a:cubicBezTo>
                  <a:cubicBezTo>
                    <a:pt x="10464" y="14987"/>
                    <a:pt x="10526" y="15104"/>
                    <a:pt x="10544" y="15279"/>
                  </a:cubicBezTo>
                  <a:cubicBezTo>
                    <a:pt x="10442" y="15120"/>
                    <a:pt x="10424" y="14945"/>
                    <a:pt x="10332" y="14829"/>
                  </a:cubicBezTo>
                  <a:cubicBezTo>
                    <a:pt x="10340" y="15030"/>
                    <a:pt x="10411" y="15215"/>
                    <a:pt x="10455" y="15411"/>
                  </a:cubicBezTo>
                  <a:cubicBezTo>
                    <a:pt x="10743" y="16634"/>
                    <a:pt x="11008" y="17867"/>
                    <a:pt x="11322" y="19084"/>
                  </a:cubicBezTo>
                  <a:cubicBezTo>
                    <a:pt x="11336" y="19142"/>
                    <a:pt x="11345" y="19216"/>
                    <a:pt x="11398" y="19243"/>
                  </a:cubicBezTo>
                  <a:cubicBezTo>
                    <a:pt x="11557" y="19328"/>
                    <a:pt x="11707" y="19418"/>
                    <a:pt x="11884" y="19439"/>
                  </a:cubicBezTo>
                  <a:cubicBezTo>
                    <a:pt x="12008" y="19449"/>
                    <a:pt x="12043" y="19402"/>
                    <a:pt x="12035" y="19259"/>
                  </a:cubicBezTo>
                  <a:cubicBezTo>
                    <a:pt x="11968" y="17925"/>
                    <a:pt x="11968" y="16575"/>
                    <a:pt x="11937" y="15236"/>
                  </a:cubicBezTo>
                  <a:close/>
                  <a:moveTo>
                    <a:pt x="11420" y="11875"/>
                  </a:moveTo>
                  <a:cubicBezTo>
                    <a:pt x="11420" y="11875"/>
                    <a:pt x="11420" y="11875"/>
                    <a:pt x="11420" y="11875"/>
                  </a:cubicBezTo>
                  <a:cubicBezTo>
                    <a:pt x="11420" y="11875"/>
                    <a:pt x="11424" y="11875"/>
                    <a:pt x="11420" y="11875"/>
                  </a:cubicBezTo>
                  <a:cubicBezTo>
                    <a:pt x="11424" y="11875"/>
                    <a:pt x="11420" y="11875"/>
                    <a:pt x="11420" y="11875"/>
                  </a:cubicBezTo>
                  <a:close/>
                  <a:moveTo>
                    <a:pt x="14269" y="16538"/>
                  </a:moveTo>
                  <a:cubicBezTo>
                    <a:pt x="14158" y="17099"/>
                    <a:pt x="14030" y="17655"/>
                    <a:pt x="13875" y="18205"/>
                  </a:cubicBezTo>
                  <a:cubicBezTo>
                    <a:pt x="13848" y="18301"/>
                    <a:pt x="13835" y="18407"/>
                    <a:pt x="13760" y="18475"/>
                  </a:cubicBezTo>
                  <a:cubicBezTo>
                    <a:pt x="13742" y="18534"/>
                    <a:pt x="13729" y="18587"/>
                    <a:pt x="13711" y="18645"/>
                  </a:cubicBezTo>
                  <a:cubicBezTo>
                    <a:pt x="13685" y="18756"/>
                    <a:pt x="13685" y="18835"/>
                    <a:pt x="13817" y="18819"/>
                  </a:cubicBezTo>
                  <a:cubicBezTo>
                    <a:pt x="13919" y="18809"/>
                    <a:pt x="14021" y="18814"/>
                    <a:pt x="14118" y="18825"/>
                  </a:cubicBezTo>
                  <a:cubicBezTo>
                    <a:pt x="14211" y="18835"/>
                    <a:pt x="14251" y="18793"/>
                    <a:pt x="14282" y="18687"/>
                  </a:cubicBezTo>
                  <a:cubicBezTo>
                    <a:pt x="14866" y="16866"/>
                    <a:pt x="15450" y="15046"/>
                    <a:pt x="16038" y="13230"/>
                  </a:cubicBezTo>
                  <a:cubicBezTo>
                    <a:pt x="16087" y="13077"/>
                    <a:pt x="16069" y="12971"/>
                    <a:pt x="15954" y="12881"/>
                  </a:cubicBezTo>
                  <a:cubicBezTo>
                    <a:pt x="15812" y="12775"/>
                    <a:pt x="15675" y="12659"/>
                    <a:pt x="15538" y="12537"/>
                  </a:cubicBezTo>
                  <a:cubicBezTo>
                    <a:pt x="15401" y="12410"/>
                    <a:pt x="15401" y="12309"/>
                    <a:pt x="15534" y="12177"/>
                  </a:cubicBezTo>
                  <a:cubicBezTo>
                    <a:pt x="15622" y="12087"/>
                    <a:pt x="15715" y="12002"/>
                    <a:pt x="15812" y="11933"/>
                  </a:cubicBezTo>
                  <a:cubicBezTo>
                    <a:pt x="15949" y="11838"/>
                    <a:pt x="15989" y="11695"/>
                    <a:pt x="16007" y="11521"/>
                  </a:cubicBezTo>
                  <a:cubicBezTo>
                    <a:pt x="16047" y="11076"/>
                    <a:pt x="16095" y="10631"/>
                    <a:pt x="16135" y="10187"/>
                  </a:cubicBezTo>
                  <a:cubicBezTo>
                    <a:pt x="16193" y="9557"/>
                    <a:pt x="16228" y="8927"/>
                    <a:pt x="16202" y="8297"/>
                  </a:cubicBezTo>
                  <a:cubicBezTo>
                    <a:pt x="16197" y="8170"/>
                    <a:pt x="16171" y="8049"/>
                    <a:pt x="16153" y="7927"/>
                  </a:cubicBezTo>
                  <a:cubicBezTo>
                    <a:pt x="16149" y="7890"/>
                    <a:pt x="16140" y="7837"/>
                    <a:pt x="16100" y="7842"/>
                  </a:cubicBezTo>
                  <a:cubicBezTo>
                    <a:pt x="16078" y="7842"/>
                    <a:pt x="16051" y="7879"/>
                    <a:pt x="16038" y="7906"/>
                  </a:cubicBezTo>
                  <a:cubicBezTo>
                    <a:pt x="15972" y="8012"/>
                    <a:pt x="15936" y="8139"/>
                    <a:pt x="15896" y="8260"/>
                  </a:cubicBezTo>
                  <a:cubicBezTo>
                    <a:pt x="15463" y="9626"/>
                    <a:pt x="15202" y="11050"/>
                    <a:pt x="14919" y="12468"/>
                  </a:cubicBezTo>
                  <a:cubicBezTo>
                    <a:pt x="14888" y="12627"/>
                    <a:pt x="14830" y="12786"/>
                    <a:pt x="14870" y="12955"/>
                  </a:cubicBezTo>
                  <a:cubicBezTo>
                    <a:pt x="14905" y="13103"/>
                    <a:pt x="14839" y="13241"/>
                    <a:pt x="14821" y="13378"/>
                  </a:cubicBezTo>
                  <a:cubicBezTo>
                    <a:pt x="14675" y="14437"/>
                    <a:pt x="14472" y="15485"/>
                    <a:pt x="14269" y="16538"/>
                  </a:cubicBezTo>
                  <a:close/>
                  <a:moveTo>
                    <a:pt x="12490" y="1136"/>
                  </a:moveTo>
                  <a:cubicBezTo>
                    <a:pt x="12610" y="1268"/>
                    <a:pt x="12627" y="1459"/>
                    <a:pt x="12689" y="1623"/>
                  </a:cubicBezTo>
                  <a:cubicBezTo>
                    <a:pt x="12698" y="1607"/>
                    <a:pt x="12707" y="1597"/>
                    <a:pt x="12716" y="1581"/>
                  </a:cubicBezTo>
                  <a:cubicBezTo>
                    <a:pt x="12658" y="1247"/>
                    <a:pt x="12579" y="930"/>
                    <a:pt x="12375" y="676"/>
                  </a:cubicBezTo>
                  <a:cubicBezTo>
                    <a:pt x="12442" y="644"/>
                    <a:pt x="12477" y="697"/>
                    <a:pt x="12517" y="739"/>
                  </a:cubicBezTo>
                  <a:cubicBezTo>
                    <a:pt x="12658" y="882"/>
                    <a:pt x="12734" y="1067"/>
                    <a:pt x="12804" y="1268"/>
                  </a:cubicBezTo>
                  <a:cubicBezTo>
                    <a:pt x="12849" y="1390"/>
                    <a:pt x="12835" y="1612"/>
                    <a:pt x="12937" y="1612"/>
                  </a:cubicBezTo>
                  <a:cubicBezTo>
                    <a:pt x="13048" y="1612"/>
                    <a:pt x="13101" y="1411"/>
                    <a:pt x="13158" y="1279"/>
                  </a:cubicBezTo>
                  <a:cubicBezTo>
                    <a:pt x="13167" y="1253"/>
                    <a:pt x="13180" y="1226"/>
                    <a:pt x="13189" y="1200"/>
                  </a:cubicBezTo>
                  <a:cubicBezTo>
                    <a:pt x="13340" y="628"/>
                    <a:pt x="13198" y="152"/>
                    <a:pt x="12738" y="25"/>
                  </a:cubicBezTo>
                  <a:cubicBezTo>
                    <a:pt x="12574" y="-23"/>
                    <a:pt x="12402" y="3"/>
                    <a:pt x="12238" y="56"/>
                  </a:cubicBezTo>
                  <a:cubicBezTo>
                    <a:pt x="11933" y="152"/>
                    <a:pt x="11623" y="226"/>
                    <a:pt x="11309" y="289"/>
                  </a:cubicBezTo>
                  <a:cubicBezTo>
                    <a:pt x="10818" y="390"/>
                    <a:pt x="10336" y="554"/>
                    <a:pt x="9885" y="819"/>
                  </a:cubicBezTo>
                  <a:cubicBezTo>
                    <a:pt x="9699" y="930"/>
                    <a:pt x="9531" y="1073"/>
                    <a:pt x="9403" y="1268"/>
                  </a:cubicBezTo>
                  <a:cubicBezTo>
                    <a:pt x="9376" y="1311"/>
                    <a:pt x="9314" y="1385"/>
                    <a:pt x="9429" y="1390"/>
                  </a:cubicBezTo>
                  <a:cubicBezTo>
                    <a:pt x="9849" y="1411"/>
                    <a:pt x="10274" y="1438"/>
                    <a:pt x="10690" y="1491"/>
                  </a:cubicBezTo>
                  <a:cubicBezTo>
                    <a:pt x="10716" y="1485"/>
                    <a:pt x="10739" y="1485"/>
                    <a:pt x="10765" y="1480"/>
                  </a:cubicBezTo>
                  <a:cubicBezTo>
                    <a:pt x="10765" y="1480"/>
                    <a:pt x="10765" y="1480"/>
                    <a:pt x="10765" y="1480"/>
                  </a:cubicBezTo>
                  <a:cubicBezTo>
                    <a:pt x="10792" y="1496"/>
                    <a:pt x="10827" y="1512"/>
                    <a:pt x="10840" y="1475"/>
                  </a:cubicBezTo>
                  <a:cubicBezTo>
                    <a:pt x="10854" y="1443"/>
                    <a:pt x="10818" y="1438"/>
                    <a:pt x="10796" y="1427"/>
                  </a:cubicBezTo>
                  <a:cubicBezTo>
                    <a:pt x="10787" y="1369"/>
                    <a:pt x="10756" y="1385"/>
                    <a:pt x="10725" y="1390"/>
                  </a:cubicBezTo>
                  <a:cubicBezTo>
                    <a:pt x="10668" y="1316"/>
                    <a:pt x="10575" y="1369"/>
                    <a:pt x="10513" y="1306"/>
                  </a:cubicBezTo>
                  <a:cubicBezTo>
                    <a:pt x="10553" y="1237"/>
                    <a:pt x="10615" y="1247"/>
                    <a:pt x="10668" y="1242"/>
                  </a:cubicBezTo>
                  <a:cubicBezTo>
                    <a:pt x="11221" y="1216"/>
                    <a:pt x="11743" y="1734"/>
                    <a:pt x="11818" y="2396"/>
                  </a:cubicBezTo>
                  <a:cubicBezTo>
                    <a:pt x="11840" y="2597"/>
                    <a:pt x="11853" y="2613"/>
                    <a:pt x="12017" y="2533"/>
                  </a:cubicBezTo>
                  <a:cubicBezTo>
                    <a:pt x="12344" y="2375"/>
                    <a:pt x="12473" y="2052"/>
                    <a:pt x="12508" y="1655"/>
                  </a:cubicBezTo>
                  <a:cubicBezTo>
                    <a:pt x="12530" y="1485"/>
                    <a:pt x="12521" y="1311"/>
                    <a:pt x="12490" y="1136"/>
                  </a:cubicBezTo>
                  <a:close/>
                  <a:moveTo>
                    <a:pt x="13202" y="1655"/>
                  </a:moveTo>
                  <a:cubicBezTo>
                    <a:pt x="12884" y="2152"/>
                    <a:pt x="12676" y="2735"/>
                    <a:pt x="12335" y="3216"/>
                  </a:cubicBezTo>
                  <a:cubicBezTo>
                    <a:pt x="12366" y="3280"/>
                    <a:pt x="12402" y="3232"/>
                    <a:pt x="12433" y="3216"/>
                  </a:cubicBezTo>
                  <a:cubicBezTo>
                    <a:pt x="12565" y="3147"/>
                    <a:pt x="12694" y="3068"/>
                    <a:pt x="12822" y="2999"/>
                  </a:cubicBezTo>
                  <a:cubicBezTo>
                    <a:pt x="13012" y="2893"/>
                    <a:pt x="13198" y="2787"/>
                    <a:pt x="13415" y="2819"/>
                  </a:cubicBezTo>
                  <a:cubicBezTo>
                    <a:pt x="13198" y="2925"/>
                    <a:pt x="12986" y="3042"/>
                    <a:pt x="12791" y="3195"/>
                  </a:cubicBezTo>
                  <a:cubicBezTo>
                    <a:pt x="12689" y="3280"/>
                    <a:pt x="12663" y="3386"/>
                    <a:pt x="12725" y="3507"/>
                  </a:cubicBezTo>
                  <a:cubicBezTo>
                    <a:pt x="12977" y="4010"/>
                    <a:pt x="12990" y="4052"/>
                    <a:pt x="13419" y="3793"/>
                  </a:cubicBezTo>
                  <a:cubicBezTo>
                    <a:pt x="13455" y="3772"/>
                    <a:pt x="13490" y="3751"/>
                    <a:pt x="13521" y="3724"/>
                  </a:cubicBezTo>
                  <a:cubicBezTo>
                    <a:pt x="13773" y="3513"/>
                    <a:pt x="14038" y="3465"/>
                    <a:pt x="14317" y="3650"/>
                  </a:cubicBezTo>
                  <a:cubicBezTo>
                    <a:pt x="14388" y="3698"/>
                    <a:pt x="14406" y="3671"/>
                    <a:pt x="14414" y="3587"/>
                  </a:cubicBezTo>
                  <a:cubicBezTo>
                    <a:pt x="14441" y="3349"/>
                    <a:pt x="14454" y="3105"/>
                    <a:pt x="14507" y="2872"/>
                  </a:cubicBezTo>
                  <a:cubicBezTo>
                    <a:pt x="14552" y="2671"/>
                    <a:pt x="14485" y="2581"/>
                    <a:pt x="14357" y="2491"/>
                  </a:cubicBezTo>
                  <a:cubicBezTo>
                    <a:pt x="14118" y="2322"/>
                    <a:pt x="13870" y="2195"/>
                    <a:pt x="13583" y="2184"/>
                  </a:cubicBezTo>
                  <a:cubicBezTo>
                    <a:pt x="13667" y="2131"/>
                    <a:pt x="13755" y="2110"/>
                    <a:pt x="13848" y="2131"/>
                  </a:cubicBezTo>
                  <a:cubicBezTo>
                    <a:pt x="14087" y="2179"/>
                    <a:pt x="14291" y="2322"/>
                    <a:pt x="14468" y="2507"/>
                  </a:cubicBezTo>
                  <a:cubicBezTo>
                    <a:pt x="14538" y="2581"/>
                    <a:pt x="14560" y="2565"/>
                    <a:pt x="14591" y="2465"/>
                  </a:cubicBezTo>
                  <a:cubicBezTo>
                    <a:pt x="14711" y="2052"/>
                    <a:pt x="14605" y="1575"/>
                    <a:pt x="14326" y="1295"/>
                  </a:cubicBezTo>
                  <a:cubicBezTo>
                    <a:pt x="14158" y="1126"/>
                    <a:pt x="13968" y="1041"/>
                    <a:pt x="13755" y="1141"/>
                  </a:cubicBezTo>
                  <a:cubicBezTo>
                    <a:pt x="13658" y="1184"/>
                    <a:pt x="13565" y="1231"/>
                    <a:pt x="13468" y="1263"/>
                  </a:cubicBezTo>
                  <a:cubicBezTo>
                    <a:pt x="13455" y="1348"/>
                    <a:pt x="13432" y="1369"/>
                    <a:pt x="13379" y="1348"/>
                  </a:cubicBezTo>
                  <a:cubicBezTo>
                    <a:pt x="13379" y="1358"/>
                    <a:pt x="13397" y="1369"/>
                    <a:pt x="13384" y="1390"/>
                  </a:cubicBezTo>
                  <a:cubicBezTo>
                    <a:pt x="13366" y="1411"/>
                    <a:pt x="13362" y="1385"/>
                    <a:pt x="13348" y="1385"/>
                  </a:cubicBezTo>
                  <a:cubicBezTo>
                    <a:pt x="13348" y="1385"/>
                    <a:pt x="13348" y="1380"/>
                    <a:pt x="13348" y="1380"/>
                  </a:cubicBezTo>
                  <a:cubicBezTo>
                    <a:pt x="13353" y="1512"/>
                    <a:pt x="13256" y="1570"/>
                    <a:pt x="13202" y="1655"/>
                  </a:cubicBezTo>
                  <a:close/>
                  <a:moveTo>
                    <a:pt x="13379" y="1353"/>
                  </a:moveTo>
                  <a:cubicBezTo>
                    <a:pt x="13379" y="1353"/>
                    <a:pt x="13379" y="1353"/>
                    <a:pt x="13379" y="1353"/>
                  </a:cubicBezTo>
                  <a:cubicBezTo>
                    <a:pt x="13379" y="1353"/>
                    <a:pt x="13379" y="1348"/>
                    <a:pt x="13379" y="1353"/>
                  </a:cubicBezTo>
                  <a:cubicBezTo>
                    <a:pt x="13379" y="1348"/>
                    <a:pt x="13379" y="1353"/>
                    <a:pt x="13379" y="1353"/>
                  </a:cubicBezTo>
                  <a:close/>
                  <a:moveTo>
                    <a:pt x="16414" y="18851"/>
                  </a:moveTo>
                  <a:cubicBezTo>
                    <a:pt x="16768" y="18878"/>
                    <a:pt x="17135" y="18528"/>
                    <a:pt x="17192" y="18115"/>
                  </a:cubicBezTo>
                  <a:cubicBezTo>
                    <a:pt x="17232" y="17830"/>
                    <a:pt x="17175" y="17560"/>
                    <a:pt x="17126" y="17285"/>
                  </a:cubicBezTo>
                  <a:cubicBezTo>
                    <a:pt x="17113" y="17210"/>
                    <a:pt x="17077" y="17163"/>
                    <a:pt x="17007" y="17168"/>
                  </a:cubicBezTo>
                  <a:cubicBezTo>
                    <a:pt x="16909" y="17210"/>
                    <a:pt x="16808" y="17195"/>
                    <a:pt x="16706" y="17195"/>
                  </a:cubicBezTo>
                  <a:cubicBezTo>
                    <a:pt x="16250" y="17195"/>
                    <a:pt x="15795" y="17195"/>
                    <a:pt x="15335" y="17189"/>
                  </a:cubicBezTo>
                  <a:cubicBezTo>
                    <a:pt x="15237" y="17189"/>
                    <a:pt x="15189" y="17226"/>
                    <a:pt x="15149" y="17332"/>
                  </a:cubicBezTo>
                  <a:cubicBezTo>
                    <a:pt x="14972" y="17809"/>
                    <a:pt x="14782" y="18280"/>
                    <a:pt x="14547" y="18719"/>
                  </a:cubicBezTo>
                  <a:cubicBezTo>
                    <a:pt x="14534" y="18740"/>
                    <a:pt x="14534" y="18772"/>
                    <a:pt x="14503" y="18777"/>
                  </a:cubicBezTo>
                  <a:cubicBezTo>
                    <a:pt x="14503" y="18798"/>
                    <a:pt x="14499" y="18819"/>
                    <a:pt x="14499" y="18841"/>
                  </a:cubicBezTo>
                  <a:cubicBezTo>
                    <a:pt x="14928" y="18867"/>
                    <a:pt x="15361" y="18894"/>
                    <a:pt x="15790" y="18915"/>
                  </a:cubicBezTo>
                  <a:cubicBezTo>
                    <a:pt x="16144" y="18931"/>
                    <a:pt x="16144" y="18920"/>
                    <a:pt x="16149" y="18497"/>
                  </a:cubicBezTo>
                  <a:cubicBezTo>
                    <a:pt x="16153" y="18221"/>
                    <a:pt x="16082" y="17962"/>
                    <a:pt x="15980" y="17708"/>
                  </a:cubicBezTo>
                  <a:cubicBezTo>
                    <a:pt x="16056" y="17713"/>
                    <a:pt x="16069" y="17777"/>
                    <a:pt x="16091" y="17824"/>
                  </a:cubicBezTo>
                  <a:cubicBezTo>
                    <a:pt x="16224" y="18105"/>
                    <a:pt x="16312" y="18407"/>
                    <a:pt x="16348" y="18729"/>
                  </a:cubicBezTo>
                  <a:cubicBezTo>
                    <a:pt x="16352" y="18782"/>
                    <a:pt x="16334" y="18846"/>
                    <a:pt x="16414" y="18851"/>
                  </a:cubicBezTo>
                  <a:close/>
                  <a:moveTo>
                    <a:pt x="14503" y="18777"/>
                  </a:moveTo>
                  <a:cubicBezTo>
                    <a:pt x="14503" y="18777"/>
                    <a:pt x="14503" y="18777"/>
                    <a:pt x="14503" y="18777"/>
                  </a:cubicBezTo>
                  <a:cubicBezTo>
                    <a:pt x="14507" y="18777"/>
                    <a:pt x="14507" y="18777"/>
                    <a:pt x="14503" y="18777"/>
                  </a:cubicBezTo>
                  <a:cubicBezTo>
                    <a:pt x="14507" y="18777"/>
                    <a:pt x="14503" y="18777"/>
                    <a:pt x="14503" y="18777"/>
                  </a:cubicBezTo>
                  <a:close/>
                  <a:moveTo>
                    <a:pt x="13141" y="13664"/>
                  </a:moveTo>
                  <a:cubicBezTo>
                    <a:pt x="13154" y="13389"/>
                    <a:pt x="13171" y="13108"/>
                    <a:pt x="13202" y="12828"/>
                  </a:cubicBezTo>
                  <a:cubicBezTo>
                    <a:pt x="13247" y="12426"/>
                    <a:pt x="13238" y="12426"/>
                    <a:pt x="12888" y="12410"/>
                  </a:cubicBezTo>
                  <a:cubicBezTo>
                    <a:pt x="12915" y="12976"/>
                    <a:pt x="12849" y="13537"/>
                    <a:pt x="12791" y="14098"/>
                  </a:cubicBezTo>
                  <a:cubicBezTo>
                    <a:pt x="12756" y="14432"/>
                    <a:pt x="12734" y="14765"/>
                    <a:pt x="12632" y="15083"/>
                  </a:cubicBezTo>
                  <a:cubicBezTo>
                    <a:pt x="12627" y="15104"/>
                    <a:pt x="12614" y="15125"/>
                    <a:pt x="12614" y="15146"/>
                  </a:cubicBezTo>
                  <a:cubicBezTo>
                    <a:pt x="12557" y="15861"/>
                    <a:pt x="12495" y="16575"/>
                    <a:pt x="12442" y="17290"/>
                  </a:cubicBezTo>
                  <a:cubicBezTo>
                    <a:pt x="12406" y="17761"/>
                    <a:pt x="12380" y="18227"/>
                    <a:pt x="12353" y="18698"/>
                  </a:cubicBezTo>
                  <a:cubicBezTo>
                    <a:pt x="12349" y="18745"/>
                    <a:pt x="12318" y="18830"/>
                    <a:pt x="12411" y="18809"/>
                  </a:cubicBezTo>
                  <a:cubicBezTo>
                    <a:pt x="12636" y="18761"/>
                    <a:pt x="12862" y="18788"/>
                    <a:pt x="13087" y="18788"/>
                  </a:cubicBezTo>
                  <a:cubicBezTo>
                    <a:pt x="13176" y="18788"/>
                    <a:pt x="13194" y="18767"/>
                    <a:pt x="13171" y="18661"/>
                  </a:cubicBezTo>
                  <a:cubicBezTo>
                    <a:pt x="13105" y="18295"/>
                    <a:pt x="13074" y="17925"/>
                    <a:pt x="13070" y="17549"/>
                  </a:cubicBezTo>
                  <a:cubicBezTo>
                    <a:pt x="13056" y="16671"/>
                    <a:pt x="13079" y="15792"/>
                    <a:pt x="13105" y="14913"/>
                  </a:cubicBezTo>
                  <a:cubicBezTo>
                    <a:pt x="13114" y="14495"/>
                    <a:pt x="13118" y="14077"/>
                    <a:pt x="13141" y="13664"/>
                  </a:cubicBezTo>
                  <a:close/>
                  <a:moveTo>
                    <a:pt x="7186" y="20031"/>
                  </a:moveTo>
                  <a:cubicBezTo>
                    <a:pt x="7182" y="20047"/>
                    <a:pt x="7186" y="20063"/>
                    <a:pt x="7182" y="20084"/>
                  </a:cubicBezTo>
                  <a:cubicBezTo>
                    <a:pt x="7200" y="20090"/>
                    <a:pt x="7222" y="20090"/>
                    <a:pt x="7240" y="20095"/>
                  </a:cubicBezTo>
                  <a:cubicBezTo>
                    <a:pt x="7341" y="20021"/>
                    <a:pt x="7447" y="19957"/>
                    <a:pt x="7536" y="19857"/>
                  </a:cubicBezTo>
                  <a:cubicBezTo>
                    <a:pt x="7859" y="19497"/>
                    <a:pt x="8186" y="19142"/>
                    <a:pt x="8509" y="18782"/>
                  </a:cubicBezTo>
                  <a:cubicBezTo>
                    <a:pt x="8624" y="18655"/>
                    <a:pt x="8748" y="18581"/>
                    <a:pt x="8907" y="18592"/>
                  </a:cubicBezTo>
                  <a:cubicBezTo>
                    <a:pt x="9049" y="18602"/>
                    <a:pt x="9195" y="18592"/>
                    <a:pt x="9336" y="18587"/>
                  </a:cubicBezTo>
                  <a:cubicBezTo>
                    <a:pt x="9491" y="18587"/>
                    <a:pt x="9642" y="18587"/>
                    <a:pt x="9796" y="18587"/>
                  </a:cubicBezTo>
                  <a:cubicBezTo>
                    <a:pt x="9796" y="18571"/>
                    <a:pt x="9796" y="18550"/>
                    <a:pt x="9796" y="18534"/>
                  </a:cubicBezTo>
                  <a:cubicBezTo>
                    <a:pt x="9730" y="18470"/>
                    <a:pt x="9664" y="18412"/>
                    <a:pt x="9597" y="18348"/>
                  </a:cubicBezTo>
                  <a:cubicBezTo>
                    <a:pt x="9580" y="18364"/>
                    <a:pt x="9562" y="18354"/>
                    <a:pt x="9544" y="18343"/>
                  </a:cubicBezTo>
                  <a:cubicBezTo>
                    <a:pt x="9279" y="18121"/>
                    <a:pt x="8978" y="17978"/>
                    <a:pt x="8677" y="17846"/>
                  </a:cubicBezTo>
                  <a:cubicBezTo>
                    <a:pt x="8633" y="17851"/>
                    <a:pt x="8593" y="17872"/>
                    <a:pt x="8558" y="17904"/>
                  </a:cubicBezTo>
                  <a:cubicBezTo>
                    <a:pt x="8567" y="17978"/>
                    <a:pt x="8553" y="18026"/>
                    <a:pt x="8487" y="18041"/>
                  </a:cubicBezTo>
                  <a:cubicBezTo>
                    <a:pt x="7943" y="18179"/>
                    <a:pt x="7421" y="18396"/>
                    <a:pt x="6895" y="18602"/>
                  </a:cubicBezTo>
                  <a:cubicBezTo>
                    <a:pt x="7213" y="19026"/>
                    <a:pt x="7368" y="19481"/>
                    <a:pt x="7186" y="20031"/>
                  </a:cubicBezTo>
                  <a:close/>
                  <a:moveTo>
                    <a:pt x="9177" y="2248"/>
                  </a:moveTo>
                  <a:cubicBezTo>
                    <a:pt x="9469" y="2481"/>
                    <a:pt x="9792" y="2475"/>
                    <a:pt x="10119" y="2401"/>
                  </a:cubicBezTo>
                  <a:cubicBezTo>
                    <a:pt x="10332" y="2353"/>
                    <a:pt x="10539" y="2279"/>
                    <a:pt x="10752" y="2232"/>
                  </a:cubicBezTo>
                  <a:cubicBezTo>
                    <a:pt x="11101" y="2158"/>
                    <a:pt x="11349" y="2491"/>
                    <a:pt x="11261" y="2904"/>
                  </a:cubicBezTo>
                  <a:cubicBezTo>
                    <a:pt x="11234" y="3020"/>
                    <a:pt x="11172" y="3116"/>
                    <a:pt x="11115" y="3243"/>
                  </a:cubicBezTo>
                  <a:cubicBezTo>
                    <a:pt x="11349" y="3079"/>
                    <a:pt x="11486" y="2856"/>
                    <a:pt x="11548" y="2570"/>
                  </a:cubicBezTo>
                  <a:cubicBezTo>
                    <a:pt x="11491" y="2353"/>
                    <a:pt x="11424" y="2158"/>
                    <a:pt x="11212" y="2062"/>
                  </a:cubicBezTo>
                  <a:cubicBezTo>
                    <a:pt x="11008" y="1972"/>
                    <a:pt x="10814" y="1893"/>
                    <a:pt x="10601" y="1914"/>
                  </a:cubicBezTo>
                  <a:cubicBezTo>
                    <a:pt x="10438" y="1930"/>
                    <a:pt x="10279" y="1946"/>
                    <a:pt x="10119" y="1994"/>
                  </a:cubicBezTo>
                  <a:cubicBezTo>
                    <a:pt x="10066" y="2009"/>
                    <a:pt x="10004" y="2004"/>
                    <a:pt x="9947" y="2009"/>
                  </a:cubicBezTo>
                  <a:cubicBezTo>
                    <a:pt x="9854" y="2020"/>
                    <a:pt x="9801" y="2131"/>
                    <a:pt x="9703" y="2147"/>
                  </a:cubicBezTo>
                  <a:cubicBezTo>
                    <a:pt x="9699" y="2057"/>
                    <a:pt x="9752" y="2009"/>
                    <a:pt x="9765" y="1946"/>
                  </a:cubicBezTo>
                  <a:cubicBezTo>
                    <a:pt x="9588" y="2057"/>
                    <a:pt x="9398" y="2041"/>
                    <a:pt x="9208" y="2073"/>
                  </a:cubicBezTo>
                  <a:cubicBezTo>
                    <a:pt x="9151" y="2084"/>
                    <a:pt x="9093" y="2057"/>
                    <a:pt x="9040" y="2099"/>
                  </a:cubicBezTo>
                  <a:cubicBezTo>
                    <a:pt x="9071" y="2163"/>
                    <a:pt x="9124" y="2205"/>
                    <a:pt x="9177" y="2248"/>
                  </a:cubicBezTo>
                  <a:close/>
                  <a:moveTo>
                    <a:pt x="10163" y="21090"/>
                  </a:moveTo>
                  <a:cubicBezTo>
                    <a:pt x="9721" y="21027"/>
                    <a:pt x="9274" y="21000"/>
                    <a:pt x="8828" y="20958"/>
                  </a:cubicBezTo>
                  <a:cubicBezTo>
                    <a:pt x="8602" y="20937"/>
                    <a:pt x="8407" y="20751"/>
                    <a:pt x="8164" y="20788"/>
                  </a:cubicBezTo>
                  <a:cubicBezTo>
                    <a:pt x="8058" y="20804"/>
                    <a:pt x="7943" y="20757"/>
                    <a:pt x="7837" y="20757"/>
                  </a:cubicBezTo>
                  <a:cubicBezTo>
                    <a:pt x="7602" y="20746"/>
                    <a:pt x="7368" y="20741"/>
                    <a:pt x="7129" y="20735"/>
                  </a:cubicBezTo>
                  <a:cubicBezTo>
                    <a:pt x="6979" y="20730"/>
                    <a:pt x="7014" y="20900"/>
                    <a:pt x="6992" y="20989"/>
                  </a:cubicBezTo>
                  <a:cubicBezTo>
                    <a:pt x="6974" y="21069"/>
                    <a:pt x="7067" y="21042"/>
                    <a:pt x="7111" y="21042"/>
                  </a:cubicBezTo>
                  <a:cubicBezTo>
                    <a:pt x="7456" y="21058"/>
                    <a:pt x="7801" y="21064"/>
                    <a:pt x="8146" y="21111"/>
                  </a:cubicBezTo>
                  <a:cubicBezTo>
                    <a:pt x="8368" y="21042"/>
                    <a:pt x="8593" y="21074"/>
                    <a:pt x="8819" y="21079"/>
                  </a:cubicBezTo>
                  <a:cubicBezTo>
                    <a:pt x="9323" y="21090"/>
                    <a:pt x="9827" y="21111"/>
                    <a:pt x="10323" y="21217"/>
                  </a:cubicBezTo>
                  <a:cubicBezTo>
                    <a:pt x="10376" y="21228"/>
                    <a:pt x="10429" y="21259"/>
                    <a:pt x="10486" y="21281"/>
                  </a:cubicBezTo>
                  <a:cubicBezTo>
                    <a:pt x="10831" y="21349"/>
                    <a:pt x="11176" y="21318"/>
                    <a:pt x="11557" y="21371"/>
                  </a:cubicBezTo>
                  <a:cubicBezTo>
                    <a:pt x="11464" y="21286"/>
                    <a:pt x="11398" y="21270"/>
                    <a:pt x="11327" y="21249"/>
                  </a:cubicBezTo>
                  <a:cubicBezTo>
                    <a:pt x="10946" y="21143"/>
                    <a:pt x="10548" y="21148"/>
                    <a:pt x="10163" y="21090"/>
                  </a:cubicBezTo>
                  <a:close/>
                  <a:moveTo>
                    <a:pt x="9447" y="15099"/>
                  </a:moveTo>
                  <a:cubicBezTo>
                    <a:pt x="9478" y="14924"/>
                    <a:pt x="9509" y="14739"/>
                    <a:pt x="9451" y="14543"/>
                  </a:cubicBezTo>
                  <a:cubicBezTo>
                    <a:pt x="9372" y="14876"/>
                    <a:pt x="9288" y="15204"/>
                    <a:pt x="9208" y="15538"/>
                  </a:cubicBezTo>
                  <a:cubicBezTo>
                    <a:pt x="9274" y="15871"/>
                    <a:pt x="9186" y="16184"/>
                    <a:pt x="9128" y="16501"/>
                  </a:cubicBezTo>
                  <a:cubicBezTo>
                    <a:pt x="9102" y="16634"/>
                    <a:pt x="9075" y="16766"/>
                    <a:pt x="9040" y="16898"/>
                  </a:cubicBezTo>
                  <a:cubicBezTo>
                    <a:pt x="9013" y="16988"/>
                    <a:pt x="9031" y="17020"/>
                    <a:pt x="9111" y="17030"/>
                  </a:cubicBezTo>
                  <a:cubicBezTo>
                    <a:pt x="9248" y="17052"/>
                    <a:pt x="9385" y="17089"/>
                    <a:pt x="9522" y="17120"/>
                  </a:cubicBezTo>
                  <a:cubicBezTo>
                    <a:pt x="9571" y="17131"/>
                    <a:pt x="9615" y="17142"/>
                    <a:pt x="9650" y="17184"/>
                  </a:cubicBezTo>
                  <a:cubicBezTo>
                    <a:pt x="9717" y="17189"/>
                    <a:pt x="9805" y="17226"/>
                    <a:pt x="9841" y="17168"/>
                  </a:cubicBezTo>
                  <a:cubicBezTo>
                    <a:pt x="9880" y="17099"/>
                    <a:pt x="9805" y="17025"/>
                    <a:pt x="9770" y="16956"/>
                  </a:cubicBezTo>
                  <a:cubicBezTo>
                    <a:pt x="9496" y="16379"/>
                    <a:pt x="9336" y="15776"/>
                    <a:pt x="9447" y="15099"/>
                  </a:cubicBezTo>
                  <a:close/>
                  <a:moveTo>
                    <a:pt x="13269" y="12272"/>
                  </a:moveTo>
                  <a:cubicBezTo>
                    <a:pt x="13340" y="12076"/>
                    <a:pt x="13415" y="11886"/>
                    <a:pt x="13490" y="11695"/>
                  </a:cubicBezTo>
                  <a:cubicBezTo>
                    <a:pt x="13512" y="11637"/>
                    <a:pt x="13521" y="11589"/>
                    <a:pt x="13490" y="11537"/>
                  </a:cubicBezTo>
                  <a:cubicBezTo>
                    <a:pt x="13410" y="11388"/>
                    <a:pt x="13340" y="11230"/>
                    <a:pt x="13233" y="11103"/>
                  </a:cubicBezTo>
                  <a:cubicBezTo>
                    <a:pt x="12999" y="11245"/>
                    <a:pt x="12840" y="11489"/>
                    <a:pt x="12641" y="11685"/>
                  </a:cubicBezTo>
                  <a:cubicBezTo>
                    <a:pt x="12632" y="11812"/>
                    <a:pt x="12694" y="11912"/>
                    <a:pt x="12716" y="12029"/>
                  </a:cubicBezTo>
                  <a:cubicBezTo>
                    <a:pt x="12738" y="12156"/>
                    <a:pt x="12769" y="12267"/>
                    <a:pt x="12902" y="12283"/>
                  </a:cubicBezTo>
                  <a:cubicBezTo>
                    <a:pt x="13012" y="12299"/>
                    <a:pt x="13118" y="12336"/>
                    <a:pt x="13225" y="12352"/>
                  </a:cubicBezTo>
                  <a:cubicBezTo>
                    <a:pt x="13247" y="12357"/>
                    <a:pt x="13256" y="12304"/>
                    <a:pt x="13269" y="12272"/>
                  </a:cubicBezTo>
                  <a:close/>
                  <a:moveTo>
                    <a:pt x="9027" y="17581"/>
                  </a:moveTo>
                  <a:cubicBezTo>
                    <a:pt x="9009" y="17618"/>
                    <a:pt x="8960" y="17671"/>
                    <a:pt x="9018" y="17713"/>
                  </a:cubicBezTo>
                  <a:cubicBezTo>
                    <a:pt x="9106" y="17782"/>
                    <a:pt x="9186" y="17872"/>
                    <a:pt x="9296" y="17877"/>
                  </a:cubicBezTo>
                  <a:cubicBezTo>
                    <a:pt x="9611" y="17883"/>
                    <a:pt x="9929" y="17877"/>
                    <a:pt x="10279" y="17925"/>
                  </a:cubicBezTo>
                  <a:cubicBezTo>
                    <a:pt x="10163" y="17740"/>
                    <a:pt x="10075" y="17592"/>
                    <a:pt x="9987" y="17443"/>
                  </a:cubicBezTo>
                  <a:cubicBezTo>
                    <a:pt x="9956" y="17390"/>
                    <a:pt x="9911" y="17375"/>
                    <a:pt x="9863" y="17375"/>
                  </a:cubicBezTo>
                  <a:cubicBezTo>
                    <a:pt x="9637" y="17364"/>
                    <a:pt x="9411" y="17353"/>
                    <a:pt x="9186" y="17348"/>
                  </a:cubicBezTo>
                  <a:cubicBezTo>
                    <a:pt x="9066" y="17343"/>
                    <a:pt x="9071" y="17491"/>
                    <a:pt x="9027" y="17581"/>
                  </a:cubicBezTo>
                  <a:close/>
                  <a:moveTo>
                    <a:pt x="9195" y="2973"/>
                  </a:moveTo>
                  <a:cubicBezTo>
                    <a:pt x="9544" y="3031"/>
                    <a:pt x="9836" y="2840"/>
                    <a:pt x="10124" y="2639"/>
                  </a:cubicBezTo>
                  <a:cubicBezTo>
                    <a:pt x="9770" y="2676"/>
                    <a:pt x="9434" y="2629"/>
                    <a:pt x="9124" y="2412"/>
                  </a:cubicBezTo>
                  <a:cubicBezTo>
                    <a:pt x="9115" y="2406"/>
                    <a:pt x="9097" y="2406"/>
                    <a:pt x="9084" y="2406"/>
                  </a:cubicBezTo>
                  <a:cubicBezTo>
                    <a:pt x="8894" y="2332"/>
                    <a:pt x="8721" y="2232"/>
                    <a:pt x="8580" y="2062"/>
                  </a:cubicBezTo>
                  <a:cubicBezTo>
                    <a:pt x="8575" y="2438"/>
                    <a:pt x="8894" y="2920"/>
                    <a:pt x="9195" y="2973"/>
                  </a:cubicBezTo>
                  <a:close/>
                  <a:moveTo>
                    <a:pt x="8748" y="2936"/>
                  </a:moveTo>
                  <a:cubicBezTo>
                    <a:pt x="8642" y="2846"/>
                    <a:pt x="8567" y="2740"/>
                    <a:pt x="8478" y="2623"/>
                  </a:cubicBezTo>
                  <a:cubicBezTo>
                    <a:pt x="8337" y="2936"/>
                    <a:pt x="8337" y="3227"/>
                    <a:pt x="8456" y="3539"/>
                  </a:cubicBezTo>
                  <a:cubicBezTo>
                    <a:pt x="8549" y="3327"/>
                    <a:pt x="8549" y="3073"/>
                    <a:pt x="8748" y="2936"/>
                  </a:cubicBezTo>
                  <a:close/>
                  <a:moveTo>
                    <a:pt x="15883" y="7847"/>
                  </a:moveTo>
                  <a:cubicBezTo>
                    <a:pt x="15795" y="7858"/>
                    <a:pt x="15702" y="7869"/>
                    <a:pt x="15613" y="7879"/>
                  </a:cubicBezTo>
                  <a:cubicBezTo>
                    <a:pt x="15635" y="8059"/>
                    <a:pt x="15657" y="8244"/>
                    <a:pt x="15684" y="8424"/>
                  </a:cubicBezTo>
                  <a:cubicBezTo>
                    <a:pt x="15755" y="8223"/>
                    <a:pt x="15865" y="8054"/>
                    <a:pt x="15883" y="7847"/>
                  </a:cubicBezTo>
                  <a:close/>
                  <a:moveTo>
                    <a:pt x="12711" y="19253"/>
                  </a:moveTo>
                  <a:cubicBezTo>
                    <a:pt x="12778" y="19243"/>
                    <a:pt x="12844" y="19232"/>
                    <a:pt x="12910" y="19222"/>
                  </a:cubicBezTo>
                  <a:cubicBezTo>
                    <a:pt x="12588" y="19142"/>
                    <a:pt x="12406" y="19201"/>
                    <a:pt x="12327" y="19423"/>
                  </a:cubicBezTo>
                  <a:cubicBezTo>
                    <a:pt x="12450" y="19423"/>
                    <a:pt x="12574" y="19423"/>
                    <a:pt x="12694" y="19423"/>
                  </a:cubicBezTo>
                  <a:cubicBezTo>
                    <a:pt x="12667" y="19375"/>
                    <a:pt x="12574" y="19449"/>
                    <a:pt x="12579" y="19343"/>
                  </a:cubicBezTo>
                  <a:cubicBezTo>
                    <a:pt x="12588" y="19243"/>
                    <a:pt x="12658" y="19264"/>
                    <a:pt x="12711" y="19253"/>
                  </a:cubicBezTo>
                  <a:close/>
                  <a:moveTo>
                    <a:pt x="9442" y="21513"/>
                  </a:moveTo>
                  <a:cubicBezTo>
                    <a:pt x="9257" y="21513"/>
                    <a:pt x="9075" y="21513"/>
                    <a:pt x="8890" y="21513"/>
                  </a:cubicBezTo>
                  <a:cubicBezTo>
                    <a:pt x="9261" y="21540"/>
                    <a:pt x="9633" y="21540"/>
                    <a:pt x="10004" y="21513"/>
                  </a:cubicBezTo>
                  <a:cubicBezTo>
                    <a:pt x="9872" y="21503"/>
                    <a:pt x="9739" y="21492"/>
                    <a:pt x="9611" y="21482"/>
                  </a:cubicBezTo>
                  <a:cubicBezTo>
                    <a:pt x="9557" y="21524"/>
                    <a:pt x="9500" y="21513"/>
                    <a:pt x="9442" y="21513"/>
                  </a:cubicBezTo>
                  <a:close/>
                  <a:moveTo>
                    <a:pt x="4355" y="21439"/>
                  </a:moveTo>
                  <a:cubicBezTo>
                    <a:pt x="4271" y="21434"/>
                    <a:pt x="4187" y="21434"/>
                    <a:pt x="4112" y="21498"/>
                  </a:cubicBezTo>
                  <a:cubicBezTo>
                    <a:pt x="4439" y="21498"/>
                    <a:pt x="4767" y="21498"/>
                    <a:pt x="5099" y="21498"/>
                  </a:cubicBezTo>
                  <a:cubicBezTo>
                    <a:pt x="5045" y="21492"/>
                    <a:pt x="4997" y="21492"/>
                    <a:pt x="4944" y="21487"/>
                  </a:cubicBezTo>
                  <a:cubicBezTo>
                    <a:pt x="4745" y="21471"/>
                    <a:pt x="4546" y="21508"/>
                    <a:pt x="4355" y="21439"/>
                  </a:cubicBezTo>
                  <a:close/>
                </a:path>
              </a:pathLst>
            </a:custGeom>
            <a:solidFill>
              <a:schemeClr val="accent6"/>
            </a:solidFill>
            <a:ln>
              <a:noFill/>
            </a:ln>
          </p:spPr>
          <p:txBody>
            <a:bodyPr spcFirstLastPara="1" wrap="square" lIns="38100" tIns="38100" rIns="38100" bIns="381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Calibri"/>
                <a:ea typeface="Calibri"/>
                <a:cs typeface="Calibri"/>
                <a:sym typeface="Calibri"/>
              </a:endParaRPr>
            </a:p>
          </p:txBody>
        </p:sp>
      </p:grpSp>
      <p:sp>
        <p:nvSpPr>
          <p:cNvPr id="96" name="TextBox 95">
            <a:extLst>
              <a:ext uri="{FF2B5EF4-FFF2-40B4-BE49-F238E27FC236}">
                <a16:creationId xmlns:a16="http://schemas.microsoft.com/office/drawing/2014/main" id="{1BACE802-348E-028D-7BDF-60D54873EF4D}"/>
              </a:ext>
            </a:extLst>
          </p:cNvPr>
          <p:cNvSpPr txBox="1"/>
          <p:nvPr/>
        </p:nvSpPr>
        <p:spPr>
          <a:xfrm>
            <a:off x="384048" y="6457169"/>
            <a:ext cx="755072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Arial"/>
                <a:ea typeface="+mn-ea"/>
                <a:cs typeface="+mn-cs"/>
              </a:rPr>
              <a:t>Real scenario with client requiring careful and methodical strategy when deploying agents.</a:t>
            </a:r>
          </a:p>
        </p:txBody>
      </p:sp>
    </p:spTree>
    <p:extLst>
      <p:ext uri="{BB962C8B-B14F-4D97-AF65-F5344CB8AC3E}">
        <p14:creationId xmlns:p14="http://schemas.microsoft.com/office/powerpoint/2010/main" val="20814405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847FA2-7646-E04B-3719-AD4D2FE90EB6}"/>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C98A0265-C87E-8445-1205-F98A88ABB9D6}"/>
              </a:ext>
            </a:extLst>
          </p:cNvPr>
          <p:cNvPicPr>
            <a:picLocks noGrp="1" noChangeAspect="1"/>
          </p:cNvPicPr>
          <p:nvPr>
            <p:ph sz="quarter" idx="11"/>
          </p:nvPr>
        </p:nvPicPr>
        <p:blipFill>
          <a:blip r:embed="rId2">
            <a:alphaModFix amt="17000"/>
          </a:blip>
          <a:stretch>
            <a:fillRect/>
          </a:stretch>
        </p:blipFill>
        <p:spPr>
          <a:xfrm>
            <a:off x="82853" y="102231"/>
            <a:ext cx="12014489" cy="6650698"/>
          </a:xfrm>
        </p:spPr>
      </p:pic>
      <p:sp>
        <p:nvSpPr>
          <p:cNvPr id="2" name="Text Placeholder 1">
            <a:extLst>
              <a:ext uri="{FF2B5EF4-FFF2-40B4-BE49-F238E27FC236}">
                <a16:creationId xmlns:a16="http://schemas.microsoft.com/office/drawing/2014/main" id="{F85EF14A-CFF1-E410-9921-F736479C2488}"/>
              </a:ext>
            </a:extLst>
          </p:cNvPr>
          <p:cNvSpPr>
            <a:spLocks noGrp="1"/>
          </p:cNvSpPr>
          <p:nvPr>
            <p:ph type="body" sz="quarter" idx="10"/>
          </p:nvPr>
        </p:nvSpPr>
        <p:spPr>
          <a:xfrm>
            <a:off x="1234464" y="1743723"/>
            <a:ext cx="9711266" cy="3367714"/>
          </a:xfrm>
        </p:spPr>
        <p:txBody>
          <a:bodyPr anchor="ctr"/>
          <a:lstStyle/>
          <a:p>
            <a:pPr marL="0" indent="0">
              <a:buNone/>
            </a:pPr>
            <a:r>
              <a:rPr lang="en-US" sz="4800" b="1" dirty="0"/>
              <a:t>An Agent’s Toolkit</a:t>
            </a:r>
          </a:p>
        </p:txBody>
      </p:sp>
    </p:spTree>
    <p:extLst>
      <p:ext uri="{BB962C8B-B14F-4D97-AF65-F5344CB8AC3E}">
        <p14:creationId xmlns:p14="http://schemas.microsoft.com/office/powerpoint/2010/main" val="16950140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23D954-A5BA-0430-A50E-939CA46553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9F34BC7-70ED-4E59-C3C3-D4CDD026FC27}"/>
              </a:ext>
            </a:extLst>
          </p:cNvPr>
          <p:cNvSpPr>
            <a:spLocks noGrp="1"/>
          </p:cNvSpPr>
          <p:nvPr>
            <p:ph type="title"/>
          </p:nvPr>
        </p:nvSpPr>
        <p:spPr/>
        <p:txBody>
          <a:bodyPr/>
          <a:lstStyle/>
          <a:p>
            <a:r>
              <a:rPr lang="en-US" dirty="0"/>
              <a:t>Tools as Building Blocks: Demystifying Digital Capabilities</a:t>
            </a:r>
          </a:p>
        </p:txBody>
      </p:sp>
      <p:grpSp>
        <p:nvGrpSpPr>
          <p:cNvPr id="28" name="Group 27">
            <a:extLst>
              <a:ext uri="{FF2B5EF4-FFF2-40B4-BE49-F238E27FC236}">
                <a16:creationId xmlns:a16="http://schemas.microsoft.com/office/drawing/2014/main" id="{2804A6C4-1F8F-3C03-235A-267286961805}"/>
              </a:ext>
            </a:extLst>
          </p:cNvPr>
          <p:cNvGrpSpPr>
            <a:grpSpLocks noChangeAspect="1"/>
          </p:cNvGrpSpPr>
          <p:nvPr/>
        </p:nvGrpSpPr>
        <p:grpSpPr>
          <a:xfrm>
            <a:off x="7948597" y="3215996"/>
            <a:ext cx="1768407" cy="1730989"/>
            <a:chOff x="3330716" y="1521496"/>
            <a:chExt cx="5059514" cy="4952456"/>
          </a:xfrm>
        </p:grpSpPr>
        <p:grpSp>
          <p:nvGrpSpPr>
            <p:cNvPr id="3" name="Group 2">
              <a:extLst>
                <a:ext uri="{FF2B5EF4-FFF2-40B4-BE49-F238E27FC236}">
                  <a16:creationId xmlns:a16="http://schemas.microsoft.com/office/drawing/2014/main" id="{D22DFC50-E0B4-FADB-F37E-4041E0AE6A80}"/>
                </a:ext>
              </a:extLst>
            </p:cNvPr>
            <p:cNvGrpSpPr/>
            <p:nvPr/>
          </p:nvGrpSpPr>
          <p:grpSpPr>
            <a:xfrm>
              <a:off x="3330716" y="1521496"/>
              <a:ext cx="5059514" cy="4952456"/>
              <a:chOff x="3566243" y="902537"/>
              <a:chExt cx="5059514" cy="4952456"/>
            </a:xfrm>
          </p:grpSpPr>
          <p:grpSp>
            <p:nvGrpSpPr>
              <p:cNvPr id="4" name="Group 3">
                <a:extLst>
                  <a:ext uri="{FF2B5EF4-FFF2-40B4-BE49-F238E27FC236}">
                    <a16:creationId xmlns:a16="http://schemas.microsoft.com/office/drawing/2014/main" id="{A036D0DA-CA3E-C82F-2020-1AF40AC9905B}"/>
                  </a:ext>
                </a:extLst>
              </p:cNvPr>
              <p:cNvGrpSpPr/>
              <p:nvPr/>
            </p:nvGrpSpPr>
            <p:grpSpPr>
              <a:xfrm>
                <a:off x="3566243" y="2973249"/>
                <a:ext cx="2529754" cy="2881744"/>
                <a:chOff x="3566243" y="2973249"/>
                <a:chExt cx="2529754" cy="2881744"/>
              </a:xfrm>
            </p:grpSpPr>
            <p:sp>
              <p:nvSpPr>
                <p:cNvPr id="11" name="Freeform 10">
                  <a:extLst>
                    <a:ext uri="{FF2B5EF4-FFF2-40B4-BE49-F238E27FC236}">
                      <a16:creationId xmlns:a16="http://schemas.microsoft.com/office/drawing/2014/main" id="{508A31EF-920F-DF0B-93B4-464D4AD2879F}"/>
                    </a:ext>
                  </a:extLst>
                </p:cNvPr>
                <p:cNvSpPr/>
                <p:nvPr/>
              </p:nvSpPr>
              <p:spPr>
                <a:xfrm>
                  <a:off x="3566243" y="2973249"/>
                  <a:ext cx="2529754" cy="2881744"/>
                </a:xfrm>
                <a:custGeom>
                  <a:avLst/>
                  <a:gdLst>
                    <a:gd name="connsiteX0" fmla="*/ 249509 w 499699"/>
                    <a:gd name="connsiteY0" fmla="*/ 0 h 569227"/>
                    <a:gd name="connsiteX1" fmla="*/ 0 w 499699"/>
                    <a:gd name="connsiteY1" fmla="*/ 160202 h 569227"/>
                    <a:gd name="connsiteX2" fmla="*/ 0 w 499699"/>
                    <a:gd name="connsiteY2" fmla="*/ 408344 h 569227"/>
                    <a:gd name="connsiteX3" fmla="*/ 249509 w 499699"/>
                    <a:gd name="connsiteY3" fmla="*/ 569228 h 569227"/>
                    <a:gd name="connsiteX4" fmla="*/ 499700 w 499699"/>
                    <a:gd name="connsiteY4" fmla="*/ 408344 h 569227"/>
                    <a:gd name="connsiteX5" fmla="*/ 499700 w 499699"/>
                    <a:gd name="connsiteY5" fmla="*/ 160202 h 569227"/>
                    <a:gd name="connsiteX6" fmla="*/ 249509 w 499699"/>
                    <a:gd name="connsiteY6" fmla="*/ 0 h 569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699" h="569227">
                      <a:moveTo>
                        <a:pt x="249509" y="0"/>
                      </a:moveTo>
                      <a:lnTo>
                        <a:pt x="0" y="160202"/>
                      </a:lnTo>
                      <a:lnTo>
                        <a:pt x="0" y="408344"/>
                      </a:lnTo>
                      <a:lnTo>
                        <a:pt x="249509" y="569228"/>
                      </a:lnTo>
                      <a:lnTo>
                        <a:pt x="499700" y="408344"/>
                      </a:lnTo>
                      <a:lnTo>
                        <a:pt x="499700" y="160202"/>
                      </a:lnTo>
                      <a:lnTo>
                        <a:pt x="249509" y="0"/>
                      </a:lnTo>
                      <a:close/>
                    </a:path>
                  </a:pathLst>
                </a:custGeom>
                <a:solidFill>
                  <a:schemeClr val="accent1">
                    <a:lumMod val="75000"/>
                  </a:schemeClr>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12" name="Freeform 11">
                  <a:extLst>
                    <a:ext uri="{FF2B5EF4-FFF2-40B4-BE49-F238E27FC236}">
                      <a16:creationId xmlns:a16="http://schemas.microsoft.com/office/drawing/2014/main" id="{51DCF30C-BF92-92CF-2EEF-BD6F03FDEE97}"/>
                    </a:ext>
                  </a:extLst>
                </p:cNvPr>
                <p:cNvSpPr/>
                <p:nvPr/>
              </p:nvSpPr>
              <p:spPr>
                <a:xfrm>
                  <a:off x="3566243" y="2973249"/>
                  <a:ext cx="2529754" cy="1625511"/>
                </a:xfrm>
                <a:custGeom>
                  <a:avLst/>
                  <a:gdLst>
                    <a:gd name="connsiteX0" fmla="*/ 249509 w 499699"/>
                    <a:gd name="connsiteY0" fmla="*/ 0 h 321085"/>
                    <a:gd name="connsiteX1" fmla="*/ 499700 w 499699"/>
                    <a:gd name="connsiteY1" fmla="*/ 160202 h 321085"/>
                    <a:gd name="connsiteX2" fmla="*/ 249509 w 499699"/>
                    <a:gd name="connsiteY2" fmla="*/ 321085 h 321085"/>
                    <a:gd name="connsiteX3" fmla="*/ 0 w 499699"/>
                    <a:gd name="connsiteY3" fmla="*/ 160202 h 321085"/>
                    <a:gd name="connsiteX4" fmla="*/ 249509 w 499699"/>
                    <a:gd name="connsiteY4" fmla="*/ 0 h 321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699" h="321085">
                      <a:moveTo>
                        <a:pt x="249509" y="0"/>
                      </a:moveTo>
                      <a:lnTo>
                        <a:pt x="499700" y="160202"/>
                      </a:lnTo>
                      <a:lnTo>
                        <a:pt x="249509" y="321085"/>
                      </a:lnTo>
                      <a:lnTo>
                        <a:pt x="0" y="160202"/>
                      </a:lnTo>
                      <a:lnTo>
                        <a:pt x="249509" y="0"/>
                      </a:lnTo>
                      <a:close/>
                    </a:path>
                  </a:pathLst>
                </a:custGeom>
                <a:solidFill>
                  <a:schemeClr val="accent1"/>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5" name="Group 4">
                <a:extLst>
                  <a:ext uri="{FF2B5EF4-FFF2-40B4-BE49-F238E27FC236}">
                    <a16:creationId xmlns:a16="http://schemas.microsoft.com/office/drawing/2014/main" id="{4A967075-AC0F-74B0-1DD2-01B5B978B63F}"/>
                  </a:ext>
                </a:extLst>
              </p:cNvPr>
              <p:cNvGrpSpPr/>
              <p:nvPr/>
            </p:nvGrpSpPr>
            <p:grpSpPr>
              <a:xfrm>
                <a:off x="6096003" y="2973249"/>
                <a:ext cx="2529754" cy="2881744"/>
                <a:chOff x="6096003" y="2973249"/>
                <a:chExt cx="2529754" cy="2881744"/>
              </a:xfrm>
            </p:grpSpPr>
            <p:sp>
              <p:nvSpPr>
                <p:cNvPr id="9" name="Freeform 8">
                  <a:extLst>
                    <a:ext uri="{FF2B5EF4-FFF2-40B4-BE49-F238E27FC236}">
                      <a16:creationId xmlns:a16="http://schemas.microsoft.com/office/drawing/2014/main" id="{6AF386F8-09ED-5DB0-F085-8D4E50C0DB98}"/>
                    </a:ext>
                  </a:extLst>
                </p:cNvPr>
                <p:cNvSpPr/>
                <p:nvPr/>
              </p:nvSpPr>
              <p:spPr>
                <a:xfrm>
                  <a:off x="6096003" y="2973249"/>
                  <a:ext cx="2529754" cy="2881744"/>
                </a:xfrm>
                <a:custGeom>
                  <a:avLst/>
                  <a:gdLst>
                    <a:gd name="connsiteX0" fmla="*/ 249509 w 499699"/>
                    <a:gd name="connsiteY0" fmla="*/ 0 h 569227"/>
                    <a:gd name="connsiteX1" fmla="*/ 0 w 499699"/>
                    <a:gd name="connsiteY1" fmla="*/ 160202 h 569227"/>
                    <a:gd name="connsiteX2" fmla="*/ 0 w 499699"/>
                    <a:gd name="connsiteY2" fmla="*/ 408344 h 569227"/>
                    <a:gd name="connsiteX3" fmla="*/ 249509 w 499699"/>
                    <a:gd name="connsiteY3" fmla="*/ 569228 h 569227"/>
                    <a:gd name="connsiteX4" fmla="*/ 499700 w 499699"/>
                    <a:gd name="connsiteY4" fmla="*/ 408344 h 569227"/>
                    <a:gd name="connsiteX5" fmla="*/ 499700 w 499699"/>
                    <a:gd name="connsiteY5" fmla="*/ 160202 h 569227"/>
                    <a:gd name="connsiteX6" fmla="*/ 249509 w 499699"/>
                    <a:gd name="connsiteY6" fmla="*/ 0 h 569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699" h="569227">
                      <a:moveTo>
                        <a:pt x="249509" y="0"/>
                      </a:moveTo>
                      <a:lnTo>
                        <a:pt x="0" y="160202"/>
                      </a:lnTo>
                      <a:lnTo>
                        <a:pt x="0" y="408344"/>
                      </a:lnTo>
                      <a:lnTo>
                        <a:pt x="249509" y="569228"/>
                      </a:lnTo>
                      <a:lnTo>
                        <a:pt x="499700" y="408344"/>
                      </a:lnTo>
                      <a:lnTo>
                        <a:pt x="499700" y="160202"/>
                      </a:lnTo>
                      <a:lnTo>
                        <a:pt x="249509" y="0"/>
                      </a:lnTo>
                      <a:close/>
                    </a:path>
                  </a:pathLst>
                </a:custGeom>
                <a:solidFill>
                  <a:schemeClr val="accent2">
                    <a:lumMod val="75000"/>
                  </a:schemeClr>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10" name="Freeform 9">
                  <a:extLst>
                    <a:ext uri="{FF2B5EF4-FFF2-40B4-BE49-F238E27FC236}">
                      <a16:creationId xmlns:a16="http://schemas.microsoft.com/office/drawing/2014/main" id="{280F9D0E-1F6C-29B0-FBB7-6F6602E42737}"/>
                    </a:ext>
                  </a:extLst>
                </p:cNvPr>
                <p:cNvSpPr/>
                <p:nvPr/>
              </p:nvSpPr>
              <p:spPr>
                <a:xfrm>
                  <a:off x="6096003" y="2973249"/>
                  <a:ext cx="2529754" cy="1625511"/>
                </a:xfrm>
                <a:custGeom>
                  <a:avLst/>
                  <a:gdLst>
                    <a:gd name="connsiteX0" fmla="*/ 249509 w 499699"/>
                    <a:gd name="connsiteY0" fmla="*/ 0 h 321085"/>
                    <a:gd name="connsiteX1" fmla="*/ 499700 w 499699"/>
                    <a:gd name="connsiteY1" fmla="*/ 160202 h 321085"/>
                    <a:gd name="connsiteX2" fmla="*/ 249509 w 499699"/>
                    <a:gd name="connsiteY2" fmla="*/ 321085 h 321085"/>
                    <a:gd name="connsiteX3" fmla="*/ 0 w 499699"/>
                    <a:gd name="connsiteY3" fmla="*/ 160202 h 321085"/>
                    <a:gd name="connsiteX4" fmla="*/ 249509 w 499699"/>
                    <a:gd name="connsiteY4" fmla="*/ 0 h 321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699" h="321085">
                      <a:moveTo>
                        <a:pt x="249509" y="0"/>
                      </a:moveTo>
                      <a:lnTo>
                        <a:pt x="499700" y="160202"/>
                      </a:lnTo>
                      <a:lnTo>
                        <a:pt x="249509" y="321085"/>
                      </a:lnTo>
                      <a:lnTo>
                        <a:pt x="0" y="160202"/>
                      </a:lnTo>
                      <a:lnTo>
                        <a:pt x="249509" y="0"/>
                      </a:lnTo>
                      <a:close/>
                    </a:path>
                  </a:pathLst>
                </a:custGeom>
                <a:solidFill>
                  <a:schemeClr val="accent2"/>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grpSp>
          <p:grpSp>
            <p:nvGrpSpPr>
              <p:cNvPr id="6" name="Group 5">
                <a:extLst>
                  <a:ext uri="{FF2B5EF4-FFF2-40B4-BE49-F238E27FC236}">
                    <a16:creationId xmlns:a16="http://schemas.microsoft.com/office/drawing/2014/main" id="{9129A836-2F14-481A-F9D2-1858F8501624}"/>
                  </a:ext>
                </a:extLst>
              </p:cNvPr>
              <p:cNvGrpSpPr/>
              <p:nvPr/>
            </p:nvGrpSpPr>
            <p:grpSpPr>
              <a:xfrm>
                <a:off x="4829396" y="902537"/>
                <a:ext cx="2529754" cy="2881744"/>
                <a:chOff x="4829396" y="902537"/>
                <a:chExt cx="2529754" cy="2881744"/>
              </a:xfrm>
            </p:grpSpPr>
            <p:sp>
              <p:nvSpPr>
                <p:cNvPr id="7" name="Freeform 6">
                  <a:extLst>
                    <a:ext uri="{FF2B5EF4-FFF2-40B4-BE49-F238E27FC236}">
                      <a16:creationId xmlns:a16="http://schemas.microsoft.com/office/drawing/2014/main" id="{E08FE1B8-2482-C400-0669-E89BC1104F1D}"/>
                    </a:ext>
                  </a:extLst>
                </p:cNvPr>
                <p:cNvSpPr/>
                <p:nvPr/>
              </p:nvSpPr>
              <p:spPr>
                <a:xfrm>
                  <a:off x="4829396" y="902537"/>
                  <a:ext cx="2529754" cy="2881744"/>
                </a:xfrm>
                <a:custGeom>
                  <a:avLst/>
                  <a:gdLst>
                    <a:gd name="connsiteX0" fmla="*/ 250191 w 499699"/>
                    <a:gd name="connsiteY0" fmla="*/ 0 h 569227"/>
                    <a:gd name="connsiteX1" fmla="*/ 0 w 499699"/>
                    <a:gd name="connsiteY1" fmla="*/ 160202 h 569227"/>
                    <a:gd name="connsiteX2" fmla="*/ 0 w 499699"/>
                    <a:gd name="connsiteY2" fmla="*/ 409026 h 569227"/>
                    <a:gd name="connsiteX3" fmla="*/ 250191 w 499699"/>
                    <a:gd name="connsiteY3" fmla="*/ 569228 h 569227"/>
                    <a:gd name="connsiteX4" fmla="*/ 499700 w 499699"/>
                    <a:gd name="connsiteY4" fmla="*/ 409026 h 569227"/>
                    <a:gd name="connsiteX5" fmla="*/ 499700 w 499699"/>
                    <a:gd name="connsiteY5" fmla="*/ 160202 h 569227"/>
                    <a:gd name="connsiteX6" fmla="*/ 250191 w 499699"/>
                    <a:gd name="connsiteY6" fmla="*/ 0 h 569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699" h="569227">
                      <a:moveTo>
                        <a:pt x="250191" y="0"/>
                      </a:moveTo>
                      <a:lnTo>
                        <a:pt x="0" y="160202"/>
                      </a:lnTo>
                      <a:lnTo>
                        <a:pt x="0" y="409026"/>
                      </a:lnTo>
                      <a:lnTo>
                        <a:pt x="250191" y="569228"/>
                      </a:lnTo>
                      <a:lnTo>
                        <a:pt x="499700" y="409026"/>
                      </a:lnTo>
                      <a:lnTo>
                        <a:pt x="499700" y="160202"/>
                      </a:lnTo>
                      <a:lnTo>
                        <a:pt x="250191" y="0"/>
                      </a:lnTo>
                      <a:close/>
                    </a:path>
                  </a:pathLst>
                </a:custGeom>
                <a:solidFill>
                  <a:schemeClr val="accent4">
                    <a:lumMod val="75000"/>
                  </a:schemeClr>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8" name="Freeform 7">
                  <a:extLst>
                    <a:ext uri="{FF2B5EF4-FFF2-40B4-BE49-F238E27FC236}">
                      <a16:creationId xmlns:a16="http://schemas.microsoft.com/office/drawing/2014/main" id="{0AB17704-647D-1B59-BFD0-AF28D09C15D3}"/>
                    </a:ext>
                  </a:extLst>
                </p:cNvPr>
                <p:cNvSpPr/>
                <p:nvPr/>
              </p:nvSpPr>
              <p:spPr>
                <a:xfrm>
                  <a:off x="4829396" y="902537"/>
                  <a:ext cx="2529754" cy="1625511"/>
                </a:xfrm>
                <a:custGeom>
                  <a:avLst/>
                  <a:gdLst>
                    <a:gd name="connsiteX0" fmla="*/ 250191 w 499699"/>
                    <a:gd name="connsiteY0" fmla="*/ 0 h 321085"/>
                    <a:gd name="connsiteX1" fmla="*/ 499700 w 499699"/>
                    <a:gd name="connsiteY1" fmla="*/ 160202 h 321085"/>
                    <a:gd name="connsiteX2" fmla="*/ 250191 w 499699"/>
                    <a:gd name="connsiteY2" fmla="*/ 321085 h 321085"/>
                    <a:gd name="connsiteX3" fmla="*/ 0 w 499699"/>
                    <a:gd name="connsiteY3" fmla="*/ 160202 h 321085"/>
                    <a:gd name="connsiteX4" fmla="*/ 250191 w 499699"/>
                    <a:gd name="connsiteY4" fmla="*/ 0 h 321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699" h="321085">
                      <a:moveTo>
                        <a:pt x="250191" y="0"/>
                      </a:moveTo>
                      <a:lnTo>
                        <a:pt x="499700" y="160202"/>
                      </a:lnTo>
                      <a:lnTo>
                        <a:pt x="250191" y="321085"/>
                      </a:lnTo>
                      <a:lnTo>
                        <a:pt x="0" y="160202"/>
                      </a:lnTo>
                      <a:lnTo>
                        <a:pt x="250191" y="0"/>
                      </a:lnTo>
                      <a:close/>
                    </a:path>
                  </a:pathLst>
                </a:custGeom>
                <a:solidFill>
                  <a:schemeClr val="accent4"/>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grpSp>
        </p:grpSp>
        <p:pic>
          <p:nvPicPr>
            <p:cNvPr id="25" name="Graphic 24" descr="Puzzle with solid fill">
              <a:extLst>
                <a:ext uri="{FF2B5EF4-FFF2-40B4-BE49-F238E27FC236}">
                  <a16:creationId xmlns:a16="http://schemas.microsoft.com/office/drawing/2014/main" id="{7AB3CF74-4364-D260-2C62-CF4E964C7AA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403273" y="1877051"/>
              <a:ext cx="914400" cy="914400"/>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pic>
          <p:nvPicPr>
            <p:cNvPr id="26" name="Graphic 25" descr="Lights On with solid fill">
              <a:extLst>
                <a:ext uri="{FF2B5EF4-FFF2-40B4-BE49-F238E27FC236}">
                  <a16:creationId xmlns:a16="http://schemas.microsoft.com/office/drawing/2014/main" id="{00039523-831E-656B-8BB2-15838D5145FE}"/>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4137681" y="3946040"/>
              <a:ext cx="914400" cy="914400"/>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pic>
          <p:nvPicPr>
            <p:cNvPr id="27" name="Graphic 26" descr="Shield Tick with solid fill">
              <a:extLst>
                <a:ext uri="{FF2B5EF4-FFF2-40B4-BE49-F238E27FC236}">
                  <a16:creationId xmlns:a16="http://schemas.microsoft.com/office/drawing/2014/main" id="{6EB774F5-3159-DCE5-739A-432FE6F7939B}"/>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667435" y="3946040"/>
              <a:ext cx="914400" cy="914400"/>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grpSp>
      <p:grpSp>
        <p:nvGrpSpPr>
          <p:cNvPr id="70" name="Group 69">
            <a:extLst>
              <a:ext uri="{FF2B5EF4-FFF2-40B4-BE49-F238E27FC236}">
                <a16:creationId xmlns:a16="http://schemas.microsoft.com/office/drawing/2014/main" id="{6BDC7F3A-F17B-64B8-7078-611CD0A8EA27}"/>
              </a:ext>
            </a:extLst>
          </p:cNvPr>
          <p:cNvGrpSpPr>
            <a:grpSpLocks noChangeAspect="1"/>
          </p:cNvGrpSpPr>
          <p:nvPr/>
        </p:nvGrpSpPr>
        <p:grpSpPr>
          <a:xfrm>
            <a:off x="7910945" y="1745592"/>
            <a:ext cx="3560618" cy="3201393"/>
            <a:chOff x="3227589" y="1521491"/>
            <a:chExt cx="5508172" cy="4952461"/>
          </a:xfrm>
        </p:grpSpPr>
        <p:grpSp>
          <p:nvGrpSpPr>
            <p:cNvPr id="29" name="Group 28">
              <a:extLst>
                <a:ext uri="{FF2B5EF4-FFF2-40B4-BE49-F238E27FC236}">
                  <a16:creationId xmlns:a16="http://schemas.microsoft.com/office/drawing/2014/main" id="{F167FB08-760C-04D9-9CE3-A583A3F9B49E}"/>
                </a:ext>
              </a:extLst>
            </p:cNvPr>
            <p:cNvGrpSpPr/>
            <p:nvPr/>
          </p:nvGrpSpPr>
          <p:grpSpPr>
            <a:xfrm>
              <a:off x="3227589" y="1521491"/>
              <a:ext cx="5508172" cy="4952461"/>
              <a:chOff x="3341914" y="902531"/>
              <a:chExt cx="5508172" cy="4952461"/>
            </a:xfrm>
          </p:grpSpPr>
          <p:sp>
            <p:nvSpPr>
              <p:cNvPr id="30" name="Freeform 29">
                <a:extLst>
                  <a:ext uri="{FF2B5EF4-FFF2-40B4-BE49-F238E27FC236}">
                    <a16:creationId xmlns:a16="http://schemas.microsoft.com/office/drawing/2014/main" id="{66881478-DB91-866F-DC7B-42008B4792D8}"/>
                  </a:ext>
                </a:extLst>
              </p:cNvPr>
              <p:cNvSpPr/>
              <p:nvPr/>
            </p:nvSpPr>
            <p:spPr>
              <a:xfrm>
                <a:off x="3341914" y="4284703"/>
                <a:ext cx="1377040" cy="1570289"/>
              </a:xfrm>
              <a:custGeom>
                <a:avLst/>
                <a:gdLst>
                  <a:gd name="connsiteX0" fmla="*/ 135662 w 272005"/>
                  <a:gd name="connsiteY0" fmla="*/ 0 h 310177"/>
                  <a:gd name="connsiteX1" fmla="*/ 0 w 272005"/>
                  <a:gd name="connsiteY1" fmla="*/ 87941 h 310177"/>
                  <a:gd name="connsiteX2" fmla="*/ 0 w 272005"/>
                  <a:gd name="connsiteY2" fmla="*/ 222919 h 310177"/>
                  <a:gd name="connsiteX3" fmla="*/ 135662 w 272005"/>
                  <a:gd name="connsiteY3" fmla="*/ 310178 h 310177"/>
                  <a:gd name="connsiteX4" fmla="*/ 272005 w 272005"/>
                  <a:gd name="connsiteY4" fmla="*/ 222919 h 310177"/>
                  <a:gd name="connsiteX5" fmla="*/ 272005 w 272005"/>
                  <a:gd name="connsiteY5" fmla="*/ 87941 h 310177"/>
                  <a:gd name="connsiteX6" fmla="*/ 135662 w 272005"/>
                  <a:gd name="connsiteY6" fmla="*/ 0 h 31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05" h="310177">
                    <a:moveTo>
                      <a:pt x="135662" y="0"/>
                    </a:moveTo>
                    <a:lnTo>
                      <a:pt x="0" y="87941"/>
                    </a:lnTo>
                    <a:lnTo>
                      <a:pt x="0" y="222919"/>
                    </a:lnTo>
                    <a:lnTo>
                      <a:pt x="135662" y="310178"/>
                    </a:lnTo>
                    <a:lnTo>
                      <a:pt x="272005" y="222919"/>
                    </a:lnTo>
                    <a:lnTo>
                      <a:pt x="272005" y="87941"/>
                    </a:lnTo>
                    <a:lnTo>
                      <a:pt x="135662" y="0"/>
                    </a:lnTo>
                    <a:close/>
                  </a:path>
                </a:pathLst>
              </a:custGeom>
              <a:solidFill>
                <a:schemeClr val="accent1">
                  <a:lumMod val="75000"/>
                </a:schemeClr>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1" name="Freeform 30">
                <a:extLst>
                  <a:ext uri="{FF2B5EF4-FFF2-40B4-BE49-F238E27FC236}">
                    <a16:creationId xmlns:a16="http://schemas.microsoft.com/office/drawing/2014/main" id="{F0F477C6-09DC-0387-EF24-7AE4C16E81D7}"/>
                  </a:ext>
                </a:extLst>
              </p:cNvPr>
              <p:cNvSpPr/>
              <p:nvPr/>
            </p:nvSpPr>
            <p:spPr>
              <a:xfrm>
                <a:off x="3341914" y="4284703"/>
                <a:ext cx="1377040" cy="886955"/>
              </a:xfrm>
              <a:custGeom>
                <a:avLst/>
                <a:gdLst>
                  <a:gd name="connsiteX0" fmla="*/ 135662 w 272005"/>
                  <a:gd name="connsiteY0" fmla="*/ 0 h 175199"/>
                  <a:gd name="connsiteX1" fmla="*/ 272005 w 272005"/>
                  <a:gd name="connsiteY1" fmla="*/ 87941 h 175199"/>
                  <a:gd name="connsiteX2" fmla="*/ 135662 w 272005"/>
                  <a:gd name="connsiteY2" fmla="*/ 175199 h 175199"/>
                  <a:gd name="connsiteX3" fmla="*/ 0 w 272005"/>
                  <a:gd name="connsiteY3" fmla="*/ 87941 h 175199"/>
                  <a:gd name="connsiteX4" fmla="*/ 135662 w 272005"/>
                  <a:gd name="connsiteY4" fmla="*/ 0 h 175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05" h="175199">
                    <a:moveTo>
                      <a:pt x="135662" y="0"/>
                    </a:moveTo>
                    <a:lnTo>
                      <a:pt x="272005" y="87941"/>
                    </a:lnTo>
                    <a:lnTo>
                      <a:pt x="135662" y="175199"/>
                    </a:lnTo>
                    <a:lnTo>
                      <a:pt x="0" y="87941"/>
                    </a:lnTo>
                    <a:lnTo>
                      <a:pt x="135662" y="0"/>
                    </a:lnTo>
                    <a:close/>
                  </a:path>
                </a:pathLst>
              </a:custGeom>
              <a:solidFill>
                <a:schemeClr val="accent1"/>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2" name="Freeform 31">
                <a:extLst>
                  <a:ext uri="{FF2B5EF4-FFF2-40B4-BE49-F238E27FC236}">
                    <a16:creationId xmlns:a16="http://schemas.microsoft.com/office/drawing/2014/main" id="{2107395E-A7BA-A202-4AD8-C8869D5797A5}"/>
                  </a:ext>
                </a:extLst>
              </p:cNvPr>
              <p:cNvSpPr/>
              <p:nvPr/>
            </p:nvSpPr>
            <p:spPr>
              <a:xfrm>
                <a:off x="4718954" y="4284703"/>
                <a:ext cx="1377040" cy="1570289"/>
              </a:xfrm>
              <a:custGeom>
                <a:avLst/>
                <a:gdLst>
                  <a:gd name="connsiteX0" fmla="*/ 135662 w 272005"/>
                  <a:gd name="connsiteY0" fmla="*/ 0 h 310177"/>
                  <a:gd name="connsiteX1" fmla="*/ 0 w 272005"/>
                  <a:gd name="connsiteY1" fmla="*/ 87941 h 310177"/>
                  <a:gd name="connsiteX2" fmla="*/ 0 w 272005"/>
                  <a:gd name="connsiteY2" fmla="*/ 222919 h 310177"/>
                  <a:gd name="connsiteX3" fmla="*/ 135662 w 272005"/>
                  <a:gd name="connsiteY3" fmla="*/ 310178 h 310177"/>
                  <a:gd name="connsiteX4" fmla="*/ 272006 w 272005"/>
                  <a:gd name="connsiteY4" fmla="*/ 222919 h 310177"/>
                  <a:gd name="connsiteX5" fmla="*/ 272006 w 272005"/>
                  <a:gd name="connsiteY5" fmla="*/ 87941 h 310177"/>
                  <a:gd name="connsiteX6" fmla="*/ 135662 w 272005"/>
                  <a:gd name="connsiteY6" fmla="*/ 0 h 31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05" h="310177">
                    <a:moveTo>
                      <a:pt x="135662" y="0"/>
                    </a:moveTo>
                    <a:lnTo>
                      <a:pt x="0" y="87941"/>
                    </a:lnTo>
                    <a:lnTo>
                      <a:pt x="0" y="222919"/>
                    </a:lnTo>
                    <a:lnTo>
                      <a:pt x="135662" y="310178"/>
                    </a:lnTo>
                    <a:lnTo>
                      <a:pt x="272006" y="222919"/>
                    </a:lnTo>
                    <a:lnTo>
                      <a:pt x="272006" y="87941"/>
                    </a:lnTo>
                    <a:lnTo>
                      <a:pt x="135662" y="0"/>
                    </a:lnTo>
                    <a:close/>
                  </a:path>
                </a:pathLst>
              </a:custGeom>
              <a:solidFill>
                <a:schemeClr val="accent2">
                  <a:lumMod val="75000"/>
                </a:schemeClr>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3" name="Freeform 32">
                <a:extLst>
                  <a:ext uri="{FF2B5EF4-FFF2-40B4-BE49-F238E27FC236}">
                    <a16:creationId xmlns:a16="http://schemas.microsoft.com/office/drawing/2014/main" id="{33AB6A4E-E3E9-4142-A244-CB9027C7BA74}"/>
                  </a:ext>
                </a:extLst>
              </p:cNvPr>
              <p:cNvSpPr/>
              <p:nvPr/>
            </p:nvSpPr>
            <p:spPr>
              <a:xfrm>
                <a:off x="4718954" y="4284703"/>
                <a:ext cx="1377040" cy="886955"/>
              </a:xfrm>
              <a:custGeom>
                <a:avLst/>
                <a:gdLst>
                  <a:gd name="connsiteX0" fmla="*/ 135662 w 272005"/>
                  <a:gd name="connsiteY0" fmla="*/ 0 h 175199"/>
                  <a:gd name="connsiteX1" fmla="*/ 272006 w 272005"/>
                  <a:gd name="connsiteY1" fmla="*/ 87941 h 175199"/>
                  <a:gd name="connsiteX2" fmla="*/ 135662 w 272005"/>
                  <a:gd name="connsiteY2" fmla="*/ 175199 h 175199"/>
                  <a:gd name="connsiteX3" fmla="*/ 0 w 272005"/>
                  <a:gd name="connsiteY3" fmla="*/ 87941 h 175199"/>
                  <a:gd name="connsiteX4" fmla="*/ 135662 w 272005"/>
                  <a:gd name="connsiteY4" fmla="*/ 0 h 175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05" h="175199">
                    <a:moveTo>
                      <a:pt x="135662" y="0"/>
                    </a:moveTo>
                    <a:lnTo>
                      <a:pt x="272006" y="87941"/>
                    </a:lnTo>
                    <a:lnTo>
                      <a:pt x="135662" y="175199"/>
                    </a:lnTo>
                    <a:lnTo>
                      <a:pt x="0" y="87941"/>
                    </a:lnTo>
                    <a:lnTo>
                      <a:pt x="135662" y="0"/>
                    </a:lnTo>
                    <a:close/>
                  </a:path>
                </a:pathLst>
              </a:custGeom>
              <a:solidFill>
                <a:schemeClr val="accent2"/>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4" name="Freeform 33">
                <a:extLst>
                  <a:ext uri="{FF2B5EF4-FFF2-40B4-BE49-F238E27FC236}">
                    <a16:creationId xmlns:a16="http://schemas.microsoft.com/office/drawing/2014/main" id="{8C8F9D58-5D82-FF37-7ACA-942C3E3D206A}"/>
                  </a:ext>
                </a:extLst>
              </p:cNvPr>
              <p:cNvSpPr/>
              <p:nvPr/>
            </p:nvSpPr>
            <p:spPr>
              <a:xfrm>
                <a:off x="6096000" y="4284703"/>
                <a:ext cx="1377040" cy="1570289"/>
              </a:xfrm>
              <a:custGeom>
                <a:avLst/>
                <a:gdLst>
                  <a:gd name="connsiteX0" fmla="*/ 135662 w 272005"/>
                  <a:gd name="connsiteY0" fmla="*/ 0 h 310177"/>
                  <a:gd name="connsiteX1" fmla="*/ 0 w 272005"/>
                  <a:gd name="connsiteY1" fmla="*/ 87941 h 310177"/>
                  <a:gd name="connsiteX2" fmla="*/ 0 w 272005"/>
                  <a:gd name="connsiteY2" fmla="*/ 222919 h 310177"/>
                  <a:gd name="connsiteX3" fmla="*/ 135662 w 272005"/>
                  <a:gd name="connsiteY3" fmla="*/ 310178 h 310177"/>
                  <a:gd name="connsiteX4" fmla="*/ 272006 w 272005"/>
                  <a:gd name="connsiteY4" fmla="*/ 222919 h 310177"/>
                  <a:gd name="connsiteX5" fmla="*/ 272006 w 272005"/>
                  <a:gd name="connsiteY5" fmla="*/ 87941 h 310177"/>
                  <a:gd name="connsiteX6" fmla="*/ 135662 w 272005"/>
                  <a:gd name="connsiteY6" fmla="*/ 0 h 31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05" h="310177">
                    <a:moveTo>
                      <a:pt x="135662" y="0"/>
                    </a:moveTo>
                    <a:lnTo>
                      <a:pt x="0" y="87941"/>
                    </a:lnTo>
                    <a:lnTo>
                      <a:pt x="0" y="222919"/>
                    </a:lnTo>
                    <a:lnTo>
                      <a:pt x="135662" y="310178"/>
                    </a:lnTo>
                    <a:lnTo>
                      <a:pt x="272006" y="222919"/>
                    </a:lnTo>
                    <a:lnTo>
                      <a:pt x="272006" y="87941"/>
                    </a:lnTo>
                    <a:lnTo>
                      <a:pt x="135662" y="0"/>
                    </a:lnTo>
                    <a:close/>
                  </a:path>
                </a:pathLst>
              </a:custGeom>
              <a:solidFill>
                <a:schemeClr val="accent1">
                  <a:lumMod val="75000"/>
                </a:schemeClr>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5" name="Freeform 34">
                <a:extLst>
                  <a:ext uri="{FF2B5EF4-FFF2-40B4-BE49-F238E27FC236}">
                    <a16:creationId xmlns:a16="http://schemas.microsoft.com/office/drawing/2014/main" id="{21B99A4D-A881-2742-F4D3-91B4D6659B6E}"/>
                  </a:ext>
                </a:extLst>
              </p:cNvPr>
              <p:cNvSpPr/>
              <p:nvPr/>
            </p:nvSpPr>
            <p:spPr>
              <a:xfrm>
                <a:off x="6096000" y="4284703"/>
                <a:ext cx="1377040" cy="886955"/>
              </a:xfrm>
              <a:custGeom>
                <a:avLst/>
                <a:gdLst>
                  <a:gd name="connsiteX0" fmla="*/ 135662 w 272005"/>
                  <a:gd name="connsiteY0" fmla="*/ 0 h 175199"/>
                  <a:gd name="connsiteX1" fmla="*/ 272006 w 272005"/>
                  <a:gd name="connsiteY1" fmla="*/ 87941 h 175199"/>
                  <a:gd name="connsiteX2" fmla="*/ 135662 w 272005"/>
                  <a:gd name="connsiteY2" fmla="*/ 175199 h 175199"/>
                  <a:gd name="connsiteX3" fmla="*/ 0 w 272005"/>
                  <a:gd name="connsiteY3" fmla="*/ 87941 h 175199"/>
                  <a:gd name="connsiteX4" fmla="*/ 135662 w 272005"/>
                  <a:gd name="connsiteY4" fmla="*/ 0 h 175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05" h="175199">
                    <a:moveTo>
                      <a:pt x="135662" y="0"/>
                    </a:moveTo>
                    <a:lnTo>
                      <a:pt x="272006" y="87941"/>
                    </a:lnTo>
                    <a:lnTo>
                      <a:pt x="135662" y="175199"/>
                    </a:lnTo>
                    <a:lnTo>
                      <a:pt x="0" y="87941"/>
                    </a:lnTo>
                    <a:lnTo>
                      <a:pt x="135662" y="0"/>
                    </a:lnTo>
                    <a:close/>
                  </a:path>
                </a:pathLst>
              </a:custGeom>
              <a:solidFill>
                <a:schemeClr val="accent1"/>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6" name="Freeform 35">
                <a:extLst>
                  <a:ext uri="{FF2B5EF4-FFF2-40B4-BE49-F238E27FC236}">
                    <a16:creationId xmlns:a16="http://schemas.microsoft.com/office/drawing/2014/main" id="{39039C2E-7BDC-3439-5934-AB5F724D2964}"/>
                  </a:ext>
                </a:extLst>
              </p:cNvPr>
              <p:cNvSpPr/>
              <p:nvPr/>
            </p:nvSpPr>
            <p:spPr>
              <a:xfrm>
                <a:off x="7473046" y="4284703"/>
                <a:ext cx="1377040" cy="1570289"/>
              </a:xfrm>
              <a:custGeom>
                <a:avLst/>
                <a:gdLst>
                  <a:gd name="connsiteX0" fmla="*/ 135662 w 272005"/>
                  <a:gd name="connsiteY0" fmla="*/ 0 h 310177"/>
                  <a:gd name="connsiteX1" fmla="*/ 0 w 272005"/>
                  <a:gd name="connsiteY1" fmla="*/ 87941 h 310177"/>
                  <a:gd name="connsiteX2" fmla="*/ 0 w 272005"/>
                  <a:gd name="connsiteY2" fmla="*/ 222919 h 310177"/>
                  <a:gd name="connsiteX3" fmla="*/ 135662 w 272005"/>
                  <a:gd name="connsiteY3" fmla="*/ 310178 h 310177"/>
                  <a:gd name="connsiteX4" fmla="*/ 272005 w 272005"/>
                  <a:gd name="connsiteY4" fmla="*/ 222919 h 310177"/>
                  <a:gd name="connsiteX5" fmla="*/ 272005 w 272005"/>
                  <a:gd name="connsiteY5" fmla="*/ 87941 h 310177"/>
                  <a:gd name="connsiteX6" fmla="*/ 135662 w 272005"/>
                  <a:gd name="connsiteY6" fmla="*/ 0 h 31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05" h="310177">
                    <a:moveTo>
                      <a:pt x="135662" y="0"/>
                    </a:moveTo>
                    <a:lnTo>
                      <a:pt x="0" y="87941"/>
                    </a:lnTo>
                    <a:lnTo>
                      <a:pt x="0" y="222919"/>
                    </a:lnTo>
                    <a:lnTo>
                      <a:pt x="135662" y="310178"/>
                    </a:lnTo>
                    <a:lnTo>
                      <a:pt x="272005" y="222919"/>
                    </a:lnTo>
                    <a:lnTo>
                      <a:pt x="272005" y="87941"/>
                    </a:lnTo>
                    <a:lnTo>
                      <a:pt x="135662" y="0"/>
                    </a:lnTo>
                    <a:close/>
                  </a:path>
                </a:pathLst>
              </a:custGeom>
              <a:solidFill>
                <a:schemeClr val="accent2">
                  <a:lumMod val="75000"/>
                </a:schemeClr>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7" name="Freeform 36">
                <a:extLst>
                  <a:ext uri="{FF2B5EF4-FFF2-40B4-BE49-F238E27FC236}">
                    <a16:creationId xmlns:a16="http://schemas.microsoft.com/office/drawing/2014/main" id="{F8DCCB64-3FE9-6861-A62B-E0E8509486A1}"/>
                  </a:ext>
                </a:extLst>
              </p:cNvPr>
              <p:cNvSpPr/>
              <p:nvPr/>
            </p:nvSpPr>
            <p:spPr>
              <a:xfrm>
                <a:off x="7473046" y="4284703"/>
                <a:ext cx="1377040" cy="886955"/>
              </a:xfrm>
              <a:custGeom>
                <a:avLst/>
                <a:gdLst>
                  <a:gd name="connsiteX0" fmla="*/ 135662 w 272005"/>
                  <a:gd name="connsiteY0" fmla="*/ 0 h 175199"/>
                  <a:gd name="connsiteX1" fmla="*/ 272005 w 272005"/>
                  <a:gd name="connsiteY1" fmla="*/ 87941 h 175199"/>
                  <a:gd name="connsiteX2" fmla="*/ 135662 w 272005"/>
                  <a:gd name="connsiteY2" fmla="*/ 175199 h 175199"/>
                  <a:gd name="connsiteX3" fmla="*/ 0 w 272005"/>
                  <a:gd name="connsiteY3" fmla="*/ 87941 h 175199"/>
                  <a:gd name="connsiteX4" fmla="*/ 135662 w 272005"/>
                  <a:gd name="connsiteY4" fmla="*/ 0 h 175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05" h="175199">
                    <a:moveTo>
                      <a:pt x="135662" y="0"/>
                    </a:moveTo>
                    <a:lnTo>
                      <a:pt x="272005" y="87941"/>
                    </a:lnTo>
                    <a:lnTo>
                      <a:pt x="135662" y="175199"/>
                    </a:lnTo>
                    <a:lnTo>
                      <a:pt x="0" y="87941"/>
                    </a:lnTo>
                    <a:lnTo>
                      <a:pt x="135662" y="0"/>
                    </a:lnTo>
                    <a:close/>
                  </a:path>
                </a:pathLst>
              </a:custGeom>
              <a:solidFill>
                <a:schemeClr val="accent2"/>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8" name="Freeform 37">
                <a:extLst>
                  <a:ext uri="{FF2B5EF4-FFF2-40B4-BE49-F238E27FC236}">
                    <a16:creationId xmlns:a16="http://schemas.microsoft.com/office/drawing/2014/main" id="{2E628681-B0E4-7EE2-4793-61F83D1F287B}"/>
                  </a:ext>
                </a:extLst>
              </p:cNvPr>
              <p:cNvSpPr/>
              <p:nvPr/>
            </p:nvSpPr>
            <p:spPr>
              <a:xfrm>
                <a:off x="4028705" y="3159611"/>
                <a:ext cx="1377040" cy="1570294"/>
              </a:xfrm>
              <a:custGeom>
                <a:avLst/>
                <a:gdLst>
                  <a:gd name="connsiteX0" fmla="*/ 136344 w 272005"/>
                  <a:gd name="connsiteY0" fmla="*/ 0 h 310178"/>
                  <a:gd name="connsiteX1" fmla="*/ 0 w 272005"/>
                  <a:gd name="connsiteY1" fmla="*/ 87259 h 310178"/>
                  <a:gd name="connsiteX2" fmla="*/ 0 w 272005"/>
                  <a:gd name="connsiteY2" fmla="*/ 222237 h 310178"/>
                  <a:gd name="connsiteX3" fmla="*/ 136344 w 272005"/>
                  <a:gd name="connsiteY3" fmla="*/ 310178 h 310178"/>
                  <a:gd name="connsiteX4" fmla="*/ 272006 w 272005"/>
                  <a:gd name="connsiteY4" fmla="*/ 222237 h 310178"/>
                  <a:gd name="connsiteX5" fmla="*/ 272006 w 272005"/>
                  <a:gd name="connsiteY5" fmla="*/ 87259 h 310178"/>
                  <a:gd name="connsiteX6" fmla="*/ 136344 w 272005"/>
                  <a:gd name="connsiteY6" fmla="*/ 0 h 31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05" h="310178">
                    <a:moveTo>
                      <a:pt x="136344" y="0"/>
                    </a:moveTo>
                    <a:lnTo>
                      <a:pt x="0" y="87259"/>
                    </a:lnTo>
                    <a:lnTo>
                      <a:pt x="0" y="222237"/>
                    </a:lnTo>
                    <a:lnTo>
                      <a:pt x="136344" y="310178"/>
                    </a:lnTo>
                    <a:lnTo>
                      <a:pt x="272006" y="222237"/>
                    </a:lnTo>
                    <a:lnTo>
                      <a:pt x="272006" y="87259"/>
                    </a:lnTo>
                    <a:lnTo>
                      <a:pt x="136344" y="0"/>
                    </a:lnTo>
                    <a:close/>
                  </a:path>
                </a:pathLst>
              </a:custGeom>
              <a:solidFill>
                <a:schemeClr val="accent4">
                  <a:lumMod val="75000"/>
                </a:schemeClr>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39" name="Freeform 38">
                <a:extLst>
                  <a:ext uri="{FF2B5EF4-FFF2-40B4-BE49-F238E27FC236}">
                    <a16:creationId xmlns:a16="http://schemas.microsoft.com/office/drawing/2014/main" id="{653DA10D-0A91-54DE-8EC2-25F35E6C4871}"/>
                  </a:ext>
                </a:extLst>
              </p:cNvPr>
              <p:cNvSpPr/>
              <p:nvPr/>
            </p:nvSpPr>
            <p:spPr>
              <a:xfrm>
                <a:off x="4028705" y="3159611"/>
                <a:ext cx="1377040" cy="883502"/>
              </a:xfrm>
              <a:custGeom>
                <a:avLst/>
                <a:gdLst>
                  <a:gd name="connsiteX0" fmla="*/ 136344 w 272005"/>
                  <a:gd name="connsiteY0" fmla="*/ 0 h 174517"/>
                  <a:gd name="connsiteX1" fmla="*/ 272006 w 272005"/>
                  <a:gd name="connsiteY1" fmla="*/ 87259 h 174517"/>
                  <a:gd name="connsiteX2" fmla="*/ 136344 w 272005"/>
                  <a:gd name="connsiteY2" fmla="*/ 174518 h 174517"/>
                  <a:gd name="connsiteX3" fmla="*/ 0 w 272005"/>
                  <a:gd name="connsiteY3" fmla="*/ 87259 h 174517"/>
                  <a:gd name="connsiteX4" fmla="*/ 136344 w 272005"/>
                  <a:gd name="connsiteY4" fmla="*/ 0 h 1745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05" h="174517">
                    <a:moveTo>
                      <a:pt x="136344" y="0"/>
                    </a:moveTo>
                    <a:lnTo>
                      <a:pt x="272006" y="87259"/>
                    </a:lnTo>
                    <a:lnTo>
                      <a:pt x="136344" y="174518"/>
                    </a:lnTo>
                    <a:lnTo>
                      <a:pt x="0" y="87259"/>
                    </a:lnTo>
                    <a:lnTo>
                      <a:pt x="136344" y="0"/>
                    </a:lnTo>
                    <a:close/>
                  </a:path>
                </a:pathLst>
              </a:custGeom>
              <a:solidFill>
                <a:schemeClr val="accent4"/>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0" name="Freeform 39">
                <a:extLst>
                  <a:ext uri="{FF2B5EF4-FFF2-40B4-BE49-F238E27FC236}">
                    <a16:creationId xmlns:a16="http://schemas.microsoft.com/office/drawing/2014/main" id="{9908253E-DAAF-C9D8-61D5-4D7407781660}"/>
                  </a:ext>
                </a:extLst>
              </p:cNvPr>
              <p:cNvSpPr/>
              <p:nvPr/>
            </p:nvSpPr>
            <p:spPr>
              <a:xfrm>
                <a:off x="5405751" y="3159611"/>
                <a:ext cx="1377040" cy="1570294"/>
              </a:xfrm>
              <a:custGeom>
                <a:avLst/>
                <a:gdLst>
                  <a:gd name="connsiteX0" fmla="*/ 136344 w 272005"/>
                  <a:gd name="connsiteY0" fmla="*/ 0 h 310178"/>
                  <a:gd name="connsiteX1" fmla="*/ 0 w 272005"/>
                  <a:gd name="connsiteY1" fmla="*/ 87259 h 310178"/>
                  <a:gd name="connsiteX2" fmla="*/ 0 w 272005"/>
                  <a:gd name="connsiteY2" fmla="*/ 222237 h 310178"/>
                  <a:gd name="connsiteX3" fmla="*/ 136344 w 272005"/>
                  <a:gd name="connsiteY3" fmla="*/ 310178 h 310178"/>
                  <a:gd name="connsiteX4" fmla="*/ 272006 w 272005"/>
                  <a:gd name="connsiteY4" fmla="*/ 222237 h 310178"/>
                  <a:gd name="connsiteX5" fmla="*/ 272006 w 272005"/>
                  <a:gd name="connsiteY5" fmla="*/ 87259 h 310178"/>
                  <a:gd name="connsiteX6" fmla="*/ 136344 w 272005"/>
                  <a:gd name="connsiteY6" fmla="*/ 0 h 31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05" h="310178">
                    <a:moveTo>
                      <a:pt x="136344" y="0"/>
                    </a:moveTo>
                    <a:lnTo>
                      <a:pt x="0" y="87259"/>
                    </a:lnTo>
                    <a:lnTo>
                      <a:pt x="0" y="222237"/>
                    </a:lnTo>
                    <a:lnTo>
                      <a:pt x="136344" y="310178"/>
                    </a:lnTo>
                    <a:lnTo>
                      <a:pt x="272006" y="222237"/>
                    </a:lnTo>
                    <a:lnTo>
                      <a:pt x="272006" y="87259"/>
                    </a:lnTo>
                    <a:lnTo>
                      <a:pt x="136344" y="0"/>
                    </a:lnTo>
                    <a:close/>
                  </a:path>
                </a:pathLst>
              </a:custGeom>
              <a:solidFill>
                <a:schemeClr val="accent5">
                  <a:lumMod val="75000"/>
                </a:schemeClr>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1" name="Freeform 40">
                <a:extLst>
                  <a:ext uri="{FF2B5EF4-FFF2-40B4-BE49-F238E27FC236}">
                    <a16:creationId xmlns:a16="http://schemas.microsoft.com/office/drawing/2014/main" id="{FB72133A-20EE-C6E5-B518-F7E09390BEC8}"/>
                  </a:ext>
                </a:extLst>
              </p:cNvPr>
              <p:cNvSpPr/>
              <p:nvPr/>
            </p:nvSpPr>
            <p:spPr>
              <a:xfrm>
                <a:off x="5405751" y="3159611"/>
                <a:ext cx="1377040" cy="883502"/>
              </a:xfrm>
              <a:custGeom>
                <a:avLst/>
                <a:gdLst>
                  <a:gd name="connsiteX0" fmla="*/ 136344 w 272005"/>
                  <a:gd name="connsiteY0" fmla="*/ 0 h 174517"/>
                  <a:gd name="connsiteX1" fmla="*/ 272006 w 272005"/>
                  <a:gd name="connsiteY1" fmla="*/ 87259 h 174517"/>
                  <a:gd name="connsiteX2" fmla="*/ 136344 w 272005"/>
                  <a:gd name="connsiteY2" fmla="*/ 174518 h 174517"/>
                  <a:gd name="connsiteX3" fmla="*/ 0 w 272005"/>
                  <a:gd name="connsiteY3" fmla="*/ 87259 h 174517"/>
                  <a:gd name="connsiteX4" fmla="*/ 136344 w 272005"/>
                  <a:gd name="connsiteY4" fmla="*/ 0 h 1745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05" h="174517">
                    <a:moveTo>
                      <a:pt x="136344" y="0"/>
                    </a:moveTo>
                    <a:lnTo>
                      <a:pt x="272006" y="87259"/>
                    </a:lnTo>
                    <a:lnTo>
                      <a:pt x="136344" y="174518"/>
                    </a:lnTo>
                    <a:lnTo>
                      <a:pt x="0" y="87259"/>
                    </a:lnTo>
                    <a:lnTo>
                      <a:pt x="136344" y="0"/>
                    </a:lnTo>
                    <a:close/>
                  </a:path>
                </a:pathLst>
              </a:custGeom>
              <a:solidFill>
                <a:schemeClr val="accent5"/>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2" name="Freeform 41">
                <a:extLst>
                  <a:ext uri="{FF2B5EF4-FFF2-40B4-BE49-F238E27FC236}">
                    <a16:creationId xmlns:a16="http://schemas.microsoft.com/office/drawing/2014/main" id="{E5C8392A-1549-DA56-CB0B-3CC8E83A2396}"/>
                  </a:ext>
                </a:extLst>
              </p:cNvPr>
              <p:cNvSpPr/>
              <p:nvPr/>
            </p:nvSpPr>
            <p:spPr>
              <a:xfrm>
                <a:off x="4718954" y="2031071"/>
                <a:ext cx="1377040" cy="1570289"/>
              </a:xfrm>
              <a:custGeom>
                <a:avLst/>
                <a:gdLst>
                  <a:gd name="connsiteX0" fmla="*/ 135662 w 272005"/>
                  <a:gd name="connsiteY0" fmla="*/ 0 h 310177"/>
                  <a:gd name="connsiteX1" fmla="*/ 0 w 272005"/>
                  <a:gd name="connsiteY1" fmla="*/ 87259 h 310177"/>
                  <a:gd name="connsiteX2" fmla="*/ 0 w 272005"/>
                  <a:gd name="connsiteY2" fmla="*/ 222919 h 310177"/>
                  <a:gd name="connsiteX3" fmla="*/ 135662 w 272005"/>
                  <a:gd name="connsiteY3" fmla="*/ 310178 h 310177"/>
                  <a:gd name="connsiteX4" fmla="*/ 272006 w 272005"/>
                  <a:gd name="connsiteY4" fmla="*/ 222919 h 310177"/>
                  <a:gd name="connsiteX5" fmla="*/ 272006 w 272005"/>
                  <a:gd name="connsiteY5" fmla="*/ 87259 h 310177"/>
                  <a:gd name="connsiteX6" fmla="*/ 135662 w 272005"/>
                  <a:gd name="connsiteY6" fmla="*/ 0 h 31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05" h="310177">
                    <a:moveTo>
                      <a:pt x="135662" y="0"/>
                    </a:moveTo>
                    <a:lnTo>
                      <a:pt x="0" y="87259"/>
                    </a:lnTo>
                    <a:lnTo>
                      <a:pt x="0" y="222919"/>
                    </a:lnTo>
                    <a:lnTo>
                      <a:pt x="135662" y="310178"/>
                    </a:lnTo>
                    <a:lnTo>
                      <a:pt x="272006" y="222919"/>
                    </a:lnTo>
                    <a:lnTo>
                      <a:pt x="272006" y="87259"/>
                    </a:lnTo>
                    <a:lnTo>
                      <a:pt x="135662" y="0"/>
                    </a:lnTo>
                    <a:close/>
                  </a:path>
                </a:pathLst>
              </a:custGeom>
              <a:solidFill>
                <a:schemeClr val="accent3">
                  <a:lumMod val="75000"/>
                </a:schemeClr>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3" name="Freeform 42">
                <a:extLst>
                  <a:ext uri="{FF2B5EF4-FFF2-40B4-BE49-F238E27FC236}">
                    <a16:creationId xmlns:a16="http://schemas.microsoft.com/office/drawing/2014/main" id="{AAE2FFD0-FC5C-BFBD-CEE6-66DCC5EE42F1}"/>
                  </a:ext>
                </a:extLst>
              </p:cNvPr>
              <p:cNvSpPr/>
              <p:nvPr/>
            </p:nvSpPr>
            <p:spPr>
              <a:xfrm>
                <a:off x="4718954" y="2031071"/>
                <a:ext cx="1377040" cy="886955"/>
              </a:xfrm>
              <a:custGeom>
                <a:avLst/>
                <a:gdLst>
                  <a:gd name="connsiteX0" fmla="*/ 135662 w 272005"/>
                  <a:gd name="connsiteY0" fmla="*/ 0 h 175199"/>
                  <a:gd name="connsiteX1" fmla="*/ 272006 w 272005"/>
                  <a:gd name="connsiteY1" fmla="*/ 87259 h 175199"/>
                  <a:gd name="connsiteX2" fmla="*/ 135662 w 272005"/>
                  <a:gd name="connsiteY2" fmla="*/ 175199 h 175199"/>
                  <a:gd name="connsiteX3" fmla="*/ 0 w 272005"/>
                  <a:gd name="connsiteY3" fmla="*/ 87259 h 175199"/>
                  <a:gd name="connsiteX4" fmla="*/ 135662 w 272005"/>
                  <a:gd name="connsiteY4" fmla="*/ 0 h 175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05" h="175199">
                    <a:moveTo>
                      <a:pt x="135662" y="0"/>
                    </a:moveTo>
                    <a:lnTo>
                      <a:pt x="272006" y="87259"/>
                    </a:lnTo>
                    <a:lnTo>
                      <a:pt x="135662" y="175199"/>
                    </a:lnTo>
                    <a:lnTo>
                      <a:pt x="0" y="87259"/>
                    </a:lnTo>
                    <a:lnTo>
                      <a:pt x="135662" y="0"/>
                    </a:lnTo>
                    <a:close/>
                  </a:path>
                </a:pathLst>
              </a:custGeom>
              <a:solidFill>
                <a:schemeClr val="accent3"/>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4" name="Freeform 43">
                <a:extLst>
                  <a:ext uri="{FF2B5EF4-FFF2-40B4-BE49-F238E27FC236}">
                    <a16:creationId xmlns:a16="http://schemas.microsoft.com/office/drawing/2014/main" id="{2AA26CA3-E81D-9E94-56AC-418AD9985D15}"/>
                  </a:ext>
                </a:extLst>
              </p:cNvPr>
              <p:cNvSpPr/>
              <p:nvPr/>
            </p:nvSpPr>
            <p:spPr>
              <a:xfrm>
                <a:off x="6096000" y="2031071"/>
                <a:ext cx="1377040" cy="1570289"/>
              </a:xfrm>
              <a:custGeom>
                <a:avLst/>
                <a:gdLst>
                  <a:gd name="connsiteX0" fmla="*/ 135662 w 272005"/>
                  <a:gd name="connsiteY0" fmla="*/ 0 h 310177"/>
                  <a:gd name="connsiteX1" fmla="*/ 0 w 272005"/>
                  <a:gd name="connsiteY1" fmla="*/ 87259 h 310177"/>
                  <a:gd name="connsiteX2" fmla="*/ 0 w 272005"/>
                  <a:gd name="connsiteY2" fmla="*/ 222919 h 310177"/>
                  <a:gd name="connsiteX3" fmla="*/ 135662 w 272005"/>
                  <a:gd name="connsiteY3" fmla="*/ 310178 h 310177"/>
                  <a:gd name="connsiteX4" fmla="*/ 272006 w 272005"/>
                  <a:gd name="connsiteY4" fmla="*/ 222919 h 310177"/>
                  <a:gd name="connsiteX5" fmla="*/ 272006 w 272005"/>
                  <a:gd name="connsiteY5" fmla="*/ 87259 h 310177"/>
                  <a:gd name="connsiteX6" fmla="*/ 135662 w 272005"/>
                  <a:gd name="connsiteY6" fmla="*/ 0 h 31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05" h="310177">
                    <a:moveTo>
                      <a:pt x="135662" y="0"/>
                    </a:moveTo>
                    <a:lnTo>
                      <a:pt x="0" y="87259"/>
                    </a:lnTo>
                    <a:lnTo>
                      <a:pt x="0" y="222919"/>
                    </a:lnTo>
                    <a:lnTo>
                      <a:pt x="135662" y="310178"/>
                    </a:lnTo>
                    <a:lnTo>
                      <a:pt x="272006" y="222919"/>
                    </a:lnTo>
                    <a:lnTo>
                      <a:pt x="272006" y="87259"/>
                    </a:lnTo>
                    <a:lnTo>
                      <a:pt x="135662" y="0"/>
                    </a:lnTo>
                    <a:close/>
                  </a:path>
                </a:pathLst>
              </a:custGeom>
              <a:solidFill>
                <a:srgbClr val="7030A0"/>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5" name="Freeform 44">
                <a:extLst>
                  <a:ext uri="{FF2B5EF4-FFF2-40B4-BE49-F238E27FC236}">
                    <a16:creationId xmlns:a16="http://schemas.microsoft.com/office/drawing/2014/main" id="{8DC24488-DADE-463B-4DD8-E886EA6A186A}"/>
                  </a:ext>
                </a:extLst>
              </p:cNvPr>
              <p:cNvSpPr/>
              <p:nvPr/>
            </p:nvSpPr>
            <p:spPr>
              <a:xfrm>
                <a:off x="6096000" y="2031071"/>
                <a:ext cx="1377040" cy="886955"/>
              </a:xfrm>
              <a:custGeom>
                <a:avLst/>
                <a:gdLst>
                  <a:gd name="connsiteX0" fmla="*/ 135662 w 272005"/>
                  <a:gd name="connsiteY0" fmla="*/ 0 h 175199"/>
                  <a:gd name="connsiteX1" fmla="*/ 272006 w 272005"/>
                  <a:gd name="connsiteY1" fmla="*/ 87259 h 175199"/>
                  <a:gd name="connsiteX2" fmla="*/ 135662 w 272005"/>
                  <a:gd name="connsiteY2" fmla="*/ 175199 h 175199"/>
                  <a:gd name="connsiteX3" fmla="*/ 0 w 272005"/>
                  <a:gd name="connsiteY3" fmla="*/ 87259 h 175199"/>
                  <a:gd name="connsiteX4" fmla="*/ 135662 w 272005"/>
                  <a:gd name="connsiteY4" fmla="*/ 0 h 175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05" h="175199">
                    <a:moveTo>
                      <a:pt x="135662" y="0"/>
                    </a:moveTo>
                    <a:lnTo>
                      <a:pt x="272006" y="87259"/>
                    </a:lnTo>
                    <a:lnTo>
                      <a:pt x="135662" y="175199"/>
                    </a:lnTo>
                    <a:lnTo>
                      <a:pt x="0" y="87259"/>
                    </a:lnTo>
                    <a:lnTo>
                      <a:pt x="135662" y="0"/>
                    </a:lnTo>
                    <a:close/>
                  </a:path>
                </a:pathLst>
              </a:custGeom>
              <a:solidFill>
                <a:srgbClr val="805AAB"/>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6" name="Freeform 45">
                <a:extLst>
                  <a:ext uri="{FF2B5EF4-FFF2-40B4-BE49-F238E27FC236}">
                    <a16:creationId xmlns:a16="http://schemas.microsoft.com/office/drawing/2014/main" id="{A7C79CC2-B5AD-1231-DA7D-40AC5F2E66BA}"/>
                  </a:ext>
                </a:extLst>
              </p:cNvPr>
              <p:cNvSpPr/>
              <p:nvPr/>
            </p:nvSpPr>
            <p:spPr>
              <a:xfrm>
                <a:off x="5405751" y="902531"/>
                <a:ext cx="1377040" cy="1570289"/>
              </a:xfrm>
              <a:custGeom>
                <a:avLst/>
                <a:gdLst>
                  <a:gd name="connsiteX0" fmla="*/ 136344 w 272005"/>
                  <a:gd name="connsiteY0" fmla="*/ 0 h 310177"/>
                  <a:gd name="connsiteX1" fmla="*/ 0 w 272005"/>
                  <a:gd name="connsiteY1" fmla="*/ 87941 h 310177"/>
                  <a:gd name="connsiteX2" fmla="*/ 0 w 272005"/>
                  <a:gd name="connsiteY2" fmla="*/ 222919 h 310177"/>
                  <a:gd name="connsiteX3" fmla="*/ 136344 w 272005"/>
                  <a:gd name="connsiteY3" fmla="*/ 310178 h 310177"/>
                  <a:gd name="connsiteX4" fmla="*/ 272006 w 272005"/>
                  <a:gd name="connsiteY4" fmla="*/ 222919 h 310177"/>
                  <a:gd name="connsiteX5" fmla="*/ 272006 w 272005"/>
                  <a:gd name="connsiteY5" fmla="*/ 87941 h 310177"/>
                  <a:gd name="connsiteX6" fmla="*/ 136344 w 272005"/>
                  <a:gd name="connsiteY6" fmla="*/ 0 h 31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05" h="310177">
                    <a:moveTo>
                      <a:pt x="136344" y="0"/>
                    </a:moveTo>
                    <a:lnTo>
                      <a:pt x="0" y="87941"/>
                    </a:lnTo>
                    <a:lnTo>
                      <a:pt x="0" y="222919"/>
                    </a:lnTo>
                    <a:lnTo>
                      <a:pt x="136344" y="310178"/>
                    </a:lnTo>
                    <a:lnTo>
                      <a:pt x="272006" y="222919"/>
                    </a:lnTo>
                    <a:lnTo>
                      <a:pt x="272006" y="87941"/>
                    </a:lnTo>
                    <a:lnTo>
                      <a:pt x="136344" y="0"/>
                    </a:lnTo>
                    <a:close/>
                  </a:path>
                </a:pathLst>
              </a:custGeom>
              <a:solidFill>
                <a:schemeClr val="accent3">
                  <a:lumMod val="50000"/>
                </a:schemeClr>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7" name="Freeform 46">
                <a:extLst>
                  <a:ext uri="{FF2B5EF4-FFF2-40B4-BE49-F238E27FC236}">
                    <a16:creationId xmlns:a16="http://schemas.microsoft.com/office/drawing/2014/main" id="{12F9810E-E663-2F3E-76AB-60B07FAE65DA}"/>
                  </a:ext>
                </a:extLst>
              </p:cNvPr>
              <p:cNvSpPr/>
              <p:nvPr/>
            </p:nvSpPr>
            <p:spPr>
              <a:xfrm>
                <a:off x="5405751" y="902531"/>
                <a:ext cx="1377040" cy="886955"/>
              </a:xfrm>
              <a:custGeom>
                <a:avLst/>
                <a:gdLst>
                  <a:gd name="connsiteX0" fmla="*/ 136344 w 272005"/>
                  <a:gd name="connsiteY0" fmla="*/ 0 h 175199"/>
                  <a:gd name="connsiteX1" fmla="*/ 272006 w 272005"/>
                  <a:gd name="connsiteY1" fmla="*/ 87941 h 175199"/>
                  <a:gd name="connsiteX2" fmla="*/ 136344 w 272005"/>
                  <a:gd name="connsiteY2" fmla="*/ 175199 h 175199"/>
                  <a:gd name="connsiteX3" fmla="*/ 0 w 272005"/>
                  <a:gd name="connsiteY3" fmla="*/ 87941 h 175199"/>
                  <a:gd name="connsiteX4" fmla="*/ 136344 w 272005"/>
                  <a:gd name="connsiteY4" fmla="*/ 0 h 175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05" h="175199">
                    <a:moveTo>
                      <a:pt x="136344" y="0"/>
                    </a:moveTo>
                    <a:lnTo>
                      <a:pt x="272006" y="87941"/>
                    </a:lnTo>
                    <a:lnTo>
                      <a:pt x="136344" y="175199"/>
                    </a:lnTo>
                    <a:lnTo>
                      <a:pt x="0" y="87941"/>
                    </a:lnTo>
                    <a:lnTo>
                      <a:pt x="136344" y="0"/>
                    </a:lnTo>
                    <a:close/>
                  </a:path>
                </a:pathLst>
              </a:custGeom>
              <a:solidFill>
                <a:srgbClr val="CEBA8B"/>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8" name="Freeform 47">
                <a:extLst>
                  <a:ext uri="{FF2B5EF4-FFF2-40B4-BE49-F238E27FC236}">
                    <a16:creationId xmlns:a16="http://schemas.microsoft.com/office/drawing/2014/main" id="{5BD46ED7-1C0A-0BBC-C0E3-B36F76791344}"/>
                  </a:ext>
                </a:extLst>
              </p:cNvPr>
              <p:cNvSpPr/>
              <p:nvPr/>
            </p:nvSpPr>
            <p:spPr>
              <a:xfrm>
                <a:off x="6782796" y="3159611"/>
                <a:ext cx="1377040" cy="1570294"/>
              </a:xfrm>
              <a:custGeom>
                <a:avLst/>
                <a:gdLst>
                  <a:gd name="connsiteX0" fmla="*/ 136344 w 272005"/>
                  <a:gd name="connsiteY0" fmla="*/ 0 h 310178"/>
                  <a:gd name="connsiteX1" fmla="*/ 0 w 272005"/>
                  <a:gd name="connsiteY1" fmla="*/ 87259 h 310178"/>
                  <a:gd name="connsiteX2" fmla="*/ 0 w 272005"/>
                  <a:gd name="connsiteY2" fmla="*/ 222237 h 310178"/>
                  <a:gd name="connsiteX3" fmla="*/ 136344 w 272005"/>
                  <a:gd name="connsiteY3" fmla="*/ 310178 h 310178"/>
                  <a:gd name="connsiteX4" fmla="*/ 272005 w 272005"/>
                  <a:gd name="connsiteY4" fmla="*/ 222237 h 310178"/>
                  <a:gd name="connsiteX5" fmla="*/ 272005 w 272005"/>
                  <a:gd name="connsiteY5" fmla="*/ 87259 h 310178"/>
                  <a:gd name="connsiteX6" fmla="*/ 136344 w 272005"/>
                  <a:gd name="connsiteY6" fmla="*/ 0 h 31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05" h="310178">
                    <a:moveTo>
                      <a:pt x="136344" y="0"/>
                    </a:moveTo>
                    <a:lnTo>
                      <a:pt x="0" y="87259"/>
                    </a:lnTo>
                    <a:lnTo>
                      <a:pt x="0" y="222237"/>
                    </a:lnTo>
                    <a:lnTo>
                      <a:pt x="136344" y="310178"/>
                    </a:lnTo>
                    <a:lnTo>
                      <a:pt x="272005" y="222237"/>
                    </a:lnTo>
                    <a:lnTo>
                      <a:pt x="272005" y="87259"/>
                    </a:lnTo>
                    <a:lnTo>
                      <a:pt x="136344" y="0"/>
                    </a:lnTo>
                    <a:close/>
                  </a:path>
                </a:pathLst>
              </a:custGeom>
              <a:solidFill>
                <a:schemeClr val="accent4">
                  <a:lumMod val="75000"/>
                </a:schemeClr>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sp>
            <p:nvSpPr>
              <p:cNvPr id="49" name="Freeform 48">
                <a:extLst>
                  <a:ext uri="{FF2B5EF4-FFF2-40B4-BE49-F238E27FC236}">
                    <a16:creationId xmlns:a16="http://schemas.microsoft.com/office/drawing/2014/main" id="{E9B6B159-A6BE-5CC5-E91F-1109E24EC862}"/>
                  </a:ext>
                </a:extLst>
              </p:cNvPr>
              <p:cNvSpPr/>
              <p:nvPr/>
            </p:nvSpPr>
            <p:spPr>
              <a:xfrm>
                <a:off x="6782796" y="3159611"/>
                <a:ext cx="1377040" cy="883502"/>
              </a:xfrm>
              <a:custGeom>
                <a:avLst/>
                <a:gdLst>
                  <a:gd name="connsiteX0" fmla="*/ 136344 w 272005"/>
                  <a:gd name="connsiteY0" fmla="*/ 0 h 174517"/>
                  <a:gd name="connsiteX1" fmla="*/ 272005 w 272005"/>
                  <a:gd name="connsiteY1" fmla="*/ 87259 h 174517"/>
                  <a:gd name="connsiteX2" fmla="*/ 136344 w 272005"/>
                  <a:gd name="connsiteY2" fmla="*/ 174518 h 174517"/>
                  <a:gd name="connsiteX3" fmla="*/ 0 w 272005"/>
                  <a:gd name="connsiteY3" fmla="*/ 87259 h 174517"/>
                  <a:gd name="connsiteX4" fmla="*/ 136344 w 272005"/>
                  <a:gd name="connsiteY4" fmla="*/ 0 h 1745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05" h="174517">
                    <a:moveTo>
                      <a:pt x="136344" y="0"/>
                    </a:moveTo>
                    <a:lnTo>
                      <a:pt x="272005" y="87259"/>
                    </a:lnTo>
                    <a:lnTo>
                      <a:pt x="136344" y="174518"/>
                    </a:lnTo>
                    <a:lnTo>
                      <a:pt x="0" y="87259"/>
                    </a:lnTo>
                    <a:lnTo>
                      <a:pt x="136344" y="0"/>
                    </a:lnTo>
                    <a:close/>
                  </a:path>
                </a:pathLst>
              </a:custGeom>
              <a:solidFill>
                <a:schemeClr val="accent4"/>
              </a:solidFill>
              <a:ln w="6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a:ea typeface="+mn-ea"/>
                  <a:cs typeface="+mn-cs"/>
                </a:endParaRPr>
              </a:p>
            </p:txBody>
          </p:sp>
        </p:grpSp>
        <p:pic>
          <p:nvPicPr>
            <p:cNvPr id="50" name="Graphic 49" descr="Bar graph with upward trend with solid fill">
              <a:extLst>
                <a:ext uri="{FF2B5EF4-FFF2-40B4-BE49-F238E27FC236}">
                  <a16:creationId xmlns:a16="http://schemas.microsoft.com/office/drawing/2014/main" id="{1FEF7303-374B-D186-A45B-BD27F7D14091}"/>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5674767" y="1659789"/>
              <a:ext cx="610358" cy="610358"/>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pic>
          <p:nvPicPr>
            <p:cNvPr id="51" name="Graphic 50" descr="Rocket with solid fill">
              <a:extLst>
                <a:ext uri="{FF2B5EF4-FFF2-40B4-BE49-F238E27FC236}">
                  <a16:creationId xmlns:a16="http://schemas.microsoft.com/office/drawing/2014/main" id="{93D05E3B-48D7-C5FB-68E3-1BF23249D85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87970" y="2788329"/>
              <a:ext cx="610358" cy="610358"/>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pic>
          <p:nvPicPr>
            <p:cNvPr id="52" name="Graphic 51" descr="Dollar with solid fill">
              <a:extLst>
                <a:ext uri="{FF2B5EF4-FFF2-40B4-BE49-F238E27FC236}">
                  <a16:creationId xmlns:a16="http://schemas.microsoft.com/office/drawing/2014/main" id="{C6D33692-DFF7-AE89-20C2-3EA15BC6BEFB}"/>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6365016" y="2788329"/>
              <a:ext cx="610358" cy="610358"/>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pic>
          <p:nvPicPr>
            <p:cNvPr id="53" name="Graphic 52" descr="Trophy with solid fill">
              <a:extLst>
                <a:ext uri="{FF2B5EF4-FFF2-40B4-BE49-F238E27FC236}">
                  <a16:creationId xmlns:a16="http://schemas.microsoft.com/office/drawing/2014/main" id="{A76E1D8A-E66D-1C88-2ECC-DDD459171E16}"/>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4297721" y="3915143"/>
              <a:ext cx="610358" cy="610358"/>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pic>
          <p:nvPicPr>
            <p:cNvPr id="54" name="Graphic 53" descr="Flag with solid fill">
              <a:extLst>
                <a:ext uri="{FF2B5EF4-FFF2-40B4-BE49-F238E27FC236}">
                  <a16:creationId xmlns:a16="http://schemas.microsoft.com/office/drawing/2014/main" id="{A3C0CA37-398E-B03A-147F-1B6BF137016B}"/>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5674767" y="3915143"/>
              <a:ext cx="610358" cy="610358"/>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pic>
          <p:nvPicPr>
            <p:cNvPr id="55" name="Graphic 54" descr="Gears with solid fill">
              <a:extLst>
                <a:ext uri="{FF2B5EF4-FFF2-40B4-BE49-F238E27FC236}">
                  <a16:creationId xmlns:a16="http://schemas.microsoft.com/office/drawing/2014/main" id="{52571743-0363-4544-2151-57579CAE1085}"/>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a:off x="7051812" y="3915143"/>
              <a:ext cx="610358" cy="610358"/>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pic>
          <p:nvPicPr>
            <p:cNvPr id="56" name="Graphic 55" descr="Diploma roll with solid fill">
              <a:extLst>
                <a:ext uri="{FF2B5EF4-FFF2-40B4-BE49-F238E27FC236}">
                  <a16:creationId xmlns:a16="http://schemas.microsoft.com/office/drawing/2014/main" id="{A0BE62AE-0719-F42B-4F38-463984090595}"/>
                </a:ext>
              </a:extLst>
            </p:cNvPr>
            <p:cNvPicPr>
              <a:picLocks noChangeAspect="1"/>
            </p:cNvPicPr>
            <p:nvPr/>
          </p:nvPicPr>
          <p:blipFill>
            <a:blip r:embed="rId20">
              <a:extLst>
                <a:ext uri="{96DAC541-7B7A-43D3-8B79-37D633B846F1}">
                  <asvg:svgBlip xmlns:asvg="http://schemas.microsoft.com/office/drawing/2016/SVG/main" r:embed="rId21"/>
                </a:ext>
              </a:extLst>
            </a:blip>
            <a:srcRect/>
            <a:stretch/>
          </p:blipFill>
          <p:spPr>
            <a:xfrm>
              <a:off x="3610930" y="5041961"/>
              <a:ext cx="610358" cy="610358"/>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pic>
          <p:nvPicPr>
            <p:cNvPr id="57" name="Graphic 56" descr="Heart with solid fill">
              <a:extLst>
                <a:ext uri="{FF2B5EF4-FFF2-40B4-BE49-F238E27FC236}">
                  <a16:creationId xmlns:a16="http://schemas.microsoft.com/office/drawing/2014/main" id="{53A4A8D0-9A0D-18E7-9B6F-3BEDBDC54E92}"/>
                </a:ext>
              </a:extLst>
            </p:cNvPr>
            <p:cNvPicPr>
              <a:picLocks noChangeAspect="1"/>
            </p:cNvPicPr>
            <p:nvPr/>
          </p:nvPicPr>
          <p:blipFill>
            <a:blip r:embed="rId22">
              <a:extLst>
                <a:ext uri="{96DAC541-7B7A-43D3-8B79-37D633B846F1}">
                  <asvg:svgBlip xmlns:asvg="http://schemas.microsoft.com/office/drawing/2016/SVG/main" r:embed="rId23"/>
                </a:ext>
              </a:extLst>
            </a:blip>
            <a:srcRect/>
            <a:stretch/>
          </p:blipFill>
          <p:spPr>
            <a:xfrm>
              <a:off x="4987970" y="5041961"/>
              <a:ext cx="610358" cy="610358"/>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pic>
          <p:nvPicPr>
            <p:cNvPr id="58" name="Graphic 57" descr="Daily calendar with solid fill">
              <a:extLst>
                <a:ext uri="{FF2B5EF4-FFF2-40B4-BE49-F238E27FC236}">
                  <a16:creationId xmlns:a16="http://schemas.microsoft.com/office/drawing/2014/main" id="{B745593E-51D0-93FC-90B3-160DA9C3F5BC}"/>
                </a:ext>
              </a:extLst>
            </p:cNvPr>
            <p:cNvPicPr>
              <a:picLocks noChangeAspect="1"/>
            </p:cNvPicPr>
            <p:nvPr/>
          </p:nvPicPr>
          <p:blipFill>
            <a:blip r:embed="rId24">
              <a:extLst>
                <a:ext uri="{96DAC541-7B7A-43D3-8B79-37D633B846F1}">
                  <asvg:svgBlip xmlns:asvg="http://schemas.microsoft.com/office/drawing/2016/SVG/main" r:embed="rId25"/>
                </a:ext>
              </a:extLst>
            </a:blip>
            <a:srcRect/>
            <a:stretch/>
          </p:blipFill>
          <p:spPr>
            <a:xfrm>
              <a:off x="6365016" y="5041961"/>
              <a:ext cx="610358" cy="610358"/>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pic>
          <p:nvPicPr>
            <p:cNvPr id="59" name="Graphic 58" descr="Compass with solid fill">
              <a:extLst>
                <a:ext uri="{FF2B5EF4-FFF2-40B4-BE49-F238E27FC236}">
                  <a16:creationId xmlns:a16="http://schemas.microsoft.com/office/drawing/2014/main" id="{2ACCFC5F-991F-BB24-A500-05F290568492}"/>
                </a:ext>
              </a:extLst>
            </p:cNvPr>
            <p:cNvPicPr>
              <a:picLocks noChangeAspect="1"/>
            </p:cNvPicPr>
            <p:nvPr/>
          </p:nvPicPr>
          <p:blipFill>
            <a:blip r:embed="rId26">
              <a:extLst>
                <a:ext uri="{96DAC541-7B7A-43D3-8B79-37D633B846F1}">
                  <asvg:svgBlip xmlns:asvg="http://schemas.microsoft.com/office/drawing/2016/SVG/main" r:embed="rId27"/>
                </a:ext>
              </a:extLst>
            </a:blip>
            <a:srcRect/>
            <a:stretch/>
          </p:blipFill>
          <p:spPr>
            <a:xfrm>
              <a:off x="7742062" y="5041961"/>
              <a:ext cx="610358" cy="610358"/>
            </a:xfrm>
            <a:prstGeom prst="rect">
              <a:avLst/>
            </a:prstGeom>
            <a:effectLst>
              <a:outerShdw blurRad="50800" dist="38100" dir="2700000" algn="tl" rotWithShape="0">
                <a:prstClr val="black">
                  <a:alpha val="40000"/>
                </a:prstClr>
              </a:outerShdw>
            </a:effectLst>
            <a:scene3d>
              <a:camera prst="perspectiveRelaxedModerately"/>
              <a:lightRig rig="threePt" dir="t"/>
            </a:scene3d>
          </p:spPr>
        </p:pic>
      </p:grpSp>
      <p:sp>
        <p:nvSpPr>
          <p:cNvPr id="73" name="Text Placeholder 2">
            <a:extLst>
              <a:ext uri="{FF2B5EF4-FFF2-40B4-BE49-F238E27FC236}">
                <a16:creationId xmlns:a16="http://schemas.microsoft.com/office/drawing/2014/main" id="{3D909F80-6D8C-4A0A-3C91-371A597FB8CB}"/>
              </a:ext>
            </a:extLst>
          </p:cNvPr>
          <p:cNvSpPr txBox="1">
            <a:spLocks/>
          </p:cNvSpPr>
          <p:nvPr/>
        </p:nvSpPr>
        <p:spPr>
          <a:xfrm>
            <a:off x="384175" y="1231900"/>
            <a:ext cx="6700019" cy="4957763"/>
          </a:xfrm>
          <a:prstGeom prst="rect">
            <a:avLst/>
          </a:prstGeom>
        </p:spPr>
        <p:txBody>
          <a:bodyPr/>
          <a:lstStyle>
            <a:lvl1pPr marL="342895" indent="-342895" algn="l" defTabSz="457192" rtl="0" eaLnBrk="1" latinLnBrk="0" hangingPunct="1">
              <a:spcBef>
                <a:spcPct val="20000"/>
              </a:spcBef>
              <a:buFont typeface="Arial"/>
              <a:buChar char="•"/>
              <a:defRPr sz="2400" b="0" i="0" kern="1200">
                <a:solidFill>
                  <a:schemeClr val="tx1"/>
                </a:solidFill>
                <a:latin typeface="Trebuchet MS"/>
                <a:ea typeface="+mn-ea"/>
                <a:cs typeface="Arial"/>
              </a:defRPr>
            </a:lvl1pPr>
            <a:lvl2pPr marL="742937" indent="-285745" algn="l" defTabSz="457192" rtl="0" eaLnBrk="1" latinLnBrk="0" hangingPunct="1">
              <a:spcBef>
                <a:spcPct val="20000"/>
              </a:spcBef>
              <a:buFont typeface="Arial"/>
              <a:buChar char="–"/>
              <a:defRPr sz="2000" b="0" i="0" kern="1200">
                <a:solidFill>
                  <a:schemeClr val="tx1"/>
                </a:solidFill>
                <a:latin typeface="Trebuchet MS"/>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Trebuchet MS"/>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Trebuchet MS"/>
                <a:ea typeface="+mn-ea"/>
                <a:cs typeface="Arial"/>
              </a:defRPr>
            </a:lvl4pPr>
            <a:lvl5pPr marL="2057364" indent="-228596" algn="l" defTabSz="457192" rtl="0" eaLnBrk="1" latinLnBrk="0" hangingPunct="1">
              <a:spcBef>
                <a:spcPct val="20000"/>
              </a:spcBef>
              <a:buFont typeface="Arial"/>
              <a:buChar char="»"/>
              <a:defRPr sz="1400" b="0" i="0" kern="1200">
                <a:solidFill>
                  <a:schemeClr val="tx1"/>
                </a:solidFill>
                <a:latin typeface="Trebuchet MS"/>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342895" marR="0" lvl="0" indent="-342895" algn="l" defTabSz="457192" rtl="0" eaLnBrk="1" fontAlgn="auto" latinLnBrk="0" hangingPunct="1">
              <a:lnSpc>
                <a:spcPct val="10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rgbClr val="231F20"/>
                </a:solidFill>
                <a:effectLst/>
                <a:uLnTx/>
                <a:uFillTx/>
                <a:latin typeface="Trebuchet MS"/>
                <a:ea typeface="+mn-ea"/>
                <a:cs typeface="Arial"/>
              </a:rPr>
              <a:t>AI agents can be </a:t>
            </a:r>
            <a:r>
              <a:rPr kumimoji="0" lang="en-US" sz="1800" b="0" i="0" u="none" strike="noStrike" kern="1200" cap="none" spc="0" normalizeH="0" baseline="0" noProof="0" dirty="0" err="1">
                <a:ln>
                  <a:noFill/>
                </a:ln>
                <a:solidFill>
                  <a:srgbClr val="231F20"/>
                </a:solidFill>
                <a:effectLst/>
                <a:uLnTx/>
                <a:uFillTx/>
                <a:latin typeface="Trebuchet MS"/>
                <a:ea typeface="+mn-ea"/>
                <a:cs typeface="Arial"/>
              </a:rPr>
              <a:t>defacto</a:t>
            </a:r>
            <a:r>
              <a:rPr kumimoji="0" lang="en-US" sz="1800" b="0" i="0" u="none" strike="noStrike" kern="1200" cap="none" spc="0" normalizeH="0" baseline="0" noProof="0" dirty="0">
                <a:ln>
                  <a:noFill/>
                </a:ln>
                <a:solidFill>
                  <a:srgbClr val="231F20"/>
                </a:solidFill>
                <a:effectLst/>
                <a:uLnTx/>
                <a:uFillTx/>
                <a:latin typeface="Trebuchet MS"/>
                <a:ea typeface="+mn-ea"/>
                <a:cs typeface="Arial"/>
              </a:rPr>
              <a:t> tools themselves.</a:t>
            </a:r>
          </a:p>
          <a:p>
            <a:pPr marL="0" marR="0" lvl="0" indent="0" algn="l" defTabSz="457192" rtl="0" eaLnBrk="1" fontAlgn="auto" latinLnBrk="0" hangingPunct="1">
              <a:lnSpc>
                <a:spcPct val="100000"/>
              </a:lnSpc>
              <a:spcBef>
                <a:spcPct val="20000"/>
              </a:spcBef>
              <a:spcAft>
                <a:spcPts val="0"/>
              </a:spcAft>
              <a:buClrTx/>
              <a:buSzTx/>
              <a:buFont typeface="Arial"/>
              <a:buNone/>
              <a:tabLst/>
              <a:defRPr/>
            </a:pPr>
            <a:endParaRPr kumimoji="0" lang="en-US" sz="1800" b="0" i="0" u="none" strike="noStrike" kern="1200" cap="none" spc="0" normalizeH="0" baseline="0" noProof="0" dirty="0">
              <a:ln>
                <a:noFill/>
              </a:ln>
              <a:solidFill>
                <a:srgbClr val="231F20"/>
              </a:solidFill>
              <a:effectLst/>
              <a:uLnTx/>
              <a:uFillTx/>
              <a:latin typeface="Trebuchet MS"/>
              <a:ea typeface="+mn-ea"/>
              <a:cs typeface="Arial"/>
            </a:endParaRPr>
          </a:p>
          <a:p>
            <a:pPr marL="342895" marR="0" lvl="0" indent="-342895" algn="l" defTabSz="457192" rtl="0" eaLnBrk="1" fontAlgn="auto" latinLnBrk="0" hangingPunct="1">
              <a:lnSpc>
                <a:spcPct val="10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rgbClr val="231F20"/>
                </a:solidFill>
                <a:effectLst/>
                <a:uLnTx/>
                <a:uFillTx/>
                <a:latin typeface="Trebuchet MS"/>
                <a:ea typeface="+mn-ea"/>
                <a:cs typeface="Arial"/>
              </a:rPr>
              <a:t>Other agents can ask another agent to provide certain findings</a:t>
            </a:r>
          </a:p>
          <a:p>
            <a:pPr marL="342895" marR="0" lvl="0" indent="-342895" algn="l" defTabSz="457192" rtl="0" eaLnBrk="1" fontAlgn="auto" latinLnBrk="0" hangingPunct="1">
              <a:lnSpc>
                <a:spcPct val="100000"/>
              </a:lnSpc>
              <a:spcBef>
                <a:spcPct val="20000"/>
              </a:spcBef>
              <a:spcAft>
                <a:spcPts val="0"/>
              </a:spcAft>
              <a:buClrTx/>
              <a:buSzTx/>
              <a:buFont typeface="Arial"/>
              <a:buChar char="•"/>
              <a:tabLst/>
              <a:defRPr/>
            </a:pPr>
            <a:endParaRPr kumimoji="0" lang="en-US" sz="1800" b="0" i="0" u="none" strike="noStrike" kern="1200" cap="none" spc="0" normalizeH="0" baseline="0" noProof="0" dirty="0">
              <a:ln>
                <a:noFill/>
              </a:ln>
              <a:solidFill>
                <a:srgbClr val="231F20"/>
              </a:solidFill>
              <a:effectLst/>
              <a:uLnTx/>
              <a:uFillTx/>
              <a:latin typeface="Trebuchet MS"/>
              <a:ea typeface="+mn-ea"/>
              <a:cs typeface="Arial"/>
            </a:endParaRPr>
          </a:p>
          <a:p>
            <a:pPr marL="342895" marR="0" lvl="0" indent="-342895" algn="l" defTabSz="457192" rtl="0" eaLnBrk="1" fontAlgn="auto" latinLnBrk="0" hangingPunct="1">
              <a:lnSpc>
                <a:spcPct val="10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rgbClr val="231F20"/>
                </a:solidFill>
                <a:effectLst/>
                <a:uLnTx/>
                <a:uFillTx/>
                <a:latin typeface="Trebuchet MS"/>
                <a:ea typeface="+mn-ea"/>
                <a:cs typeface="Arial"/>
              </a:rPr>
              <a:t>The agents are called ‘experts’</a:t>
            </a:r>
            <a:br>
              <a:rPr kumimoji="0" lang="en-US" sz="1800" b="0" i="0" u="none" strike="noStrike" kern="1200" cap="none" spc="0" normalizeH="0" baseline="0" noProof="0" dirty="0">
                <a:ln>
                  <a:noFill/>
                </a:ln>
                <a:solidFill>
                  <a:srgbClr val="231F20"/>
                </a:solidFill>
                <a:effectLst/>
                <a:uLnTx/>
                <a:uFillTx/>
                <a:latin typeface="Trebuchet MS"/>
                <a:ea typeface="+mn-ea"/>
                <a:cs typeface="Arial"/>
              </a:rPr>
            </a:br>
            <a:endParaRPr kumimoji="0" lang="en-US" sz="1800" b="0" i="0" u="none" strike="noStrike" kern="1200" cap="none" spc="0" normalizeH="0" baseline="0" noProof="0" dirty="0">
              <a:ln>
                <a:noFill/>
              </a:ln>
              <a:solidFill>
                <a:srgbClr val="231F20"/>
              </a:solidFill>
              <a:effectLst/>
              <a:uLnTx/>
              <a:uFillTx/>
              <a:latin typeface="Trebuchet MS"/>
              <a:ea typeface="+mn-ea"/>
              <a:cs typeface="Arial"/>
            </a:endParaRPr>
          </a:p>
          <a:p>
            <a:pPr marL="342895" marR="0" lvl="0" indent="-342895" algn="l" defTabSz="457192" rtl="0" eaLnBrk="1" fontAlgn="auto" latinLnBrk="0" hangingPunct="1">
              <a:lnSpc>
                <a:spcPct val="10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rgbClr val="231F20"/>
                </a:solidFill>
                <a:effectLst/>
                <a:uLnTx/>
                <a:uFillTx/>
                <a:latin typeface="Trebuchet MS"/>
                <a:ea typeface="+mn-ea"/>
                <a:cs typeface="Arial"/>
              </a:rPr>
              <a:t>(Right) We have a hierarchical structure where various agents can only see a couple of tools or peer agents at a time.</a:t>
            </a:r>
            <a:br>
              <a:rPr kumimoji="0" lang="en-US" sz="1800" b="0" i="0" u="none" strike="noStrike" kern="1200" cap="none" spc="0" normalizeH="0" baseline="0" noProof="0" dirty="0">
                <a:ln>
                  <a:noFill/>
                </a:ln>
                <a:solidFill>
                  <a:srgbClr val="231F20"/>
                </a:solidFill>
                <a:effectLst/>
                <a:uLnTx/>
                <a:uFillTx/>
                <a:latin typeface="Trebuchet MS"/>
                <a:ea typeface="+mn-ea"/>
                <a:cs typeface="Arial"/>
              </a:rPr>
            </a:br>
            <a:endParaRPr kumimoji="0" lang="en-US" sz="1800" b="0" i="0" u="none" strike="noStrike" kern="1200" cap="none" spc="0" normalizeH="0" baseline="0" noProof="0" dirty="0">
              <a:ln>
                <a:noFill/>
              </a:ln>
              <a:solidFill>
                <a:srgbClr val="231F20"/>
              </a:solidFill>
              <a:effectLst/>
              <a:uLnTx/>
              <a:uFillTx/>
              <a:latin typeface="Trebuchet MS"/>
              <a:ea typeface="+mn-ea"/>
              <a:cs typeface="Arial"/>
            </a:endParaRPr>
          </a:p>
          <a:p>
            <a:pPr marL="342895" marR="0" lvl="0" indent="-342895" algn="l" defTabSz="457192" rtl="0" eaLnBrk="1" fontAlgn="auto" latinLnBrk="0" hangingPunct="1">
              <a:lnSpc>
                <a:spcPct val="10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rgbClr val="231F20"/>
                </a:solidFill>
                <a:effectLst/>
                <a:uLnTx/>
                <a:uFillTx/>
                <a:latin typeface="Trebuchet MS"/>
                <a:ea typeface="+mn-ea"/>
                <a:cs typeface="Arial"/>
              </a:rPr>
              <a:t>Example: One agent might handle raw data processing, another built to decipher the data and a third with decision making. This is called “distributed intelligence”</a:t>
            </a:r>
            <a:br>
              <a:rPr kumimoji="0" lang="en-US" sz="1800" b="0" i="0" u="none" strike="noStrike" kern="1200" cap="none" spc="0" normalizeH="0" baseline="0" noProof="0" dirty="0">
                <a:ln>
                  <a:noFill/>
                </a:ln>
                <a:solidFill>
                  <a:srgbClr val="231F20"/>
                </a:solidFill>
                <a:effectLst/>
                <a:uLnTx/>
                <a:uFillTx/>
                <a:latin typeface="Trebuchet MS"/>
                <a:ea typeface="+mn-ea"/>
                <a:cs typeface="Arial"/>
              </a:rPr>
            </a:br>
            <a:endParaRPr kumimoji="0" lang="en-US" sz="1800" b="0" i="0" u="none" strike="noStrike" kern="1200" cap="none" spc="0" normalizeH="0" baseline="0" noProof="0" dirty="0">
              <a:ln>
                <a:noFill/>
              </a:ln>
              <a:solidFill>
                <a:srgbClr val="231F20"/>
              </a:solidFill>
              <a:effectLst/>
              <a:uLnTx/>
              <a:uFillTx/>
              <a:latin typeface="Trebuchet MS"/>
              <a:ea typeface="+mn-ea"/>
              <a:cs typeface="Arial"/>
            </a:endParaRPr>
          </a:p>
          <a:p>
            <a:pPr marL="342895" marR="0" lvl="0" indent="-342895" algn="l" defTabSz="457192" rtl="0" eaLnBrk="1" fontAlgn="auto" latinLnBrk="0" hangingPunct="1">
              <a:lnSpc>
                <a:spcPct val="10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rgbClr val="231F20"/>
                </a:solidFill>
                <a:effectLst/>
                <a:uLnTx/>
                <a:uFillTx/>
                <a:latin typeface="Trebuchet MS"/>
                <a:ea typeface="+mn-ea"/>
                <a:cs typeface="Arial"/>
              </a:rPr>
              <a:t>o3 uses real time web browsing while o3-mini without the real time browsing performs much worse. </a:t>
            </a:r>
          </a:p>
        </p:txBody>
      </p:sp>
      <p:sp>
        <p:nvSpPr>
          <p:cNvPr id="74" name="TextBox 73">
            <a:extLst>
              <a:ext uri="{FF2B5EF4-FFF2-40B4-BE49-F238E27FC236}">
                <a16:creationId xmlns:a16="http://schemas.microsoft.com/office/drawing/2014/main" id="{C8D7D4D8-2E71-2365-8BD7-667D5D25841B}"/>
              </a:ext>
            </a:extLst>
          </p:cNvPr>
          <p:cNvSpPr txBox="1"/>
          <p:nvPr/>
        </p:nvSpPr>
        <p:spPr>
          <a:xfrm>
            <a:off x="716376" y="6439915"/>
            <a:ext cx="420198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Arial"/>
                <a:ea typeface="+mn-ea"/>
                <a:cs typeface="+mn-cs"/>
              </a:rPr>
              <a:t>https://</a:t>
            </a:r>
            <a:r>
              <a:rPr kumimoji="0" lang="en-US" sz="1200" b="0" i="0" u="none" strike="noStrike" kern="1200" cap="none" spc="0" normalizeH="0" baseline="0" noProof="0" dirty="0" err="1">
                <a:ln>
                  <a:noFill/>
                </a:ln>
                <a:solidFill>
                  <a:srgbClr val="231F20"/>
                </a:solidFill>
                <a:effectLst/>
                <a:uLnTx/>
                <a:uFillTx/>
                <a:latin typeface="Arial"/>
                <a:ea typeface="+mn-ea"/>
                <a:cs typeface="+mn-cs"/>
              </a:rPr>
              <a:t>x.com</a:t>
            </a:r>
            <a:r>
              <a:rPr kumimoji="0" lang="en-US" sz="1200" b="0" i="0" u="none" strike="noStrike" kern="1200" cap="none" spc="0" normalizeH="0" baseline="0" noProof="0" dirty="0">
                <a:ln>
                  <a:noFill/>
                </a:ln>
                <a:solidFill>
                  <a:srgbClr val="231F20"/>
                </a:solidFill>
                <a:effectLst/>
                <a:uLnTx/>
                <a:uFillTx/>
                <a:latin typeface="Arial"/>
                <a:ea typeface="+mn-ea"/>
                <a:cs typeface="+mn-cs"/>
              </a:rPr>
              <a:t>/</a:t>
            </a:r>
            <a:r>
              <a:rPr kumimoji="0" lang="en-US" sz="1200" b="0" i="0" u="none" strike="noStrike" kern="1200" cap="none" spc="0" normalizeH="0" baseline="0" noProof="0" dirty="0" err="1">
                <a:ln>
                  <a:noFill/>
                </a:ln>
                <a:solidFill>
                  <a:srgbClr val="231F20"/>
                </a:solidFill>
                <a:effectLst/>
                <a:uLnTx/>
                <a:uFillTx/>
                <a:latin typeface="Arial"/>
                <a:ea typeface="+mn-ea"/>
                <a:cs typeface="+mn-cs"/>
              </a:rPr>
              <a:t>DanHendrycks</a:t>
            </a:r>
            <a:r>
              <a:rPr kumimoji="0" lang="en-US" sz="1200" b="0" i="0" u="none" strike="noStrike" kern="1200" cap="none" spc="0" normalizeH="0" baseline="0" noProof="0" dirty="0">
                <a:ln>
                  <a:noFill/>
                </a:ln>
                <a:solidFill>
                  <a:srgbClr val="231F20"/>
                </a:solidFill>
                <a:effectLst/>
                <a:uLnTx/>
                <a:uFillTx/>
                <a:latin typeface="Arial"/>
                <a:ea typeface="+mn-ea"/>
                <a:cs typeface="+mn-cs"/>
              </a:rPr>
              <a:t>/status/1886207504037945462</a:t>
            </a:r>
          </a:p>
        </p:txBody>
      </p:sp>
    </p:spTree>
    <p:extLst>
      <p:ext uri="{BB962C8B-B14F-4D97-AF65-F5344CB8AC3E}">
        <p14:creationId xmlns:p14="http://schemas.microsoft.com/office/powerpoint/2010/main" val="3130153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5000"/>
                                  </p:stCondLst>
                                  <p:childTnLst>
                                    <p:set>
                                      <p:cBhvr>
                                        <p:cTn id="6" dur="1" fill="hold">
                                          <p:stCondLst>
                                            <p:cond delay="0"/>
                                          </p:stCondLst>
                                        </p:cTn>
                                        <p:tgtEl>
                                          <p:spTgt spid="70"/>
                                        </p:tgtEl>
                                        <p:attrNameLst>
                                          <p:attrName>style.visibility</p:attrName>
                                        </p:attrNameLst>
                                      </p:cBhvr>
                                      <p:to>
                                        <p:strVal val="visible"/>
                                      </p:to>
                                    </p:set>
                                    <p:animEffect transition="in" filter="dissolve">
                                      <p:cBhvr>
                                        <p:cTn id="7" dur="10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364B9F-AA62-07C5-9532-0C9C69A8AD79}"/>
              </a:ext>
            </a:extLst>
          </p:cNvPr>
          <p:cNvSpPr>
            <a:spLocks noGrp="1"/>
          </p:cNvSpPr>
          <p:nvPr>
            <p:ph type="title"/>
          </p:nvPr>
        </p:nvSpPr>
        <p:spPr/>
        <p:txBody>
          <a:bodyPr/>
          <a:lstStyle/>
          <a:p>
            <a:r>
              <a:rPr lang="en-US" dirty="0"/>
              <a:t>What are some of the tools we can enable with Agents?</a:t>
            </a:r>
          </a:p>
        </p:txBody>
      </p:sp>
      <p:sp>
        <p:nvSpPr>
          <p:cNvPr id="3" name="Text Placeholder 2">
            <a:extLst>
              <a:ext uri="{FF2B5EF4-FFF2-40B4-BE49-F238E27FC236}">
                <a16:creationId xmlns:a16="http://schemas.microsoft.com/office/drawing/2014/main" id="{D078517E-4A7E-7162-A68F-D4129783CFFF}"/>
              </a:ext>
            </a:extLst>
          </p:cNvPr>
          <p:cNvSpPr>
            <a:spLocks noGrp="1"/>
          </p:cNvSpPr>
          <p:nvPr>
            <p:ph type="body" sz="quarter" idx="10"/>
          </p:nvPr>
        </p:nvSpPr>
        <p:spPr>
          <a:xfrm>
            <a:off x="258213" y="1257340"/>
            <a:ext cx="3840832" cy="4957763"/>
          </a:xfrm>
        </p:spPr>
        <p:txBody>
          <a:bodyPr/>
          <a:lstStyle/>
          <a:p>
            <a:r>
              <a:rPr lang="en-US" dirty="0"/>
              <a:t>APIs</a:t>
            </a:r>
          </a:p>
          <a:p>
            <a:r>
              <a:rPr lang="en-US" dirty="0"/>
              <a:t>System controls</a:t>
            </a:r>
          </a:p>
          <a:p>
            <a:r>
              <a:rPr lang="en-US" dirty="0"/>
              <a:t>Database connections</a:t>
            </a:r>
          </a:p>
          <a:p>
            <a:r>
              <a:rPr lang="en-US" dirty="0"/>
              <a:t>Custom built code</a:t>
            </a:r>
          </a:p>
          <a:p>
            <a:r>
              <a:rPr lang="en-US" dirty="0"/>
              <a:t>Applications (search engines)</a:t>
            </a:r>
          </a:p>
          <a:p>
            <a:r>
              <a:rPr lang="en-US" dirty="0"/>
              <a:t>Command line access to executables.. more apps</a:t>
            </a:r>
          </a:p>
        </p:txBody>
      </p:sp>
      <p:sp>
        <p:nvSpPr>
          <p:cNvPr id="4" name="TextBox 3">
            <a:extLst>
              <a:ext uri="{FF2B5EF4-FFF2-40B4-BE49-F238E27FC236}">
                <a16:creationId xmlns:a16="http://schemas.microsoft.com/office/drawing/2014/main" id="{874D6DC5-06F2-687B-CADA-62621B6DEAAD}"/>
              </a:ext>
            </a:extLst>
          </p:cNvPr>
          <p:cNvSpPr txBox="1"/>
          <p:nvPr/>
        </p:nvSpPr>
        <p:spPr>
          <a:xfrm>
            <a:off x="526473" y="6189663"/>
            <a:ext cx="341202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31F20"/>
                </a:solidFill>
                <a:effectLst/>
                <a:uLnTx/>
                <a:uFillTx/>
                <a:latin typeface="Arial"/>
                <a:ea typeface="+mn-ea"/>
                <a:cs typeface="+mn-cs"/>
              </a:rPr>
              <a:t>https://</a:t>
            </a:r>
            <a:r>
              <a:rPr kumimoji="0" lang="en-US" sz="1800" b="0" i="0" u="none" strike="noStrike" kern="1200" cap="none" spc="0" normalizeH="0" baseline="0" noProof="0" dirty="0" err="1">
                <a:ln>
                  <a:noFill/>
                </a:ln>
                <a:solidFill>
                  <a:srgbClr val="231F20"/>
                </a:solidFill>
                <a:effectLst/>
                <a:uLnTx/>
                <a:uFillTx/>
                <a:latin typeface="Arial"/>
                <a:ea typeface="+mn-ea"/>
                <a:cs typeface="+mn-cs"/>
              </a:rPr>
              <a:t>arxiv.org</a:t>
            </a:r>
            <a:r>
              <a:rPr kumimoji="0" lang="en-US" sz="1800" b="0" i="0" u="none" strike="noStrike" kern="1200" cap="none" spc="0" normalizeH="0" baseline="0" noProof="0" dirty="0">
                <a:ln>
                  <a:noFill/>
                </a:ln>
                <a:solidFill>
                  <a:srgbClr val="231F20"/>
                </a:solidFill>
                <a:effectLst/>
                <a:uLnTx/>
                <a:uFillTx/>
                <a:latin typeface="Arial"/>
                <a:ea typeface="+mn-ea"/>
                <a:cs typeface="+mn-cs"/>
              </a:rPr>
              <a:t>/pdf/2308.03427</a:t>
            </a:r>
          </a:p>
        </p:txBody>
      </p:sp>
      <p:sp>
        <p:nvSpPr>
          <p:cNvPr id="5" name="TextBox 4">
            <a:extLst>
              <a:ext uri="{FF2B5EF4-FFF2-40B4-BE49-F238E27FC236}">
                <a16:creationId xmlns:a16="http://schemas.microsoft.com/office/drawing/2014/main" id="{D839A6CB-7EC2-A385-7230-658863E9CDD1}"/>
              </a:ext>
            </a:extLst>
          </p:cNvPr>
          <p:cNvSpPr txBox="1"/>
          <p:nvPr/>
        </p:nvSpPr>
        <p:spPr>
          <a:xfrm>
            <a:off x="4475018" y="6189663"/>
            <a:ext cx="682321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31F20"/>
                </a:solidFill>
                <a:effectLst/>
                <a:uLnTx/>
                <a:uFillTx/>
                <a:latin typeface="Arial"/>
                <a:ea typeface="+mn-ea"/>
                <a:cs typeface="+mn-cs"/>
              </a:rPr>
              <a:t>https://</a:t>
            </a:r>
            <a:r>
              <a:rPr kumimoji="0" lang="en-US" sz="1800" b="0" i="0" u="none" strike="noStrike" kern="1200" cap="none" spc="0" normalizeH="0" baseline="0" noProof="0" dirty="0" err="1">
                <a:ln>
                  <a:noFill/>
                </a:ln>
                <a:solidFill>
                  <a:srgbClr val="231F20"/>
                </a:solidFill>
                <a:effectLst/>
                <a:uLnTx/>
                <a:uFillTx/>
                <a:latin typeface="Arial"/>
                <a:ea typeface="+mn-ea"/>
                <a:cs typeface="+mn-cs"/>
              </a:rPr>
              <a:t>gorilla.cs.berkeley.edu</a:t>
            </a:r>
            <a:r>
              <a:rPr kumimoji="0" lang="en-US" sz="1800" b="0" i="0" u="none" strike="noStrike" kern="1200" cap="none" spc="0" normalizeH="0" baseline="0" noProof="0" dirty="0">
                <a:ln>
                  <a:noFill/>
                </a:ln>
                <a:solidFill>
                  <a:srgbClr val="231F20"/>
                </a:solidFill>
                <a:effectLst/>
                <a:uLnTx/>
                <a:uFillTx/>
                <a:latin typeface="Arial"/>
                <a:ea typeface="+mn-ea"/>
                <a:cs typeface="+mn-cs"/>
              </a:rPr>
              <a:t>/blogs/15_bfcl_v4_web_search.html</a:t>
            </a:r>
          </a:p>
        </p:txBody>
      </p:sp>
      <p:pic>
        <p:nvPicPr>
          <p:cNvPr id="10" name="Picture 9" descr="A screenshot of a computer screen&#10;&#10;AI-generated content may be incorrect.">
            <a:extLst>
              <a:ext uri="{FF2B5EF4-FFF2-40B4-BE49-F238E27FC236}">
                <a16:creationId xmlns:a16="http://schemas.microsoft.com/office/drawing/2014/main" id="{3A0E2287-AFB3-52F7-7C28-7DC8526304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67305" y="1257340"/>
            <a:ext cx="7772400" cy="4932323"/>
          </a:xfrm>
          <a:prstGeom prst="rect">
            <a:avLst/>
          </a:prstGeom>
        </p:spPr>
      </p:pic>
      <p:sp>
        <p:nvSpPr>
          <p:cNvPr id="8" name="TextBox 7">
            <a:extLst>
              <a:ext uri="{FF2B5EF4-FFF2-40B4-BE49-F238E27FC236}">
                <a16:creationId xmlns:a16="http://schemas.microsoft.com/office/drawing/2014/main" id="{129EB906-4CD1-E227-D1E4-6CB98166B85A}"/>
              </a:ext>
            </a:extLst>
          </p:cNvPr>
          <p:cNvSpPr txBox="1"/>
          <p:nvPr/>
        </p:nvSpPr>
        <p:spPr>
          <a:xfrm>
            <a:off x="4225007" y="927053"/>
            <a:ext cx="41729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31F20"/>
                </a:solidFill>
                <a:effectLst/>
                <a:uLnTx/>
                <a:uFillTx/>
                <a:latin typeface="Arial"/>
                <a:ea typeface="+mn-ea"/>
                <a:cs typeface="+mn-cs"/>
              </a:rPr>
              <a:t>Berkeley Function Calling Leaderboard</a:t>
            </a:r>
          </a:p>
        </p:txBody>
      </p:sp>
    </p:spTree>
    <p:extLst>
      <p:ext uri="{BB962C8B-B14F-4D97-AF65-F5344CB8AC3E}">
        <p14:creationId xmlns:p14="http://schemas.microsoft.com/office/powerpoint/2010/main" val="2746951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89AB1-6167-13F3-7645-AB9BFEC768DD}"/>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92840288-5AE6-EDBC-42C5-90D8D9F416A9}"/>
              </a:ext>
            </a:extLst>
          </p:cNvPr>
          <p:cNvPicPr>
            <a:picLocks noGrp="1" noChangeAspect="1"/>
          </p:cNvPicPr>
          <p:nvPr>
            <p:ph sz="quarter" idx="11"/>
          </p:nvPr>
        </p:nvPicPr>
        <p:blipFill>
          <a:blip r:embed="rId2">
            <a:alphaModFix amt="17000"/>
          </a:blip>
          <a:stretch>
            <a:fillRect/>
          </a:stretch>
        </p:blipFill>
        <p:spPr>
          <a:xfrm>
            <a:off x="82853" y="102231"/>
            <a:ext cx="12014489" cy="6650698"/>
          </a:xfrm>
        </p:spPr>
      </p:pic>
      <p:sp>
        <p:nvSpPr>
          <p:cNvPr id="2" name="Text Placeholder 1">
            <a:extLst>
              <a:ext uri="{FF2B5EF4-FFF2-40B4-BE49-F238E27FC236}">
                <a16:creationId xmlns:a16="http://schemas.microsoft.com/office/drawing/2014/main" id="{B0CAAF8F-40A1-7F22-B73A-A96F324F08B2}"/>
              </a:ext>
            </a:extLst>
          </p:cNvPr>
          <p:cNvSpPr>
            <a:spLocks noGrp="1"/>
          </p:cNvSpPr>
          <p:nvPr>
            <p:ph type="body" sz="quarter" idx="10"/>
          </p:nvPr>
        </p:nvSpPr>
        <p:spPr>
          <a:xfrm>
            <a:off x="1234464" y="1743723"/>
            <a:ext cx="9711266" cy="3367714"/>
          </a:xfrm>
        </p:spPr>
        <p:txBody>
          <a:bodyPr anchor="ctr"/>
          <a:lstStyle/>
          <a:p>
            <a:pPr marL="0" indent="0">
              <a:buNone/>
            </a:pPr>
            <a:r>
              <a:rPr lang="en-US" sz="4800" b="1" dirty="0"/>
              <a:t>The Core Principles of Tool Usage</a:t>
            </a:r>
          </a:p>
        </p:txBody>
      </p:sp>
    </p:spTree>
    <p:extLst>
      <p:ext uri="{BB962C8B-B14F-4D97-AF65-F5344CB8AC3E}">
        <p14:creationId xmlns:p14="http://schemas.microsoft.com/office/powerpoint/2010/main" val="19394316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10">
            <a:extLst>
              <a:ext uri="{FF2B5EF4-FFF2-40B4-BE49-F238E27FC236}">
                <a16:creationId xmlns:a16="http://schemas.microsoft.com/office/drawing/2014/main" id="{E92AED47-4C8D-A765-6947-089EF484506F}"/>
              </a:ext>
            </a:extLst>
          </p:cNvPr>
          <p:cNvSpPr/>
          <p:nvPr/>
        </p:nvSpPr>
        <p:spPr>
          <a:xfrm>
            <a:off x="3408218" y="1147510"/>
            <a:ext cx="6025761" cy="4969272"/>
          </a:xfrm>
          <a:custGeom>
            <a:avLst/>
            <a:gdLst>
              <a:gd name="connsiteX0" fmla="*/ 0 w 5458691"/>
              <a:gd name="connsiteY0" fmla="*/ 4253346 h 4253346"/>
              <a:gd name="connsiteX1" fmla="*/ 1995055 w 5458691"/>
              <a:gd name="connsiteY1" fmla="*/ 1537855 h 4253346"/>
              <a:gd name="connsiteX2" fmla="*/ 5458691 w 5458691"/>
              <a:gd name="connsiteY2" fmla="*/ 0 h 4253346"/>
              <a:gd name="connsiteX0" fmla="*/ 0 w 5458691"/>
              <a:gd name="connsiteY0" fmla="*/ 4253346 h 4253346"/>
              <a:gd name="connsiteX1" fmla="*/ 2535382 w 5458691"/>
              <a:gd name="connsiteY1" fmla="*/ 1122218 h 4253346"/>
              <a:gd name="connsiteX2" fmla="*/ 5458691 w 5458691"/>
              <a:gd name="connsiteY2" fmla="*/ 0 h 4253346"/>
              <a:gd name="connsiteX0" fmla="*/ 0 w 6025761"/>
              <a:gd name="connsiteY0" fmla="*/ 4969272 h 4969272"/>
              <a:gd name="connsiteX1" fmla="*/ 2535382 w 6025761"/>
              <a:gd name="connsiteY1" fmla="*/ 1838144 h 4969272"/>
              <a:gd name="connsiteX2" fmla="*/ 6025761 w 6025761"/>
              <a:gd name="connsiteY2" fmla="*/ 0 h 4969272"/>
              <a:gd name="connsiteX0" fmla="*/ 0 w 6025761"/>
              <a:gd name="connsiteY0" fmla="*/ 4969272 h 4969272"/>
              <a:gd name="connsiteX1" fmla="*/ 2535382 w 6025761"/>
              <a:gd name="connsiteY1" fmla="*/ 1838144 h 4969272"/>
              <a:gd name="connsiteX2" fmla="*/ 6025761 w 6025761"/>
              <a:gd name="connsiteY2" fmla="*/ 0 h 4969272"/>
            </a:gdLst>
            <a:ahLst/>
            <a:cxnLst>
              <a:cxn ang="0">
                <a:pos x="connsiteX0" y="connsiteY0"/>
              </a:cxn>
              <a:cxn ang="0">
                <a:pos x="connsiteX1" y="connsiteY1"/>
              </a:cxn>
              <a:cxn ang="0">
                <a:pos x="connsiteX2" y="connsiteY2"/>
              </a:cxn>
            </a:cxnLst>
            <a:rect l="l" t="t" r="r" b="b"/>
            <a:pathLst>
              <a:path w="6025761" h="4969272">
                <a:moveTo>
                  <a:pt x="0" y="4969272"/>
                </a:moveTo>
                <a:cubicBezTo>
                  <a:pt x="542636" y="3965972"/>
                  <a:pt x="1625600" y="2547035"/>
                  <a:pt x="2535382" y="1838144"/>
                </a:cubicBezTo>
                <a:cubicBezTo>
                  <a:pt x="3445164" y="1129253"/>
                  <a:pt x="3887918" y="759208"/>
                  <a:pt x="6025761" y="0"/>
                </a:cubicBezTo>
              </a:path>
            </a:pathLst>
          </a:custGeom>
          <a:noFill/>
          <a:ln w="2095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Freeform 6">
            <a:extLst>
              <a:ext uri="{FF2B5EF4-FFF2-40B4-BE49-F238E27FC236}">
                <a16:creationId xmlns:a16="http://schemas.microsoft.com/office/drawing/2014/main" id="{55D0A601-0D4F-2BDF-5A54-EE04BCFEEB49}"/>
              </a:ext>
            </a:extLst>
          </p:cNvPr>
          <p:cNvSpPr>
            <a:spLocks/>
          </p:cNvSpPr>
          <p:nvPr/>
        </p:nvSpPr>
        <p:spPr bwMode="auto">
          <a:xfrm>
            <a:off x="6120533" y="655356"/>
            <a:ext cx="1759815" cy="974930"/>
          </a:xfrm>
          <a:custGeom>
            <a:avLst/>
            <a:gdLst>
              <a:gd name="T0" fmla="*/ 90 w 3705"/>
              <a:gd name="T1" fmla="*/ 1401 h 2049"/>
              <a:gd name="T2" fmla="*/ 133 w 3705"/>
              <a:gd name="T3" fmla="*/ 1569 h 2049"/>
              <a:gd name="T4" fmla="*/ 274 w 3705"/>
              <a:gd name="T5" fmla="*/ 1711 h 2049"/>
              <a:gd name="T6" fmla="*/ 442 w 3705"/>
              <a:gd name="T7" fmla="*/ 1753 h 2049"/>
              <a:gd name="T8" fmla="*/ 576 w 3705"/>
              <a:gd name="T9" fmla="*/ 1727 h 2049"/>
              <a:gd name="T10" fmla="*/ 673 w 3705"/>
              <a:gd name="T11" fmla="*/ 1711 h 2049"/>
              <a:gd name="T12" fmla="*/ 871 w 3705"/>
              <a:gd name="T13" fmla="*/ 1783 h 2049"/>
              <a:gd name="T14" fmla="*/ 1024 w 3705"/>
              <a:gd name="T15" fmla="*/ 1769 h 2049"/>
              <a:gd name="T16" fmla="*/ 1214 w 3705"/>
              <a:gd name="T17" fmla="*/ 1650 h 2049"/>
              <a:gd name="T18" fmla="*/ 1312 w 3705"/>
              <a:gd name="T19" fmla="*/ 1449 h 2049"/>
              <a:gd name="T20" fmla="*/ 1418 w 3705"/>
              <a:gd name="T21" fmla="*/ 1508 h 2049"/>
              <a:gd name="T22" fmla="*/ 1648 w 3705"/>
              <a:gd name="T23" fmla="*/ 1578 h 2049"/>
              <a:gd name="T24" fmla="*/ 1849 w 3705"/>
              <a:gd name="T25" fmla="*/ 1527 h 2049"/>
              <a:gd name="T26" fmla="*/ 1965 w 3705"/>
              <a:gd name="T27" fmla="*/ 1479 h 2049"/>
              <a:gd name="T28" fmla="*/ 2137 w 3705"/>
              <a:gd name="T29" fmla="*/ 1590 h 2049"/>
              <a:gd name="T30" fmla="*/ 2169 w 3705"/>
              <a:gd name="T31" fmla="*/ 1639 h 2049"/>
              <a:gd name="T32" fmla="*/ 2218 w 3705"/>
              <a:gd name="T33" fmla="*/ 1835 h 2049"/>
              <a:gd name="T34" fmla="*/ 2383 w 3705"/>
              <a:gd name="T35" fmla="*/ 2000 h 2049"/>
              <a:gd name="T36" fmla="*/ 2578 w 3705"/>
              <a:gd name="T37" fmla="*/ 2049 h 2049"/>
              <a:gd name="T38" fmla="*/ 2724 w 3705"/>
              <a:gd name="T39" fmla="*/ 2022 h 2049"/>
              <a:gd name="T40" fmla="*/ 2866 w 3705"/>
              <a:gd name="T41" fmla="*/ 1931 h 2049"/>
              <a:gd name="T42" fmla="*/ 2948 w 3705"/>
              <a:gd name="T43" fmla="*/ 1814 h 2049"/>
              <a:gd name="T44" fmla="*/ 3088 w 3705"/>
              <a:gd name="T45" fmla="*/ 1861 h 2049"/>
              <a:gd name="T46" fmla="*/ 3234 w 3705"/>
              <a:gd name="T47" fmla="*/ 1867 h 2049"/>
              <a:gd name="T48" fmla="*/ 3514 w 3705"/>
              <a:gd name="T49" fmla="*/ 1750 h 2049"/>
              <a:gd name="T50" fmla="*/ 3683 w 3705"/>
              <a:gd name="T51" fmla="*/ 1501 h 2049"/>
              <a:gd name="T52" fmla="*/ 3705 w 3705"/>
              <a:gd name="T53" fmla="*/ 1306 h 2049"/>
              <a:gd name="T54" fmla="*/ 3645 w 3705"/>
              <a:gd name="T55" fmla="*/ 1099 h 2049"/>
              <a:gd name="T56" fmla="*/ 3513 w 3705"/>
              <a:gd name="T57" fmla="*/ 937 h 2049"/>
              <a:gd name="T58" fmla="*/ 3396 w 3705"/>
              <a:gd name="T59" fmla="*/ 844 h 2049"/>
              <a:gd name="T60" fmla="*/ 3175 w 3705"/>
              <a:gd name="T61" fmla="*/ 691 h 2049"/>
              <a:gd name="T62" fmla="*/ 3085 w 3705"/>
              <a:gd name="T63" fmla="*/ 547 h 2049"/>
              <a:gd name="T64" fmla="*/ 2908 w 3705"/>
              <a:gd name="T65" fmla="*/ 343 h 2049"/>
              <a:gd name="T66" fmla="*/ 2648 w 3705"/>
              <a:gd name="T67" fmla="*/ 250 h 2049"/>
              <a:gd name="T68" fmla="*/ 2509 w 3705"/>
              <a:gd name="T69" fmla="*/ 256 h 2049"/>
              <a:gd name="T70" fmla="*/ 2367 w 3705"/>
              <a:gd name="T71" fmla="*/ 302 h 2049"/>
              <a:gd name="T72" fmla="*/ 2258 w 3705"/>
              <a:gd name="T73" fmla="*/ 151 h 2049"/>
              <a:gd name="T74" fmla="*/ 2072 w 3705"/>
              <a:gd name="T75" fmla="*/ 33 h 2049"/>
              <a:gd name="T76" fmla="*/ 1881 w 3705"/>
              <a:gd name="T77" fmla="*/ 0 h 2049"/>
              <a:gd name="T78" fmla="*/ 1701 w 3705"/>
              <a:gd name="T79" fmla="*/ 31 h 2049"/>
              <a:gd name="T80" fmla="*/ 1518 w 3705"/>
              <a:gd name="T81" fmla="*/ 138 h 2049"/>
              <a:gd name="T82" fmla="*/ 1409 w 3705"/>
              <a:gd name="T83" fmla="*/ 277 h 2049"/>
              <a:gd name="T84" fmla="*/ 1282 w 3705"/>
              <a:gd name="T85" fmla="*/ 268 h 2049"/>
              <a:gd name="T86" fmla="*/ 1091 w 3705"/>
              <a:gd name="T87" fmla="*/ 334 h 2049"/>
              <a:gd name="T88" fmla="*/ 957 w 3705"/>
              <a:gd name="T89" fmla="*/ 482 h 2049"/>
              <a:gd name="T90" fmla="*/ 883 w 3705"/>
              <a:gd name="T91" fmla="*/ 591 h 2049"/>
              <a:gd name="T92" fmla="*/ 703 w 3705"/>
              <a:gd name="T93" fmla="*/ 745 h 2049"/>
              <a:gd name="T94" fmla="*/ 593 w 3705"/>
              <a:gd name="T95" fmla="*/ 718 h 2049"/>
              <a:gd name="T96" fmla="*/ 410 w 3705"/>
              <a:gd name="T97" fmla="*/ 676 h 2049"/>
              <a:gd name="T98" fmla="*/ 214 w 3705"/>
              <a:gd name="T99" fmla="*/ 724 h 2049"/>
              <a:gd name="T100" fmla="*/ 50 w 3705"/>
              <a:gd name="T101" fmla="*/ 890 h 2049"/>
              <a:gd name="T102" fmla="*/ 0 w 3705"/>
              <a:gd name="T103" fmla="*/ 1085 h 2049"/>
              <a:gd name="T104" fmla="*/ 38 w 3705"/>
              <a:gd name="T105" fmla="*/ 1258 h 2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05" h="2049">
                <a:moveTo>
                  <a:pt x="95" y="1346"/>
                </a:moveTo>
                <a:lnTo>
                  <a:pt x="91" y="1372"/>
                </a:lnTo>
                <a:lnTo>
                  <a:pt x="90" y="1401"/>
                </a:lnTo>
                <a:lnTo>
                  <a:pt x="91" y="1437"/>
                </a:lnTo>
                <a:lnTo>
                  <a:pt x="105" y="1506"/>
                </a:lnTo>
                <a:lnTo>
                  <a:pt x="133" y="1569"/>
                </a:lnTo>
                <a:lnTo>
                  <a:pt x="170" y="1625"/>
                </a:lnTo>
                <a:lnTo>
                  <a:pt x="218" y="1673"/>
                </a:lnTo>
                <a:lnTo>
                  <a:pt x="274" y="1711"/>
                </a:lnTo>
                <a:lnTo>
                  <a:pt x="337" y="1738"/>
                </a:lnTo>
                <a:lnTo>
                  <a:pt x="406" y="1752"/>
                </a:lnTo>
                <a:lnTo>
                  <a:pt x="442" y="1753"/>
                </a:lnTo>
                <a:lnTo>
                  <a:pt x="471" y="1752"/>
                </a:lnTo>
                <a:lnTo>
                  <a:pt x="525" y="1743"/>
                </a:lnTo>
                <a:lnTo>
                  <a:pt x="576" y="1727"/>
                </a:lnTo>
                <a:lnTo>
                  <a:pt x="624" y="1703"/>
                </a:lnTo>
                <a:lnTo>
                  <a:pt x="646" y="1689"/>
                </a:lnTo>
                <a:lnTo>
                  <a:pt x="673" y="1711"/>
                </a:lnTo>
                <a:lnTo>
                  <a:pt x="734" y="1746"/>
                </a:lnTo>
                <a:lnTo>
                  <a:pt x="800" y="1770"/>
                </a:lnTo>
                <a:lnTo>
                  <a:pt x="871" y="1783"/>
                </a:lnTo>
                <a:lnTo>
                  <a:pt x="909" y="1785"/>
                </a:lnTo>
                <a:lnTo>
                  <a:pt x="949" y="1783"/>
                </a:lnTo>
                <a:lnTo>
                  <a:pt x="1024" y="1769"/>
                </a:lnTo>
                <a:lnTo>
                  <a:pt x="1096" y="1740"/>
                </a:lnTo>
                <a:lnTo>
                  <a:pt x="1159" y="1700"/>
                </a:lnTo>
                <a:lnTo>
                  <a:pt x="1214" y="1650"/>
                </a:lnTo>
                <a:lnTo>
                  <a:pt x="1258" y="1590"/>
                </a:lnTo>
                <a:lnTo>
                  <a:pt x="1291" y="1523"/>
                </a:lnTo>
                <a:lnTo>
                  <a:pt x="1312" y="1449"/>
                </a:lnTo>
                <a:lnTo>
                  <a:pt x="1317" y="1410"/>
                </a:lnTo>
                <a:lnTo>
                  <a:pt x="1346" y="1448"/>
                </a:lnTo>
                <a:lnTo>
                  <a:pt x="1418" y="1508"/>
                </a:lnTo>
                <a:lnTo>
                  <a:pt x="1503" y="1553"/>
                </a:lnTo>
                <a:lnTo>
                  <a:pt x="1597" y="1576"/>
                </a:lnTo>
                <a:lnTo>
                  <a:pt x="1648" y="1578"/>
                </a:lnTo>
                <a:lnTo>
                  <a:pt x="1691" y="1577"/>
                </a:lnTo>
                <a:lnTo>
                  <a:pt x="1774" y="1560"/>
                </a:lnTo>
                <a:lnTo>
                  <a:pt x="1849" y="1527"/>
                </a:lnTo>
                <a:lnTo>
                  <a:pt x="1915" y="1480"/>
                </a:lnTo>
                <a:lnTo>
                  <a:pt x="1943" y="1451"/>
                </a:lnTo>
                <a:lnTo>
                  <a:pt x="1965" y="1479"/>
                </a:lnTo>
                <a:lnTo>
                  <a:pt x="2016" y="1525"/>
                </a:lnTo>
                <a:lnTo>
                  <a:pt x="2073" y="1562"/>
                </a:lnTo>
                <a:lnTo>
                  <a:pt x="2137" y="1590"/>
                </a:lnTo>
                <a:lnTo>
                  <a:pt x="2172" y="1599"/>
                </a:lnTo>
                <a:lnTo>
                  <a:pt x="2169" y="1619"/>
                </a:lnTo>
                <a:lnTo>
                  <a:pt x="2169" y="1639"/>
                </a:lnTo>
                <a:lnTo>
                  <a:pt x="2170" y="1681"/>
                </a:lnTo>
                <a:lnTo>
                  <a:pt x="2187" y="1761"/>
                </a:lnTo>
                <a:lnTo>
                  <a:pt x="2218" y="1835"/>
                </a:lnTo>
                <a:lnTo>
                  <a:pt x="2262" y="1900"/>
                </a:lnTo>
                <a:lnTo>
                  <a:pt x="2318" y="1956"/>
                </a:lnTo>
                <a:lnTo>
                  <a:pt x="2383" y="2000"/>
                </a:lnTo>
                <a:lnTo>
                  <a:pt x="2457" y="2031"/>
                </a:lnTo>
                <a:lnTo>
                  <a:pt x="2536" y="2046"/>
                </a:lnTo>
                <a:lnTo>
                  <a:pt x="2578" y="2049"/>
                </a:lnTo>
                <a:lnTo>
                  <a:pt x="2608" y="2048"/>
                </a:lnTo>
                <a:lnTo>
                  <a:pt x="2668" y="2039"/>
                </a:lnTo>
                <a:lnTo>
                  <a:pt x="2724" y="2022"/>
                </a:lnTo>
                <a:lnTo>
                  <a:pt x="2776" y="1998"/>
                </a:lnTo>
                <a:lnTo>
                  <a:pt x="2823" y="1967"/>
                </a:lnTo>
                <a:lnTo>
                  <a:pt x="2866" y="1931"/>
                </a:lnTo>
                <a:lnTo>
                  <a:pt x="2904" y="1888"/>
                </a:lnTo>
                <a:lnTo>
                  <a:pt x="2935" y="1840"/>
                </a:lnTo>
                <a:lnTo>
                  <a:pt x="2948" y="1814"/>
                </a:lnTo>
                <a:lnTo>
                  <a:pt x="2975" y="1827"/>
                </a:lnTo>
                <a:lnTo>
                  <a:pt x="3030" y="1848"/>
                </a:lnTo>
                <a:lnTo>
                  <a:pt x="3088" y="1861"/>
                </a:lnTo>
                <a:lnTo>
                  <a:pt x="3149" y="1869"/>
                </a:lnTo>
                <a:lnTo>
                  <a:pt x="3180" y="1869"/>
                </a:lnTo>
                <a:lnTo>
                  <a:pt x="3234" y="1867"/>
                </a:lnTo>
                <a:lnTo>
                  <a:pt x="3337" y="1845"/>
                </a:lnTo>
                <a:lnTo>
                  <a:pt x="3431" y="1807"/>
                </a:lnTo>
                <a:lnTo>
                  <a:pt x="3514" y="1750"/>
                </a:lnTo>
                <a:lnTo>
                  <a:pt x="3586" y="1678"/>
                </a:lnTo>
                <a:lnTo>
                  <a:pt x="3643" y="1594"/>
                </a:lnTo>
                <a:lnTo>
                  <a:pt x="3683" y="1501"/>
                </a:lnTo>
                <a:lnTo>
                  <a:pt x="3704" y="1398"/>
                </a:lnTo>
                <a:lnTo>
                  <a:pt x="3705" y="1344"/>
                </a:lnTo>
                <a:lnTo>
                  <a:pt x="3705" y="1306"/>
                </a:lnTo>
                <a:lnTo>
                  <a:pt x="3694" y="1234"/>
                </a:lnTo>
                <a:lnTo>
                  <a:pt x="3674" y="1164"/>
                </a:lnTo>
                <a:lnTo>
                  <a:pt x="3645" y="1099"/>
                </a:lnTo>
                <a:lnTo>
                  <a:pt x="3608" y="1039"/>
                </a:lnTo>
                <a:lnTo>
                  <a:pt x="3564" y="985"/>
                </a:lnTo>
                <a:lnTo>
                  <a:pt x="3513" y="937"/>
                </a:lnTo>
                <a:lnTo>
                  <a:pt x="3455" y="895"/>
                </a:lnTo>
                <a:lnTo>
                  <a:pt x="3424" y="879"/>
                </a:lnTo>
                <a:lnTo>
                  <a:pt x="3396" y="844"/>
                </a:lnTo>
                <a:lnTo>
                  <a:pt x="3332" y="780"/>
                </a:lnTo>
                <a:lnTo>
                  <a:pt x="3258" y="729"/>
                </a:lnTo>
                <a:lnTo>
                  <a:pt x="3175" y="691"/>
                </a:lnTo>
                <a:lnTo>
                  <a:pt x="3131" y="678"/>
                </a:lnTo>
                <a:lnTo>
                  <a:pt x="3119" y="632"/>
                </a:lnTo>
                <a:lnTo>
                  <a:pt x="3085" y="547"/>
                </a:lnTo>
                <a:lnTo>
                  <a:pt x="3037" y="469"/>
                </a:lnTo>
                <a:lnTo>
                  <a:pt x="2978" y="402"/>
                </a:lnTo>
                <a:lnTo>
                  <a:pt x="2908" y="343"/>
                </a:lnTo>
                <a:lnTo>
                  <a:pt x="2829" y="298"/>
                </a:lnTo>
                <a:lnTo>
                  <a:pt x="2742" y="267"/>
                </a:lnTo>
                <a:lnTo>
                  <a:pt x="2648" y="250"/>
                </a:lnTo>
                <a:lnTo>
                  <a:pt x="2601" y="249"/>
                </a:lnTo>
                <a:lnTo>
                  <a:pt x="2569" y="250"/>
                </a:lnTo>
                <a:lnTo>
                  <a:pt x="2509" y="256"/>
                </a:lnTo>
                <a:lnTo>
                  <a:pt x="2450" y="269"/>
                </a:lnTo>
                <a:lnTo>
                  <a:pt x="2394" y="289"/>
                </a:lnTo>
                <a:lnTo>
                  <a:pt x="2367" y="302"/>
                </a:lnTo>
                <a:lnTo>
                  <a:pt x="2350" y="268"/>
                </a:lnTo>
                <a:lnTo>
                  <a:pt x="2309" y="207"/>
                </a:lnTo>
                <a:lnTo>
                  <a:pt x="2258" y="151"/>
                </a:lnTo>
                <a:lnTo>
                  <a:pt x="2203" y="103"/>
                </a:lnTo>
                <a:lnTo>
                  <a:pt x="2139" y="65"/>
                </a:lnTo>
                <a:lnTo>
                  <a:pt x="2072" y="33"/>
                </a:lnTo>
                <a:lnTo>
                  <a:pt x="1998" y="11"/>
                </a:lnTo>
                <a:lnTo>
                  <a:pt x="1921" y="1"/>
                </a:lnTo>
                <a:lnTo>
                  <a:pt x="1881" y="0"/>
                </a:lnTo>
                <a:lnTo>
                  <a:pt x="1844" y="1"/>
                </a:lnTo>
                <a:lnTo>
                  <a:pt x="1771" y="11"/>
                </a:lnTo>
                <a:lnTo>
                  <a:pt x="1701" y="31"/>
                </a:lnTo>
                <a:lnTo>
                  <a:pt x="1635" y="58"/>
                </a:lnTo>
                <a:lnTo>
                  <a:pt x="1574" y="96"/>
                </a:lnTo>
                <a:lnTo>
                  <a:pt x="1518" y="138"/>
                </a:lnTo>
                <a:lnTo>
                  <a:pt x="1469" y="189"/>
                </a:lnTo>
                <a:lnTo>
                  <a:pt x="1426" y="246"/>
                </a:lnTo>
                <a:lnTo>
                  <a:pt x="1409" y="277"/>
                </a:lnTo>
                <a:lnTo>
                  <a:pt x="1364" y="268"/>
                </a:lnTo>
                <a:lnTo>
                  <a:pt x="1319" y="267"/>
                </a:lnTo>
                <a:lnTo>
                  <a:pt x="1282" y="268"/>
                </a:lnTo>
                <a:lnTo>
                  <a:pt x="1214" y="280"/>
                </a:lnTo>
                <a:lnTo>
                  <a:pt x="1150" y="302"/>
                </a:lnTo>
                <a:lnTo>
                  <a:pt x="1091" y="334"/>
                </a:lnTo>
                <a:lnTo>
                  <a:pt x="1039" y="376"/>
                </a:lnTo>
                <a:lnTo>
                  <a:pt x="993" y="425"/>
                </a:lnTo>
                <a:lnTo>
                  <a:pt x="957" y="482"/>
                </a:lnTo>
                <a:lnTo>
                  <a:pt x="930" y="544"/>
                </a:lnTo>
                <a:lnTo>
                  <a:pt x="921" y="577"/>
                </a:lnTo>
                <a:lnTo>
                  <a:pt x="883" y="591"/>
                </a:lnTo>
                <a:lnTo>
                  <a:pt x="813" y="631"/>
                </a:lnTo>
                <a:lnTo>
                  <a:pt x="752" y="683"/>
                </a:lnTo>
                <a:lnTo>
                  <a:pt x="703" y="745"/>
                </a:lnTo>
                <a:lnTo>
                  <a:pt x="684" y="780"/>
                </a:lnTo>
                <a:lnTo>
                  <a:pt x="656" y="757"/>
                </a:lnTo>
                <a:lnTo>
                  <a:pt x="593" y="718"/>
                </a:lnTo>
                <a:lnTo>
                  <a:pt x="524" y="691"/>
                </a:lnTo>
                <a:lnTo>
                  <a:pt x="449" y="676"/>
                </a:lnTo>
                <a:lnTo>
                  <a:pt x="410" y="676"/>
                </a:lnTo>
                <a:lnTo>
                  <a:pt x="367" y="678"/>
                </a:lnTo>
                <a:lnTo>
                  <a:pt x="288" y="693"/>
                </a:lnTo>
                <a:lnTo>
                  <a:pt x="214" y="724"/>
                </a:lnTo>
                <a:lnTo>
                  <a:pt x="150" y="768"/>
                </a:lnTo>
                <a:lnTo>
                  <a:pt x="94" y="824"/>
                </a:lnTo>
                <a:lnTo>
                  <a:pt x="50" y="890"/>
                </a:lnTo>
                <a:lnTo>
                  <a:pt x="19" y="963"/>
                </a:lnTo>
                <a:lnTo>
                  <a:pt x="2" y="1043"/>
                </a:lnTo>
                <a:lnTo>
                  <a:pt x="0" y="1085"/>
                </a:lnTo>
                <a:lnTo>
                  <a:pt x="2" y="1122"/>
                </a:lnTo>
                <a:lnTo>
                  <a:pt x="15" y="1192"/>
                </a:lnTo>
                <a:lnTo>
                  <a:pt x="38" y="1258"/>
                </a:lnTo>
                <a:lnTo>
                  <a:pt x="73" y="1319"/>
                </a:lnTo>
                <a:lnTo>
                  <a:pt x="95" y="1346"/>
                </a:lnTo>
                <a:close/>
              </a:path>
            </a:pathLst>
          </a:custGeom>
          <a:solidFill>
            <a:srgbClr val="B6DC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8" name="Freeform 6">
            <a:extLst>
              <a:ext uri="{FF2B5EF4-FFF2-40B4-BE49-F238E27FC236}">
                <a16:creationId xmlns:a16="http://schemas.microsoft.com/office/drawing/2014/main" id="{471DF5D9-4956-35BD-A55C-02076A01396C}"/>
              </a:ext>
            </a:extLst>
          </p:cNvPr>
          <p:cNvSpPr>
            <a:spLocks/>
          </p:cNvSpPr>
          <p:nvPr/>
        </p:nvSpPr>
        <p:spPr bwMode="auto">
          <a:xfrm>
            <a:off x="10283998" y="1138302"/>
            <a:ext cx="1759815" cy="974930"/>
          </a:xfrm>
          <a:custGeom>
            <a:avLst/>
            <a:gdLst>
              <a:gd name="T0" fmla="*/ 90 w 3705"/>
              <a:gd name="T1" fmla="*/ 1401 h 2049"/>
              <a:gd name="T2" fmla="*/ 133 w 3705"/>
              <a:gd name="T3" fmla="*/ 1569 h 2049"/>
              <a:gd name="T4" fmla="*/ 274 w 3705"/>
              <a:gd name="T5" fmla="*/ 1711 h 2049"/>
              <a:gd name="T6" fmla="*/ 442 w 3705"/>
              <a:gd name="T7" fmla="*/ 1753 h 2049"/>
              <a:gd name="T8" fmla="*/ 576 w 3705"/>
              <a:gd name="T9" fmla="*/ 1727 h 2049"/>
              <a:gd name="T10" fmla="*/ 673 w 3705"/>
              <a:gd name="T11" fmla="*/ 1711 h 2049"/>
              <a:gd name="T12" fmla="*/ 871 w 3705"/>
              <a:gd name="T13" fmla="*/ 1783 h 2049"/>
              <a:gd name="T14" fmla="*/ 1024 w 3705"/>
              <a:gd name="T15" fmla="*/ 1769 h 2049"/>
              <a:gd name="T16" fmla="*/ 1214 w 3705"/>
              <a:gd name="T17" fmla="*/ 1650 h 2049"/>
              <a:gd name="T18" fmla="*/ 1312 w 3705"/>
              <a:gd name="T19" fmla="*/ 1449 h 2049"/>
              <a:gd name="T20" fmla="*/ 1418 w 3705"/>
              <a:gd name="T21" fmla="*/ 1508 h 2049"/>
              <a:gd name="T22" fmla="*/ 1648 w 3705"/>
              <a:gd name="T23" fmla="*/ 1578 h 2049"/>
              <a:gd name="T24" fmla="*/ 1849 w 3705"/>
              <a:gd name="T25" fmla="*/ 1527 h 2049"/>
              <a:gd name="T26" fmla="*/ 1965 w 3705"/>
              <a:gd name="T27" fmla="*/ 1479 h 2049"/>
              <a:gd name="T28" fmla="*/ 2137 w 3705"/>
              <a:gd name="T29" fmla="*/ 1590 h 2049"/>
              <a:gd name="T30" fmla="*/ 2169 w 3705"/>
              <a:gd name="T31" fmla="*/ 1639 h 2049"/>
              <a:gd name="T32" fmla="*/ 2218 w 3705"/>
              <a:gd name="T33" fmla="*/ 1835 h 2049"/>
              <a:gd name="T34" fmla="*/ 2383 w 3705"/>
              <a:gd name="T35" fmla="*/ 2000 h 2049"/>
              <a:gd name="T36" fmla="*/ 2578 w 3705"/>
              <a:gd name="T37" fmla="*/ 2049 h 2049"/>
              <a:gd name="T38" fmla="*/ 2724 w 3705"/>
              <a:gd name="T39" fmla="*/ 2022 h 2049"/>
              <a:gd name="T40" fmla="*/ 2866 w 3705"/>
              <a:gd name="T41" fmla="*/ 1931 h 2049"/>
              <a:gd name="T42" fmla="*/ 2948 w 3705"/>
              <a:gd name="T43" fmla="*/ 1814 h 2049"/>
              <a:gd name="T44" fmla="*/ 3088 w 3705"/>
              <a:gd name="T45" fmla="*/ 1861 h 2049"/>
              <a:gd name="T46" fmla="*/ 3234 w 3705"/>
              <a:gd name="T47" fmla="*/ 1867 h 2049"/>
              <a:gd name="T48" fmla="*/ 3514 w 3705"/>
              <a:gd name="T49" fmla="*/ 1750 h 2049"/>
              <a:gd name="T50" fmla="*/ 3683 w 3705"/>
              <a:gd name="T51" fmla="*/ 1501 h 2049"/>
              <a:gd name="T52" fmla="*/ 3705 w 3705"/>
              <a:gd name="T53" fmla="*/ 1306 h 2049"/>
              <a:gd name="T54" fmla="*/ 3645 w 3705"/>
              <a:gd name="T55" fmla="*/ 1099 h 2049"/>
              <a:gd name="T56" fmla="*/ 3513 w 3705"/>
              <a:gd name="T57" fmla="*/ 937 h 2049"/>
              <a:gd name="T58" fmla="*/ 3396 w 3705"/>
              <a:gd name="T59" fmla="*/ 844 h 2049"/>
              <a:gd name="T60" fmla="*/ 3175 w 3705"/>
              <a:gd name="T61" fmla="*/ 691 h 2049"/>
              <a:gd name="T62" fmla="*/ 3085 w 3705"/>
              <a:gd name="T63" fmla="*/ 547 h 2049"/>
              <a:gd name="T64" fmla="*/ 2908 w 3705"/>
              <a:gd name="T65" fmla="*/ 343 h 2049"/>
              <a:gd name="T66" fmla="*/ 2648 w 3705"/>
              <a:gd name="T67" fmla="*/ 250 h 2049"/>
              <a:gd name="T68" fmla="*/ 2509 w 3705"/>
              <a:gd name="T69" fmla="*/ 256 h 2049"/>
              <a:gd name="T70" fmla="*/ 2367 w 3705"/>
              <a:gd name="T71" fmla="*/ 302 h 2049"/>
              <a:gd name="T72" fmla="*/ 2258 w 3705"/>
              <a:gd name="T73" fmla="*/ 151 h 2049"/>
              <a:gd name="T74" fmla="*/ 2072 w 3705"/>
              <a:gd name="T75" fmla="*/ 33 h 2049"/>
              <a:gd name="T76" fmla="*/ 1881 w 3705"/>
              <a:gd name="T77" fmla="*/ 0 h 2049"/>
              <a:gd name="T78" fmla="*/ 1701 w 3705"/>
              <a:gd name="T79" fmla="*/ 31 h 2049"/>
              <a:gd name="T80" fmla="*/ 1518 w 3705"/>
              <a:gd name="T81" fmla="*/ 138 h 2049"/>
              <a:gd name="T82" fmla="*/ 1409 w 3705"/>
              <a:gd name="T83" fmla="*/ 277 h 2049"/>
              <a:gd name="T84" fmla="*/ 1282 w 3705"/>
              <a:gd name="T85" fmla="*/ 268 h 2049"/>
              <a:gd name="T86" fmla="*/ 1091 w 3705"/>
              <a:gd name="T87" fmla="*/ 334 h 2049"/>
              <a:gd name="T88" fmla="*/ 957 w 3705"/>
              <a:gd name="T89" fmla="*/ 482 h 2049"/>
              <a:gd name="T90" fmla="*/ 883 w 3705"/>
              <a:gd name="T91" fmla="*/ 591 h 2049"/>
              <a:gd name="T92" fmla="*/ 703 w 3705"/>
              <a:gd name="T93" fmla="*/ 745 h 2049"/>
              <a:gd name="T94" fmla="*/ 593 w 3705"/>
              <a:gd name="T95" fmla="*/ 718 h 2049"/>
              <a:gd name="T96" fmla="*/ 410 w 3705"/>
              <a:gd name="T97" fmla="*/ 676 h 2049"/>
              <a:gd name="T98" fmla="*/ 214 w 3705"/>
              <a:gd name="T99" fmla="*/ 724 h 2049"/>
              <a:gd name="T100" fmla="*/ 50 w 3705"/>
              <a:gd name="T101" fmla="*/ 890 h 2049"/>
              <a:gd name="T102" fmla="*/ 0 w 3705"/>
              <a:gd name="T103" fmla="*/ 1085 h 2049"/>
              <a:gd name="T104" fmla="*/ 38 w 3705"/>
              <a:gd name="T105" fmla="*/ 1258 h 2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05" h="2049">
                <a:moveTo>
                  <a:pt x="95" y="1346"/>
                </a:moveTo>
                <a:lnTo>
                  <a:pt x="91" y="1372"/>
                </a:lnTo>
                <a:lnTo>
                  <a:pt x="90" y="1401"/>
                </a:lnTo>
                <a:lnTo>
                  <a:pt x="91" y="1437"/>
                </a:lnTo>
                <a:lnTo>
                  <a:pt x="105" y="1506"/>
                </a:lnTo>
                <a:lnTo>
                  <a:pt x="133" y="1569"/>
                </a:lnTo>
                <a:lnTo>
                  <a:pt x="170" y="1625"/>
                </a:lnTo>
                <a:lnTo>
                  <a:pt x="218" y="1673"/>
                </a:lnTo>
                <a:lnTo>
                  <a:pt x="274" y="1711"/>
                </a:lnTo>
                <a:lnTo>
                  <a:pt x="337" y="1738"/>
                </a:lnTo>
                <a:lnTo>
                  <a:pt x="406" y="1752"/>
                </a:lnTo>
                <a:lnTo>
                  <a:pt x="442" y="1753"/>
                </a:lnTo>
                <a:lnTo>
                  <a:pt x="471" y="1752"/>
                </a:lnTo>
                <a:lnTo>
                  <a:pt x="525" y="1743"/>
                </a:lnTo>
                <a:lnTo>
                  <a:pt x="576" y="1727"/>
                </a:lnTo>
                <a:lnTo>
                  <a:pt x="624" y="1703"/>
                </a:lnTo>
                <a:lnTo>
                  <a:pt x="646" y="1689"/>
                </a:lnTo>
                <a:lnTo>
                  <a:pt x="673" y="1711"/>
                </a:lnTo>
                <a:lnTo>
                  <a:pt x="734" y="1746"/>
                </a:lnTo>
                <a:lnTo>
                  <a:pt x="800" y="1770"/>
                </a:lnTo>
                <a:lnTo>
                  <a:pt x="871" y="1783"/>
                </a:lnTo>
                <a:lnTo>
                  <a:pt x="909" y="1785"/>
                </a:lnTo>
                <a:lnTo>
                  <a:pt x="949" y="1783"/>
                </a:lnTo>
                <a:lnTo>
                  <a:pt x="1024" y="1769"/>
                </a:lnTo>
                <a:lnTo>
                  <a:pt x="1096" y="1740"/>
                </a:lnTo>
                <a:lnTo>
                  <a:pt x="1159" y="1700"/>
                </a:lnTo>
                <a:lnTo>
                  <a:pt x="1214" y="1650"/>
                </a:lnTo>
                <a:lnTo>
                  <a:pt x="1258" y="1590"/>
                </a:lnTo>
                <a:lnTo>
                  <a:pt x="1291" y="1523"/>
                </a:lnTo>
                <a:lnTo>
                  <a:pt x="1312" y="1449"/>
                </a:lnTo>
                <a:lnTo>
                  <a:pt x="1317" y="1410"/>
                </a:lnTo>
                <a:lnTo>
                  <a:pt x="1346" y="1448"/>
                </a:lnTo>
                <a:lnTo>
                  <a:pt x="1418" y="1508"/>
                </a:lnTo>
                <a:lnTo>
                  <a:pt x="1503" y="1553"/>
                </a:lnTo>
                <a:lnTo>
                  <a:pt x="1597" y="1576"/>
                </a:lnTo>
                <a:lnTo>
                  <a:pt x="1648" y="1578"/>
                </a:lnTo>
                <a:lnTo>
                  <a:pt x="1691" y="1577"/>
                </a:lnTo>
                <a:lnTo>
                  <a:pt x="1774" y="1560"/>
                </a:lnTo>
                <a:lnTo>
                  <a:pt x="1849" y="1527"/>
                </a:lnTo>
                <a:lnTo>
                  <a:pt x="1915" y="1480"/>
                </a:lnTo>
                <a:lnTo>
                  <a:pt x="1943" y="1451"/>
                </a:lnTo>
                <a:lnTo>
                  <a:pt x="1965" y="1479"/>
                </a:lnTo>
                <a:lnTo>
                  <a:pt x="2016" y="1525"/>
                </a:lnTo>
                <a:lnTo>
                  <a:pt x="2073" y="1562"/>
                </a:lnTo>
                <a:lnTo>
                  <a:pt x="2137" y="1590"/>
                </a:lnTo>
                <a:lnTo>
                  <a:pt x="2172" y="1599"/>
                </a:lnTo>
                <a:lnTo>
                  <a:pt x="2169" y="1619"/>
                </a:lnTo>
                <a:lnTo>
                  <a:pt x="2169" y="1639"/>
                </a:lnTo>
                <a:lnTo>
                  <a:pt x="2170" y="1681"/>
                </a:lnTo>
                <a:lnTo>
                  <a:pt x="2187" y="1761"/>
                </a:lnTo>
                <a:lnTo>
                  <a:pt x="2218" y="1835"/>
                </a:lnTo>
                <a:lnTo>
                  <a:pt x="2262" y="1900"/>
                </a:lnTo>
                <a:lnTo>
                  <a:pt x="2318" y="1956"/>
                </a:lnTo>
                <a:lnTo>
                  <a:pt x="2383" y="2000"/>
                </a:lnTo>
                <a:lnTo>
                  <a:pt x="2457" y="2031"/>
                </a:lnTo>
                <a:lnTo>
                  <a:pt x="2536" y="2046"/>
                </a:lnTo>
                <a:lnTo>
                  <a:pt x="2578" y="2049"/>
                </a:lnTo>
                <a:lnTo>
                  <a:pt x="2608" y="2048"/>
                </a:lnTo>
                <a:lnTo>
                  <a:pt x="2668" y="2039"/>
                </a:lnTo>
                <a:lnTo>
                  <a:pt x="2724" y="2022"/>
                </a:lnTo>
                <a:lnTo>
                  <a:pt x="2776" y="1998"/>
                </a:lnTo>
                <a:lnTo>
                  <a:pt x="2823" y="1967"/>
                </a:lnTo>
                <a:lnTo>
                  <a:pt x="2866" y="1931"/>
                </a:lnTo>
                <a:lnTo>
                  <a:pt x="2904" y="1888"/>
                </a:lnTo>
                <a:lnTo>
                  <a:pt x="2935" y="1840"/>
                </a:lnTo>
                <a:lnTo>
                  <a:pt x="2948" y="1814"/>
                </a:lnTo>
                <a:lnTo>
                  <a:pt x="2975" y="1827"/>
                </a:lnTo>
                <a:lnTo>
                  <a:pt x="3030" y="1848"/>
                </a:lnTo>
                <a:lnTo>
                  <a:pt x="3088" y="1861"/>
                </a:lnTo>
                <a:lnTo>
                  <a:pt x="3149" y="1869"/>
                </a:lnTo>
                <a:lnTo>
                  <a:pt x="3180" y="1869"/>
                </a:lnTo>
                <a:lnTo>
                  <a:pt x="3234" y="1867"/>
                </a:lnTo>
                <a:lnTo>
                  <a:pt x="3337" y="1845"/>
                </a:lnTo>
                <a:lnTo>
                  <a:pt x="3431" y="1807"/>
                </a:lnTo>
                <a:lnTo>
                  <a:pt x="3514" y="1750"/>
                </a:lnTo>
                <a:lnTo>
                  <a:pt x="3586" y="1678"/>
                </a:lnTo>
                <a:lnTo>
                  <a:pt x="3643" y="1594"/>
                </a:lnTo>
                <a:lnTo>
                  <a:pt x="3683" y="1501"/>
                </a:lnTo>
                <a:lnTo>
                  <a:pt x="3704" y="1398"/>
                </a:lnTo>
                <a:lnTo>
                  <a:pt x="3705" y="1344"/>
                </a:lnTo>
                <a:lnTo>
                  <a:pt x="3705" y="1306"/>
                </a:lnTo>
                <a:lnTo>
                  <a:pt x="3694" y="1234"/>
                </a:lnTo>
                <a:lnTo>
                  <a:pt x="3674" y="1164"/>
                </a:lnTo>
                <a:lnTo>
                  <a:pt x="3645" y="1099"/>
                </a:lnTo>
                <a:lnTo>
                  <a:pt x="3608" y="1039"/>
                </a:lnTo>
                <a:lnTo>
                  <a:pt x="3564" y="985"/>
                </a:lnTo>
                <a:lnTo>
                  <a:pt x="3513" y="937"/>
                </a:lnTo>
                <a:lnTo>
                  <a:pt x="3455" y="895"/>
                </a:lnTo>
                <a:lnTo>
                  <a:pt x="3424" y="879"/>
                </a:lnTo>
                <a:lnTo>
                  <a:pt x="3396" y="844"/>
                </a:lnTo>
                <a:lnTo>
                  <a:pt x="3332" y="780"/>
                </a:lnTo>
                <a:lnTo>
                  <a:pt x="3258" y="729"/>
                </a:lnTo>
                <a:lnTo>
                  <a:pt x="3175" y="691"/>
                </a:lnTo>
                <a:lnTo>
                  <a:pt x="3131" y="678"/>
                </a:lnTo>
                <a:lnTo>
                  <a:pt x="3119" y="632"/>
                </a:lnTo>
                <a:lnTo>
                  <a:pt x="3085" y="547"/>
                </a:lnTo>
                <a:lnTo>
                  <a:pt x="3037" y="469"/>
                </a:lnTo>
                <a:lnTo>
                  <a:pt x="2978" y="402"/>
                </a:lnTo>
                <a:lnTo>
                  <a:pt x="2908" y="343"/>
                </a:lnTo>
                <a:lnTo>
                  <a:pt x="2829" y="298"/>
                </a:lnTo>
                <a:lnTo>
                  <a:pt x="2742" y="267"/>
                </a:lnTo>
                <a:lnTo>
                  <a:pt x="2648" y="250"/>
                </a:lnTo>
                <a:lnTo>
                  <a:pt x="2601" y="249"/>
                </a:lnTo>
                <a:lnTo>
                  <a:pt x="2569" y="250"/>
                </a:lnTo>
                <a:lnTo>
                  <a:pt x="2509" y="256"/>
                </a:lnTo>
                <a:lnTo>
                  <a:pt x="2450" y="269"/>
                </a:lnTo>
                <a:lnTo>
                  <a:pt x="2394" y="289"/>
                </a:lnTo>
                <a:lnTo>
                  <a:pt x="2367" y="302"/>
                </a:lnTo>
                <a:lnTo>
                  <a:pt x="2350" y="268"/>
                </a:lnTo>
                <a:lnTo>
                  <a:pt x="2309" y="207"/>
                </a:lnTo>
                <a:lnTo>
                  <a:pt x="2258" y="151"/>
                </a:lnTo>
                <a:lnTo>
                  <a:pt x="2203" y="103"/>
                </a:lnTo>
                <a:lnTo>
                  <a:pt x="2139" y="65"/>
                </a:lnTo>
                <a:lnTo>
                  <a:pt x="2072" y="33"/>
                </a:lnTo>
                <a:lnTo>
                  <a:pt x="1998" y="11"/>
                </a:lnTo>
                <a:lnTo>
                  <a:pt x="1921" y="1"/>
                </a:lnTo>
                <a:lnTo>
                  <a:pt x="1881" y="0"/>
                </a:lnTo>
                <a:lnTo>
                  <a:pt x="1844" y="1"/>
                </a:lnTo>
                <a:lnTo>
                  <a:pt x="1771" y="11"/>
                </a:lnTo>
                <a:lnTo>
                  <a:pt x="1701" y="31"/>
                </a:lnTo>
                <a:lnTo>
                  <a:pt x="1635" y="58"/>
                </a:lnTo>
                <a:lnTo>
                  <a:pt x="1574" y="96"/>
                </a:lnTo>
                <a:lnTo>
                  <a:pt x="1518" y="138"/>
                </a:lnTo>
                <a:lnTo>
                  <a:pt x="1469" y="189"/>
                </a:lnTo>
                <a:lnTo>
                  <a:pt x="1426" y="246"/>
                </a:lnTo>
                <a:lnTo>
                  <a:pt x="1409" y="277"/>
                </a:lnTo>
                <a:lnTo>
                  <a:pt x="1364" y="268"/>
                </a:lnTo>
                <a:lnTo>
                  <a:pt x="1319" y="267"/>
                </a:lnTo>
                <a:lnTo>
                  <a:pt x="1282" y="268"/>
                </a:lnTo>
                <a:lnTo>
                  <a:pt x="1214" y="280"/>
                </a:lnTo>
                <a:lnTo>
                  <a:pt x="1150" y="302"/>
                </a:lnTo>
                <a:lnTo>
                  <a:pt x="1091" y="334"/>
                </a:lnTo>
                <a:lnTo>
                  <a:pt x="1039" y="376"/>
                </a:lnTo>
                <a:lnTo>
                  <a:pt x="993" y="425"/>
                </a:lnTo>
                <a:lnTo>
                  <a:pt x="957" y="482"/>
                </a:lnTo>
                <a:lnTo>
                  <a:pt x="930" y="544"/>
                </a:lnTo>
                <a:lnTo>
                  <a:pt x="921" y="577"/>
                </a:lnTo>
                <a:lnTo>
                  <a:pt x="883" y="591"/>
                </a:lnTo>
                <a:lnTo>
                  <a:pt x="813" y="631"/>
                </a:lnTo>
                <a:lnTo>
                  <a:pt x="752" y="683"/>
                </a:lnTo>
                <a:lnTo>
                  <a:pt x="703" y="745"/>
                </a:lnTo>
                <a:lnTo>
                  <a:pt x="684" y="780"/>
                </a:lnTo>
                <a:lnTo>
                  <a:pt x="656" y="757"/>
                </a:lnTo>
                <a:lnTo>
                  <a:pt x="593" y="718"/>
                </a:lnTo>
                <a:lnTo>
                  <a:pt x="524" y="691"/>
                </a:lnTo>
                <a:lnTo>
                  <a:pt x="449" y="676"/>
                </a:lnTo>
                <a:lnTo>
                  <a:pt x="410" y="676"/>
                </a:lnTo>
                <a:lnTo>
                  <a:pt x="367" y="678"/>
                </a:lnTo>
                <a:lnTo>
                  <a:pt x="288" y="693"/>
                </a:lnTo>
                <a:lnTo>
                  <a:pt x="214" y="724"/>
                </a:lnTo>
                <a:lnTo>
                  <a:pt x="150" y="768"/>
                </a:lnTo>
                <a:lnTo>
                  <a:pt x="94" y="824"/>
                </a:lnTo>
                <a:lnTo>
                  <a:pt x="50" y="890"/>
                </a:lnTo>
                <a:lnTo>
                  <a:pt x="19" y="963"/>
                </a:lnTo>
                <a:lnTo>
                  <a:pt x="2" y="1043"/>
                </a:lnTo>
                <a:lnTo>
                  <a:pt x="0" y="1085"/>
                </a:lnTo>
                <a:lnTo>
                  <a:pt x="2" y="1122"/>
                </a:lnTo>
                <a:lnTo>
                  <a:pt x="15" y="1192"/>
                </a:lnTo>
                <a:lnTo>
                  <a:pt x="38" y="1258"/>
                </a:lnTo>
                <a:lnTo>
                  <a:pt x="73" y="1319"/>
                </a:lnTo>
                <a:lnTo>
                  <a:pt x="95" y="1346"/>
                </a:lnTo>
                <a:close/>
              </a:path>
            </a:pathLst>
          </a:custGeom>
          <a:solidFill>
            <a:srgbClr val="B6DC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 name="Freeform 6">
            <a:extLst>
              <a:ext uri="{FF2B5EF4-FFF2-40B4-BE49-F238E27FC236}">
                <a16:creationId xmlns:a16="http://schemas.microsoft.com/office/drawing/2014/main" id="{2A2C5125-311A-0677-9EA8-8C868FC779CF}"/>
              </a:ext>
            </a:extLst>
          </p:cNvPr>
          <p:cNvSpPr>
            <a:spLocks/>
          </p:cNvSpPr>
          <p:nvPr/>
        </p:nvSpPr>
        <p:spPr bwMode="auto">
          <a:xfrm>
            <a:off x="8914289" y="3916743"/>
            <a:ext cx="1759815" cy="974930"/>
          </a:xfrm>
          <a:custGeom>
            <a:avLst/>
            <a:gdLst>
              <a:gd name="T0" fmla="*/ 90 w 3705"/>
              <a:gd name="T1" fmla="*/ 1401 h 2049"/>
              <a:gd name="T2" fmla="*/ 133 w 3705"/>
              <a:gd name="T3" fmla="*/ 1569 h 2049"/>
              <a:gd name="T4" fmla="*/ 274 w 3705"/>
              <a:gd name="T5" fmla="*/ 1711 h 2049"/>
              <a:gd name="T6" fmla="*/ 442 w 3705"/>
              <a:gd name="T7" fmla="*/ 1753 h 2049"/>
              <a:gd name="T8" fmla="*/ 576 w 3705"/>
              <a:gd name="T9" fmla="*/ 1727 h 2049"/>
              <a:gd name="T10" fmla="*/ 673 w 3705"/>
              <a:gd name="T11" fmla="*/ 1711 h 2049"/>
              <a:gd name="T12" fmla="*/ 871 w 3705"/>
              <a:gd name="T13" fmla="*/ 1783 h 2049"/>
              <a:gd name="T14" fmla="*/ 1024 w 3705"/>
              <a:gd name="T15" fmla="*/ 1769 h 2049"/>
              <a:gd name="T16" fmla="*/ 1214 w 3705"/>
              <a:gd name="T17" fmla="*/ 1650 h 2049"/>
              <a:gd name="T18" fmla="*/ 1312 w 3705"/>
              <a:gd name="T19" fmla="*/ 1449 h 2049"/>
              <a:gd name="T20" fmla="*/ 1418 w 3705"/>
              <a:gd name="T21" fmla="*/ 1508 h 2049"/>
              <a:gd name="T22" fmla="*/ 1648 w 3705"/>
              <a:gd name="T23" fmla="*/ 1578 h 2049"/>
              <a:gd name="T24" fmla="*/ 1849 w 3705"/>
              <a:gd name="T25" fmla="*/ 1527 h 2049"/>
              <a:gd name="T26" fmla="*/ 1965 w 3705"/>
              <a:gd name="T27" fmla="*/ 1479 h 2049"/>
              <a:gd name="T28" fmla="*/ 2137 w 3705"/>
              <a:gd name="T29" fmla="*/ 1590 h 2049"/>
              <a:gd name="T30" fmla="*/ 2169 w 3705"/>
              <a:gd name="T31" fmla="*/ 1639 h 2049"/>
              <a:gd name="T32" fmla="*/ 2218 w 3705"/>
              <a:gd name="T33" fmla="*/ 1835 h 2049"/>
              <a:gd name="T34" fmla="*/ 2383 w 3705"/>
              <a:gd name="T35" fmla="*/ 2000 h 2049"/>
              <a:gd name="T36" fmla="*/ 2578 w 3705"/>
              <a:gd name="T37" fmla="*/ 2049 h 2049"/>
              <a:gd name="T38" fmla="*/ 2724 w 3705"/>
              <a:gd name="T39" fmla="*/ 2022 h 2049"/>
              <a:gd name="T40" fmla="*/ 2866 w 3705"/>
              <a:gd name="T41" fmla="*/ 1931 h 2049"/>
              <a:gd name="T42" fmla="*/ 2948 w 3705"/>
              <a:gd name="T43" fmla="*/ 1814 h 2049"/>
              <a:gd name="T44" fmla="*/ 3088 w 3705"/>
              <a:gd name="T45" fmla="*/ 1861 h 2049"/>
              <a:gd name="T46" fmla="*/ 3234 w 3705"/>
              <a:gd name="T47" fmla="*/ 1867 h 2049"/>
              <a:gd name="T48" fmla="*/ 3514 w 3705"/>
              <a:gd name="T49" fmla="*/ 1750 h 2049"/>
              <a:gd name="T50" fmla="*/ 3683 w 3705"/>
              <a:gd name="T51" fmla="*/ 1501 h 2049"/>
              <a:gd name="T52" fmla="*/ 3705 w 3705"/>
              <a:gd name="T53" fmla="*/ 1306 h 2049"/>
              <a:gd name="T54" fmla="*/ 3645 w 3705"/>
              <a:gd name="T55" fmla="*/ 1099 h 2049"/>
              <a:gd name="T56" fmla="*/ 3513 w 3705"/>
              <a:gd name="T57" fmla="*/ 937 h 2049"/>
              <a:gd name="T58" fmla="*/ 3396 w 3705"/>
              <a:gd name="T59" fmla="*/ 844 h 2049"/>
              <a:gd name="T60" fmla="*/ 3175 w 3705"/>
              <a:gd name="T61" fmla="*/ 691 h 2049"/>
              <a:gd name="T62" fmla="*/ 3085 w 3705"/>
              <a:gd name="T63" fmla="*/ 547 h 2049"/>
              <a:gd name="T64" fmla="*/ 2908 w 3705"/>
              <a:gd name="T65" fmla="*/ 343 h 2049"/>
              <a:gd name="T66" fmla="*/ 2648 w 3705"/>
              <a:gd name="T67" fmla="*/ 250 h 2049"/>
              <a:gd name="T68" fmla="*/ 2509 w 3705"/>
              <a:gd name="T69" fmla="*/ 256 h 2049"/>
              <a:gd name="T70" fmla="*/ 2367 w 3705"/>
              <a:gd name="T71" fmla="*/ 302 h 2049"/>
              <a:gd name="T72" fmla="*/ 2258 w 3705"/>
              <a:gd name="T73" fmla="*/ 151 h 2049"/>
              <a:gd name="T74" fmla="*/ 2072 w 3705"/>
              <a:gd name="T75" fmla="*/ 33 h 2049"/>
              <a:gd name="T76" fmla="*/ 1881 w 3705"/>
              <a:gd name="T77" fmla="*/ 0 h 2049"/>
              <a:gd name="T78" fmla="*/ 1701 w 3705"/>
              <a:gd name="T79" fmla="*/ 31 h 2049"/>
              <a:gd name="T80" fmla="*/ 1518 w 3705"/>
              <a:gd name="T81" fmla="*/ 138 h 2049"/>
              <a:gd name="T82" fmla="*/ 1409 w 3705"/>
              <a:gd name="T83" fmla="*/ 277 h 2049"/>
              <a:gd name="T84" fmla="*/ 1282 w 3705"/>
              <a:gd name="T85" fmla="*/ 268 h 2049"/>
              <a:gd name="T86" fmla="*/ 1091 w 3705"/>
              <a:gd name="T87" fmla="*/ 334 h 2049"/>
              <a:gd name="T88" fmla="*/ 957 w 3705"/>
              <a:gd name="T89" fmla="*/ 482 h 2049"/>
              <a:gd name="T90" fmla="*/ 883 w 3705"/>
              <a:gd name="T91" fmla="*/ 591 h 2049"/>
              <a:gd name="T92" fmla="*/ 703 w 3705"/>
              <a:gd name="T93" fmla="*/ 745 h 2049"/>
              <a:gd name="T94" fmla="*/ 593 w 3705"/>
              <a:gd name="T95" fmla="*/ 718 h 2049"/>
              <a:gd name="T96" fmla="*/ 410 w 3705"/>
              <a:gd name="T97" fmla="*/ 676 h 2049"/>
              <a:gd name="T98" fmla="*/ 214 w 3705"/>
              <a:gd name="T99" fmla="*/ 724 h 2049"/>
              <a:gd name="T100" fmla="*/ 50 w 3705"/>
              <a:gd name="T101" fmla="*/ 890 h 2049"/>
              <a:gd name="T102" fmla="*/ 0 w 3705"/>
              <a:gd name="T103" fmla="*/ 1085 h 2049"/>
              <a:gd name="T104" fmla="*/ 38 w 3705"/>
              <a:gd name="T105" fmla="*/ 1258 h 2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05" h="2049">
                <a:moveTo>
                  <a:pt x="95" y="1346"/>
                </a:moveTo>
                <a:lnTo>
                  <a:pt x="91" y="1372"/>
                </a:lnTo>
                <a:lnTo>
                  <a:pt x="90" y="1401"/>
                </a:lnTo>
                <a:lnTo>
                  <a:pt x="91" y="1437"/>
                </a:lnTo>
                <a:lnTo>
                  <a:pt x="105" y="1506"/>
                </a:lnTo>
                <a:lnTo>
                  <a:pt x="133" y="1569"/>
                </a:lnTo>
                <a:lnTo>
                  <a:pt x="170" y="1625"/>
                </a:lnTo>
                <a:lnTo>
                  <a:pt x="218" y="1673"/>
                </a:lnTo>
                <a:lnTo>
                  <a:pt x="274" y="1711"/>
                </a:lnTo>
                <a:lnTo>
                  <a:pt x="337" y="1738"/>
                </a:lnTo>
                <a:lnTo>
                  <a:pt x="406" y="1752"/>
                </a:lnTo>
                <a:lnTo>
                  <a:pt x="442" y="1753"/>
                </a:lnTo>
                <a:lnTo>
                  <a:pt x="471" y="1752"/>
                </a:lnTo>
                <a:lnTo>
                  <a:pt x="525" y="1743"/>
                </a:lnTo>
                <a:lnTo>
                  <a:pt x="576" y="1727"/>
                </a:lnTo>
                <a:lnTo>
                  <a:pt x="624" y="1703"/>
                </a:lnTo>
                <a:lnTo>
                  <a:pt x="646" y="1689"/>
                </a:lnTo>
                <a:lnTo>
                  <a:pt x="673" y="1711"/>
                </a:lnTo>
                <a:lnTo>
                  <a:pt x="734" y="1746"/>
                </a:lnTo>
                <a:lnTo>
                  <a:pt x="800" y="1770"/>
                </a:lnTo>
                <a:lnTo>
                  <a:pt x="871" y="1783"/>
                </a:lnTo>
                <a:lnTo>
                  <a:pt x="909" y="1785"/>
                </a:lnTo>
                <a:lnTo>
                  <a:pt x="949" y="1783"/>
                </a:lnTo>
                <a:lnTo>
                  <a:pt x="1024" y="1769"/>
                </a:lnTo>
                <a:lnTo>
                  <a:pt x="1096" y="1740"/>
                </a:lnTo>
                <a:lnTo>
                  <a:pt x="1159" y="1700"/>
                </a:lnTo>
                <a:lnTo>
                  <a:pt x="1214" y="1650"/>
                </a:lnTo>
                <a:lnTo>
                  <a:pt x="1258" y="1590"/>
                </a:lnTo>
                <a:lnTo>
                  <a:pt x="1291" y="1523"/>
                </a:lnTo>
                <a:lnTo>
                  <a:pt x="1312" y="1449"/>
                </a:lnTo>
                <a:lnTo>
                  <a:pt x="1317" y="1410"/>
                </a:lnTo>
                <a:lnTo>
                  <a:pt x="1346" y="1448"/>
                </a:lnTo>
                <a:lnTo>
                  <a:pt x="1418" y="1508"/>
                </a:lnTo>
                <a:lnTo>
                  <a:pt x="1503" y="1553"/>
                </a:lnTo>
                <a:lnTo>
                  <a:pt x="1597" y="1576"/>
                </a:lnTo>
                <a:lnTo>
                  <a:pt x="1648" y="1578"/>
                </a:lnTo>
                <a:lnTo>
                  <a:pt x="1691" y="1577"/>
                </a:lnTo>
                <a:lnTo>
                  <a:pt x="1774" y="1560"/>
                </a:lnTo>
                <a:lnTo>
                  <a:pt x="1849" y="1527"/>
                </a:lnTo>
                <a:lnTo>
                  <a:pt x="1915" y="1480"/>
                </a:lnTo>
                <a:lnTo>
                  <a:pt x="1943" y="1451"/>
                </a:lnTo>
                <a:lnTo>
                  <a:pt x="1965" y="1479"/>
                </a:lnTo>
                <a:lnTo>
                  <a:pt x="2016" y="1525"/>
                </a:lnTo>
                <a:lnTo>
                  <a:pt x="2073" y="1562"/>
                </a:lnTo>
                <a:lnTo>
                  <a:pt x="2137" y="1590"/>
                </a:lnTo>
                <a:lnTo>
                  <a:pt x="2172" y="1599"/>
                </a:lnTo>
                <a:lnTo>
                  <a:pt x="2169" y="1619"/>
                </a:lnTo>
                <a:lnTo>
                  <a:pt x="2169" y="1639"/>
                </a:lnTo>
                <a:lnTo>
                  <a:pt x="2170" y="1681"/>
                </a:lnTo>
                <a:lnTo>
                  <a:pt x="2187" y="1761"/>
                </a:lnTo>
                <a:lnTo>
                  <a:pt x="2218" y="1835"/>
                </a:lnTo>
                <a:lnTo>
                  <a:pt x="2262" y="1900"/>
                </a:lnTo>
                <a:lnTo>
                  <a:pt x="2318" y="1956"/>
                </a:lnTo>
                <a:lnTo>
                  <a:pt x="2383" y="2000"/>
                </a:lnTo>
                <a:lnTo>
                  <a:pt x="2457" y="2031"/>
                </a:lnTo>
                <a:lnTo>
                  <a:pt x="2536" y="2046"/>
                </a:lnTo>
                <a:lnTo>
                  <a:pt x="2578" y="2049"/>
                </a:lnTo>
                <a:lnTo>
                  <a:pt x="2608" y="2048"/>
                </a:lnTo>
                <a:lnTo>
                  <a:pt x="2668" y="2039"/>
                </a:lnTo>
                <a:lnTo>
                  <a:pt x="2724" y="2022"/>
                </a:lnTo>
                <a:lnTo>
                  <a:pt x="2776" y="1998"/>
                </a:lnTo>
                <a:lnTo>
                  <a:pt x="2823" y="1967"/>
                </a:lnTo>
                <a:lnTo>
                  <a:pt x="2866" y="1931"/>
                </a:lnTo>
                <a:lnTo>
                  <a:pt x="2904" y="1888"/>
                </a:lnTo>
                <a:lnTo>
                  <a:pt x="2935" y="1840"/>
                </a:lnTo>
                <a:lnTo>
                  <a:pt x="2948" y="1814"/>
                </a:lnTo>
                <a:lnTo>
                  <a:pt x="2975" y="1827"/>
                </a:lnTo>
                <a:lnTo>
                  <a:pt x="3030" y="1848"/>
                </a:lnTo>
                <a:lnTo>
                  <a:pt x="3088" y="1861"/>
                </a:lnTo>
                <a:lnTo>
                  <a:pt x="3149" y="1869"/>
                </a:lnTo>
                <a:lnTo>
                  <a:pt x="3180" y="1869"/>
                </a:lnTo>
                <a:lnTo>
                  <a:pt x="3234" y="1867"/>
                </a:lnTo>
                <a:lnTo>
                  <a:pt x="3337" y="1845"/>
                </a:lnTo>
                <a:lnTo>
                  <a:pt x="3431" y="1807"/>
                </a:lnTo>
                <a:lnTo>
                  <a:pt x="3514" y="1750"/>
                </a:lnTo>
                <a:lnTo>
                  <a:pt x="3586" y="1678"/>
                </a:lnTo>
                <a:lnTo>
                  <a:pt x="3643" y="1594"/>
                </a:lnTo>
                <a:lnTo>
                  <a:pt x="3683" y="1501"/>
                </a:lnTo>
                <a:lnTo>
                  <a:pt x="3704" y="1398"/>
                </a:lnTo>
                <a:lnTo>
                  <a:pt x="3705" y="1344"/>
                </a:lnTo>
                <a:lnTo>
                  <a:pt x="3705" y="1306"/>
                </a:lnTo>
                <a:lnTo>
                  <a:pt x="3694" y="1234"/>
                </a:lnTo>
                <a:lnTo>
                  <a:pt x="3674" y="1164"/>
                </a:lnTo>
                <a:lnTo>
                  <a:pt x="3645" y="1099"/>
                </a:lnTo>
                <a:lnTo>
                  <a:pt x="3608" y="1039"/>
                </a:lnTo>
                <a:lnTo>
                  <a:pt x="3564" y="985"/>
                </a:lnTo>
                <a:lnTo>
                  <a:pt x="3513" y="937"/>
                </a:lnTo>
                <a:lnTo>
                  <a:pt x="3455" y="895"/>
                </a:lnTo>
                <a:lnTo>
                  <a:pt x="3424" y="879"/>
                </a:lnTo>
                <a:lnTo>
                  <a:pt x="3396" y="844"/>
                </a:lnTo>
                <a:lnTo>
                  <a:pt x="3332" y="780"/>
                </a:lnTo>
                <a:lnTo>
                  <a:pt x="3258" y="729"/>
                </a:lnTo>
                <a:lnTo>
                  <a:pt x="3175" y="691"/>
                </a:lnTo>
                <a:lnTo>
                  <a:pt x="3131" y="678"/>
                </a:lnTo>
                <a:lnTo>
                  <a:pt x="3119" y="632"/>
                </a:lnTo>
                <a:lnTo>
                  <a:pt x="3085" y="547"/>
                </a:lnTo>
                <a:lnTo>
                  <a:pt x="3037" y="469"/>
                </a:lnTo>
                <a:lnTo>
                  <a:pt x="2978" y="402"/>
                </a:lnTo>
                <a:lnTo>
                  <a:pt x="2908" y="343"/>
                </a:lnTo>
                <a:lnTo>
                  <a:pt x="2829" y="298"/>
                </a:lnTo>
                <a:lnTo>
                  <a:pt x="2742" y="267"/>
                </a:lnTo>
                <a:lnTo>
                  <a:pt x="2648" y="250"/>
                </a:lnTo>
                <a:lnTo>
                  <a:pt x="2601" y="249"/>
                </a:lnTo>
                <a:lnTo>
                  <a:pt x="2569" y="250"/>
                </a:lnTo>
                <a:lnTo>
                  <a:pt x="2509" y="256"/>
                </a:lnTo>
                <a:lnTo>
                  <a:pt x="2450" y="269"/>
                </a:lnTo>
                <a:lnTo>
                  <a:pt x="2394" y="289"/>
                </a:lnTo>
                <a:lnTo>
                  <a:pt x="2367" y="302"/>
                </a:lnTo>
                <a:lnTo>
                  <a:pt x="2350" y="268"/>
                </a:lnTo>
                <a:lnTo>
                  <a:pt x="2309" y="207"/>
                </a:lnTo>
                <a:lnTo>
                  <a:pt x="2258" y="151"/>
                </a:lnTo>
                <a:lnTo>
                  <a:pt x="2203" y="103"/>
                </a:lnTo>
                <a:lnTo>
                  <a:pt x="2139" y="65"/>
                </a:lnTo>
                <a:lnTo>
                  <a:pt x="2072" y="33"/>
                </a:lnTo>
                <a:lnTo>
                  <a:pt x="1998" y="11"/>
                </a:lnTo>
                <a:lnTo>
                  <a:pt x="1921" y="1"/>
                </a:lnTo>
                <a:lnTo>
                  <a:pt x="1881" y="0"/>
                </a:lnTo>
                <a:lnTo>
                  <a:pt x="1844" y="1"/>
                </a:lnTo>
                <a:lnTo>
                  <a:pt x="1771" y="11"/>
                </a:lnTo>
                <a:lnTo>
                  <a:pt x="1701" y="31"/>
                </a:lnTo>
                <a:lnTo>
                  <a:pt x="1635" y="58"/>
                </a:lnTo>
                <a:lnTo>
                  <a:pt x="1574" y="96"/>
                </a:lnTo>
                <a:lnTo>
                  <a:pt x="1518" y="138"/>
                </a:lnTo>
                <a:lnTo>
                  <a:pt x="1469" y="189"/>
                </a:lnTo>
                <a:lnTo>
                  <a:pt x="1426" y="246"/>
                </a:lnTo>
                <a:lnTo>
                  <a:pt x="1409" y="277"/>
                </a:lnTo>
                <a:lnTo>
                  <a:pt x="1364" y="268"/>
                </a:lnTo>
                <a:lnTo>
                  <a:pt x="1319" y="267"/>
                </a:lnTo>
                <a:lnTo>
                  <a:pt x="1282" y="268"/>
                </a:lnTo>
                <a:lnTo>
                  <a:pt x="1214" y="280"/>
                </a:lnTo>
                <a:lnTo>
                  <a:pt x="1150" y="302"/>
                </a:lnTo>
                <a:lnTo>
                  <a:pt x="1091" y="334"/>
                </a:lnTo>
                <a:lnTo>
                  <a:pt x="1039" y="376"/>
                </a:lnTo>
                <a:lnTo>
                  <a:pt x="993" y="425"/>
                </a:lnTo>
                <a:lnTo>
                  <a:pt x="957" y="482"/>
                </a:lnTo>
                <a:lnTo>
                  <a:pt x="930" y="544"/>
                </a:lnTo>
                <a:lnTo>
                  <a:pt x="921" y="577"/>
                </a:lnTo>
                <a:lnTo>
                  <a:pt x="883" y="591"/>
                </a:lnTo>
                <a:lnTo>
                  <a:pt x="813" y="631"/>
                </a:lnTo>
                <a:lnTo>
                  <a:pt x="752" y="683"/>
                </a:lnTo>
                <a:lnTo>
                  <a:pt x="703" y="745"/>
                </a:lnTo>
                <a:lnTo>
                  <a:pt x="684" y="780"/>
                </a:lnTo>
                <a:lnTo>
                  <a:pt x="656" y="757"/>
                </a:lnTo>
                <a:lnTo>
                  <a:pt x="593" y="718"/>
                </a:lnTo>
                <a:lnTo>
                  <a:pt x="524" y="691"/>
                </a:lnTo>
                <a:lnTo>
                  <a:pt x="449" y="676"/>
                </a:lnTo>
                <a:lnTo>
                  <a:pt x="410" y="676"/>
                </a:lnTo>
                <a:lnTo>
                  <a:pt x="367" y="678"/>
                </a:lnTo>
                <a:lnTo>
                  <a:pt x="288" y="693"/>
                </a:lnTo>
                <a:lnTo>
                  <a:pt x="214" y="724"/>
                </a:lnTo>
                <a:lnTo>
                  <a:pt x="150" y="768"/>
                </a:lnTo>
                <a:lnTo>
                  <a:pt x="94" y="824"/>
                </a:lnTo>
                <a:lnTo>
                  <a:pt x="50" y="890"/>
                </a:lnTo>
                <a:lnTo>
                  <a:pt x="19" y="963"/>
                </a:lnTo>
                <a:lnTo>
                  <a:pt x="2" y="1043"/>
                </a:lnTo>
                <a:lnTo>
                  <a:pt x="0" y="1085"/>
                </a:lnTo>
                <a:lnTo>
                  <a:pt x="2" y="1122"/>
                </a:lnTo>
                <a:lnTo>
                  <a:pt x="15" y="1192"/>
                </a:lnTo>
                <a:lnTo>
                  <a:pt x="38" y="1258"/>
                </a:lnTo>
                <a:lnTo>
                  <a:pt x="73" y="1319"/>
                </a:lnTo>
                <a:lnTo>
                  <a:pt x="95" y="1346"/>
                </a:lnTo>
                <a:close/>
              </a:path>
            </a:pathLst>
          </a:custGeom>
          <a:solidFill>
            <a:srgbClr val="B6DC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CDB2D893-0420-308E-B5E3-20B4C4D4FD94}"/>
              </a:ext>
            </a:extLst>
          </p:cNvPr>
          <p:cNvGrpSpPr/>
          <p:nvPr/>
        </p:nvGrpSpPr>
        <p:grpSpPr>
          <a:xfrm>
            <a:off x="0" y="5285145"/>
            <a:ext cx="7815263" cy="1020765"/>
            <a:chOff x="2865108" y="5215223"/>
            <a:chExt cx="7815263" cy="1020765"/>
          </a:xfrm>
        </p:grpSpPr>
        <p:sp>
          <p:nvSpPr>
            <p:cNvPr id="11" name="Freeform 87">
              <a:extLst>
                <a:ext uri="{FF2B5EF4-FFF2-40B4-BE49-F238E27FC236}">
                  <a16:creationId xmlns:a16="http://schemas.microsoft.com/office/drawing/2014/main" id="{983438C8-A72D-B065-D102-1EACC10FEBB1}"/>
                </a:ext>
              </a:extLst>
            </p:cNvPr>
            <p:cNvSpPr>
              <a:spLocks/>
            </p:cNvSpPr>
            <p:nvPr/>
          </p:nvSpPr>
          <p:spPr bwMode="auto">
            <a:xfrm>
              <a:off x="2865108" y="5215223"/>
              <a:ext cx="3901258" cy="1020765"/>
            </a:xfrm>
            <a:custGeom>
              <a:avLst/>
              <a:gdLst>
                <a:gd name="connsiteX0" fmla="*/ 2086615 w 3901258"/>
                <a:gd name="connsiteY0" fmla="*/ 0 h 1020765"/>
                <a:gd name="connsiteX1" fmla="*/ 2108475 w 3901258"/>
                <a:gd name="connsiteY1" fmla="*/ 0 h 1020765"/>
                <a:gd name="connsiteX2" fmla="*/ 2131285 w 3901258"/>
                <a:gd name="connsiteY2" fmla="*/ 0 h 1020765"/>
                <a:gd name="connsiteX3" fmla="*/ 2176906 w 3901258"/>
                <a:gd name="connsiteY3" fmla="*/ 3327 h 1020765"/>
                <a:gd name="connsiteX4" fmla="*/ 2220626 w 3901258"/>
                <a:gd name="connsiteY4" fmla="*/ 9506 h 1020765"/>
                <a:gd name="connsiteX5" fmla="*/ 2264346 w 3901258"/>
                <a:gd name="connsiteY5" fmla="*/ 19012 h 1020765"/>
                <a:gd name="connsiteX6" fmla="*/ 2306165 w 3901258"/>
                <a:gd name="connsiteY6" fmla="*/ 31370 h 1020765"/>
                <a:gd name="connsiteX7" fmla="*/ 2347034 w 3901258"/>
                <a:gd name="connsiteY7" fmla="*/ 46580 h 1020765"/>
                <a:gd name="connsiteX8" fmla="*/ 2386478 w 3901258"/>
                <a:gd name="connsiteY8" fmla="*/ 64641 h 1020765"/>
                <a:gd name="connsiteX9" fmla="*/ 2424019 w 3901258"/>
                <a:gd name="connsiteY9" fmla="*/ 85080 h 1020765"/>
                <a:gd name="connsiteX10" fmla="*/ 2460136 w 3901258"/>
                <a:gd name="connsiteY10" fmla="*/ 108369 h 1020765"/>
                <a:gd name="connsiteX11" fmla="*/ 2494827 w 3901258"/>
                <a:gd name="connsiteY11" fmla="*/ 133560 h 1020765"/>
                <a:gd name="connsiteX12" fmla="*/ 2527617 w 3901258"/>
                <a:gd name="connsiteY12" fmla="*/ 160653 h 1020765"/>
                <a:gd name="connsiteX13" fmla="*/ 2558506 w 3901258"/>
                <a:gd name="connsiteY13" fmla="*/ 190122 h 1020765"/>
                <a:gd name="connsiteX14" fmla="*/ 2587019 w 3901258"/>
                <a:gd name="connsiteY14" fmla="*/ 222442 h 1020765"/>
                <a:gd name="connsiteX15" fmla="*/ 2613156 w 3901258"/>
                <a:gd name="connsiteY15" fmla="*/ 255713 h 1020765"/>
                <a:gd name="connsiteX16" fmla="*/ 2637867 w 3901258"/>
                <a:gd name="connsiteY16" fmla="*/ 291361 h 1020765"/>
                <a:gd name="connsiteX17" fmla="*/ 2659252 w 3901258"/>
                <a:gd name="connsiteY17" fmla="*/ 328435 h 1020765"/>
                <a:gd name="connsiteX18" fmla="*/ 2669232 w 3901258"/>
                <a:gd name="connsiteY18" fmla="*/ 347447 h 1020765"/>
                <a:gd name="connsiteX19" fmla="*/ 2700121 w 3901258"/>
                <a:gd name="connsiteY19" fmla="*/ 333188 h 1020765"/>
                <a:gd name="connsiteX20" fmla="*/ 2763800 w 3901258"/>
                <a:gd name="connsiteY20" fmla="*/ 310849 h 1020765"/>
                <a:gd name="connsiteX21" fmla="*/ 2831281 w 3901258"/>
                <a:gd name="connsiteY21" fmla="*/ 295639 h 1020765"/>
                <a:gd name="connsiteX22" fmla="*/ 2901613 w 3901258"/>
                <a:gd name="connsiteY22" fmla="*/ 287559 h 1020765"/>
                <a:gd name="connsiteX23" fmla="*/ 2937255 w 3901258"/>
                <a:gd name="connsiteY23" fmla="*/ 287083 h 1020765"/>
                <a:gd name="connsiteX24" fmla="*/ 2964817 w 3901258"/>
                <a:gd name="connsiteY24" fmla="*/ 287559 h 1020765"/>
                <a:gd name="connsiteX25" fmla="*/ 3020417 w 3901258"/>
                <a:gd name="connsiteY25" fmla="*/ 292312 h 1020765"/>
                <a:gd name="connsiteX26" fmla="*/ 3073642 w 3901258"/>
                <a:gd name="connsiteY26" fmla="*/ 301818 h 1020765"/>
                <a:gd name="connsiteX27" fmla="*/ 3125441 w 3901258"/>
                <a:gd name="connsiteY27" fmla="*/ 316077 h 1020765"/>
                <a:gd name="connsiteX28" fmla="*/ 3175339 w 3901258"/>
                <a:gd name="connsiteY28" fmla="*/ 334138 h 1020765"/>
                <a:gd name="connsiteX29" fmla="*/ 3223335 w 3901258"/>
                <a:gd name="connsiteY29" fmla="*/ 356478 h 1020765"/>
                <a:gd name="connsiteX30" fmla="*/ 3268956 w 3901258"/>
                <a:gd name="connsiteY30" fmla="*/ 382619 h 1020765"/>
                <a:gd name="connsiteX31" fmla="*/ 3312201 w 3901258"/>
                <a:gd name="connsiteY31" fmla="*/ 412088 h 1020765"/>
                <a:gd name="connsiteX32" fmla="*/ 3353070 w 3901258"/>
                <a:gd name="connsiteY32" fmla="*/ 445359 h 1020765"/>
                <a:gd name="connsiteX33" fmla="*/ 3390612 w 3901258"/>
                <a:gd name="connsiteY33" fmla="*/ 481482 h 1020765"/>
                <a:gd name="connsiteX34" fmla="*/ 3424828 w 3901258"/>
                <a:gd name="connsiteY34" fmla="*/ 520933 h 1020765"/>
                <a:gd name="connsiteX35" fmla="*/ 3455717 w 3901258"/>
                <a:gd name="connsiteY35" fmla="*/ 562759 h 1020765"/>
                <a:gd name="connsiteX36" fmla="*/ 3483279 w 3901258"/>
                <a:gd name="connsiteY36" fmla="*/ 607438 h 1020765"/>
                <a:gd name="connsiteX37" fmla="*/ 3507041 w 3901258"/>
                <a:gd name="connsiteY37" fmla="*/ 654493 h 1020765"/>
                <a:gd name="connsiteX38" fmla="*/ 3526999 w 3901258"/>
                <a:gd name="connsiteY38" fmla="*/ 703924 h 1020765"/>
                <a:gd name="connsiteX39" fmla="*/ 3542682 w 3901258"/>
                <a:gd name="connsiteY39" fmla="*/ 755257 h 1020765"/>
                <a:gd name="connsiteX40" fmla="*/ 3548859 w 3901258"/>
                <a:gd name="connsiteY40" fmla="*/ 781399 h 1020765"/>
                <a:gd name="connsiteX41" fmla="*/ 3574046 w 3901258"/>
                <a:gd name="connsiteY41" fmla="*/ 789004 h 1020765"/>
                <a:gd name="connsiteX42" fmla="*/ 3623944 w 3901258"/>
                <a:gd name="connsiteY42" fmla="*/ 807065 h 1020765"/>
                <a:gd name="connsiteX43" fmla="*/ 3671466 w 3901258"/>
                <a:gd name="connsiteY43" fmla="*/ 828929 h 1020765"/>
                <a:gd name="connsiteX44" fmla="*/ 3717087 w 3901258"/>
                <a:gd name="connsiteY44" fmla="*/ 855071 h 1020765"/>
                <a:gd name="connsiteX45" fmla="*/ 3759856 w 3901258"/>
                <a:gd name="connsiteY45" fmla="*/ 884540 h 1020765"/>
                <a:gd name="connsiteX46" fmla="*/ 3800250 w 3901258"/>
                <a:gd name="connsiteY46" fmla="*/ 917811 h 1020765"/>
                <a:gd name="connsiteX47" fmla="*/ 3837792 w 3901258"/>
                <a:gd name="connsiteY47" fmla="*/ 953458 h 1020765"/>
                <a:gd name="connsiteX48" fmla="*/ 3871532 w 3901258"/>
                <a:gd name="connsiteY48" fmla="*/ 992909 h 1020765"/>
                <a:gd name="connsiteX49" fmla="*/ 3887690 w 3901258"/>
                <a:gd name="connsiteY49" fmla="*/ 1013347 h 1020765"/>
                <a:gd name="connsiteX50" fmla="*/ 3901258 w 3901258"/>
                <a:gd name="connsiteY50" fmla="*/ 1020765 h 1020765"/>
                <a:gd name="connsiteX51" fmla="*/ 0 w 3901258"/>
                <a:gd name="connsiteY51" fmla="*/ 1020765 h 1020765"/>
                <a:gd name="connsiteX52" fmla="*/ 7538 w 3901258"/>
                <a:gd name="connsiteY52" fmla="*/ 1006692 h 1020765"/>
                <a:gd name="connsiteX53" fmla="*/ 32724 w 3901258"/>
                <a:gd name="connsiteY53" fmla="*/ 968668 h 1020765"/>
                <a:gd name="connsiteX54" fmla="*/ 61712 w 3901258"/>
                <a:gd name="connsiteY54" fmla="*/ 933971 h 1020765"/>
                <a:gd name="connsiteX55" fmla="*/ 94027 w 3901258"/>
                <a:gd name="connsiteY55" fmla="*/ 901650 h 1020765"/>
                <a:gd name="connsiteX56" fmla="*/ 129193 w 3901258"/>
                <a:gd name="connsiteY56" fmla="*/ 872657 h 1020765"/>
                <a:gd name="connsiteX57" fmla="*/ 166736 w 3901258"/>
                <a:gd name="connsiteY57" fmla="*/ 847466 h 1020765"/>
                <a:gd name="connsiteX58" fmla="*/ 206654 w 3901258"/>
                <a:gd name="connsiteY58" fmla="*/ 826077 h 1020765"/>
                <a:gd name="connsiteX59" fmla="*/ 248948 w 3901258"/>
                <a:gd name="connsiteY59" fmla="*/ 808016 h 1020765"/>
                <a:gd name="connsiteX60" fmla="*/ 293619 w 3901258"/>
                <a:gd name="connsiteY60" fmla="*/ 793757 h 1020765"/>
                <a:gd name="connsiteX61" fmla="*/ 339715 w 3901258"/>
                <a:gd name="connsiteY61" fmla="*/ 784726 h 1020765"/>
                <a:gd name="connsiteX62" fmla="*/ 387237 w 3901258"/>
                <a:gd name="connsiteY62" fmla="*/ 779973 h 1020765"/>
                <a:gd name="connsiteX63" fmla="*/ 411948 w 3901258"/>
                <a:gd name="connsiteY63" fmla="*/ 779022 h 1020765"/>
                <a:gd name="connsiteX64" fmla="*/ 433808 w 3901258"/>
                <a:gd name="connsiteY64" fmla="*/ 779973 h 1020765"/>
                <a:gd name="connsiteX65" fmla="*/ 478478 w 3901258"/>
                <a:gd name="connsiteY65" fmla="*/ 784251 h 1020765"/>
                <a:gd name="connsiteX66" fmla="*/ 521248 w 3901258"/>
                <a:gd name="connsiteY66" fmla="*/ 792331 h 1020765"/>
                <a:gd name="connsiteX67" fmla="*/ 563067 w 3901258"/>
                <a:gd name="connsiteY67" fmla="*/ 804213 h 1020765"/>
                <a:gd name="connsiteX68" fmla="*/ 603461 w 3901258"/>
                <a:gd name="connsiteY68" fmla="*/ 819898 h 1020765"/>
                <a:gd name="connsiteX69" fmla="*/ 641478 w 3901258"/>
                <a:gd name="connsiteY69" fmla="*/ 838910 h 1020765"/>
                <a:gd name="connsiteX70" fmla="*/ 677119 w 3901258"/>
                <a:gd name="connsiteY70" fmla="*/ 861250 h 1020765"/>
                <a:gd name="connsiteX71" fmla="*/ 710860 w 3901258"/>
                <a:gd name="connsiteY71" fmla="*/ 886441 h 1020765"/>
                <a:gd name="connsiteX72" fmla="*/ 727017 w 3901258"/>
                <a:gd name="connsiteY72" fmla="*/ 900700 h 1020765"/>
                <a:gd name="connsiteX73" fmla="*/ 738422 w 3901258"/>
                <a:gd name="connsiteY73" fmla="*/ 880262 h 1020765"/>
                <a:gd name="connsiteX74" fmla="*/ 762658 w 3901258"/>
                <a:gd name="connsiteY74" fmla="*/ 840812 h 1020765"/>
                <a:gd name="connsiteX75" fmla="*/ 791172 w 3901258"/>
                <a:gd name="connsiteY75" fmla="*/ 804213 h 1020765"/>
                <a:gd name="connsiteX76" fmla="*/ 823011 w 3901258"/>
                <a:gd name="connsiteY76" fmla="*/ 770942 h 1020765"/>
                <a:gd name="connsiteX77" fmla="*/ 857702 w 3901258"/>
                <a:gd name="connsiteY77" fmla="*/ 741473 h 1020765"/>
                <a:gd name="connsiteX78" fmla="*/ 895719 w 3901258"/>
                <a:gd name="connsiteY78" fmla="*/ 714381 h 1020765"/>
                <a:gd name="connsiteX79" fmla="*/ 936113 w 3901258"/>
                <a:gd name="connsiteY79" fmla="*/ 691566 h 1020765"/>
                <a:gd name="connsiteX80" fmla="*/ 978407 w 3901258"/>
                <a:gd name="connsiteY80" fmla="*/ 673030 h 1020765"/>
                <a:gd name="connsiteX81" fmla="*/ 1001218 w 3901258"/>
                <a:gd name="connsiteY81" fmla="*/ 665425 h 1020765"/>
                <a:gd name="connsiteX82" fmla="*/ 1005970 w 3901258"/>
                <a:gd name="connsiteY82" fmla="*/ 645937 h 1020765"/>
                <a:gd name="connsiteX83" fmla="*/ 1018326 w 3901258"/>
                <a:gd name="connsiteY83" fmla="*/ 609339 h 1020765"/>
                <a:gd name="connsiteX84" fmla="*/ 1034483 w 3901258"/>
                <a:gd name="connsiteY84" fmla="*/ 573216 h 1020765"/>
                <a:gd name="connsiteX85" fmla="*/ 1052541 w 3901258"/>
                <a:gd name="connsiteY85" fmla="*/ 538994 h 1020765"/>
                <a:gd name="connsiteX86" fmla="*/ 1073926 w 3901258"/>
                <a:gd name="connsiteY86" fmla="*/ 506198 h 1020765"/>
                <a:gd name="connsiteX87" fmla="*/ 1097212 w 3901258"/>
                <a:gd name="connsiteY87" fmla="*/ 476254 h 1020765"/>
                <a:gd name="connsiteX88" fmla="*/ 1123349 w 3901258"/>
                <a:gd name="connsiteY88" fmla="*/ 447736 h 1020765"/>
                <a:gd name="connsiteX89" fmla="*/ 1150911 w 3901258"/>
                <a:gd name="connsiteY89" fmla="*/ 421119 h 1020765"/>
                <a:gd name="connsiteX90" fmla="*/ 1180850 w 3901258"/>
                <a:gd name="connsiteY90" fmla="*/ 397354 h 1020765"/>
                <a:gd name="connsiteX91" fmla="*/ 1213640 w 3901258"/>
                <a:gd name="connsiteY91" fmla="*/ 375490 h 1020765"/>
                <a:gd name="connsiteX92" fmla="*/ 1247380 w 3901258"/>
                <a:gd name="connsiteY92" fmla="*/ 356953 h 1020765"/>
                <a:gd name="connsiteX93" fmla="*/ 1282547 w 3901258"/>
                <a:gd name="connsiteY93" fmla="*/ 341268 h 1020765"/>
                <a:gd name="connsiteX94" fmla="*/ 1319614 w 3901258"/>
                <a:gd name="connsiteY94" fmla="*/ 328435 h 1020765"/>
                <a:gd name="connsiteX95" fmla="*/ 1358581 w 3901258"/>
                <a:gd name="connsiteY95" fmla="*/ 317503 h 1020765"/>
                <a:gd name="connsiteX96" fmla="*/ 1398024 w 3901258"/>
                <a:gd name="connsiteY96" fmla="*/ 310849 h 1020765"/>
                <a:gd name="connsiteX97" fmla="*/ 1438418 w 3901258"/>
                <a:gd name="connsiteY97" fmla="*/ 307046 h 1020765"/>
                <a:gd name="connsiteX98" fmla="*/ 1458852 w 3901258"/>
                <a:gd name="connsiteY98" fmla="*/ 307046 h 1020765"/>
                <a:gd name="connsiteX99" fmla="*/ 1485940 w 3901258"/>
                <a:gd name="connsiteY99" fmla="*/ 307997 h 1020765"/>
                <a:gd name="connsiteX100" fmla="*/ 1537738 w 3901258"/>
                <a:gd name="connsiteY100" fmla="*/ 313225 h 1020765"/>
                <a:gd name="connsiteX101" fmla="*/ 1563400 w 3901258"/>
                <a:gd name="connsiteY101" fmla="*/ 318929 h 1020765"/>
                <a:gd name="connsiteX102" fmla="*/ 1583835 w 3901258"/>
                <a:gd name="connsiteY102" fmla="*/ 283756 h 1020765"/>
                <a:gd name="connsiteX103" fmla="*/ 1633257 w 3901258"/>
                <a:gd name="connsiteY103" fmla="*/ 218640 h 1020765"/>
                <a:gd name="connsiteX104" fmla="*/ 1689808 w 3901258"/>
                <a:gd name="connsiteY104" fmla="*/ 160177 h 1020765"/>
                <a:gd name="connsiteX105" fmla="*/ 1753963 w 3901258"/>
                <a:gd name="connsiteY105" fmla="*/ 109320 h 1020765"/>
                <a:gd name="connsiteX106" fmla="*/ 1824295 w 3901258"/>
                <a:gd name="connsiteY106" fmla="*/ 67493 h 1020765"/>
                <a:gd name="connsiteX107" fmla="*/ 1899854 w 3901258"/>
                <a:gd name="connsiteY107" fmla="*/ 35173 h 1020765"/>
                <a:gd name="connsiteX108" fmla="*/ 1980641 w 3901258"/>
                <a:gd name="connsiteY108" fmla="*/ 12358 h 1020765"/>
                <a:gd name="connsiteX109" fmla="*/ 2043370 w 3901258"/>
                <a:gd name="connsiteY109" fmla="*/ 2852 h 1020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3901258" h="1020765">
                  <a:moveTo>
                    <a:pt x="2086615" y="0"/>
                  </a:moveTo>
                  <a:lnTo>
                    <a:pt x="2108475" y="0"/>
                  </a:lnTo>
                  <a:lnTo>
                    <a:pt x="2131285" y="0"/>
                  </a:lnTo>
                  <a:lnTo>
                    <a:pt x="2176906" y="3327"/>
                  </a:lnTo>
                  <a:lnTo>
                    <a:pt x="2220626" y="9506"/>
                  </a:lnTo>
                  <a:lnTo>
                    <a:pt x="2264346" y="19012"/>
                  </a:lnTo>
                  <a:lnTo>
                    <a:pt x="2306165" y="31370"/>
                  </a:lnTo>
                  <a:lnTo>
                    <a:pt x="2347034" y="46580"/>
                  </a:lnTo>
                  <a:lnTo>
                    <a:pt x="2386478" y="64641"/>
                  </a:lnTo>
                  <a:lnTo>
                    <a:pt x="2424019" y="85080"/>
                  </a:lnTo>
                  <a:lnTo>
                    <a:pt x="2460136" y="108369"/>
                  </a:lnTo>
                  <a:lnTo>
                    <a:pt x="2494827" y="133560"/>
                  </a:lnTo>
                  <a:lnTo>
                    <a:pt x="2527617" y="160653"/>
                  </a:lnTo>
                  <a:lnTo>
                    <a:pt x="2558506" y="190122"/>
                  </a:lnTo>
                  <a:lnTo>
                    <a:pt x="2587019" y="222442"/>
                  </a:lnTo>
                  <a:lnTo>
                    <a:pt x="2613156" y="255713"/>
                  </a:lnTo>
                  <a:lnTo>
                    <a:pt x="2637867" y="291361"/>
                  </a:lnTo>
                  <a:lnTo>
                    <a:pt x="2659252" y="328435"/>
                  </a:lnTo>
                  <a:lnTo>
                    <a:pt x="2669232" y="347447"/>
                  </a:lnTo>
                  <a:lnTo>
                    <a:pt x="2700121" y="333188"/>
                  </a:lnTo>
                  <a:lnTo>
                    <a:pt x="2763800" y="310849"/>
                  </a:lnTo>
                  <a:lnTo>
                    <a:pt x="2831281" y="295639"/>
                  </a:lnTo>
                  <a:lnTo>
                    <a:pt x="2901613" y="287559"/>
                  </a:lnTo>
                  <a:lnTo>
                    <a:pt x="2937255" y="287083"/>
                  </a:lnTo>
                  <a:lnTo>
                    <a:pt x="2964817" y="287559"/>
                  </a:lnTo>
                  <a:lnTo>
                    <a:pt x="3020417" y="292312"/>
                  </a:lnTo>
                  <a:lnTo>
                    <a:pt x="3073642" y="301818"/>
                  </a:lnTo>
                  <a:lnTo>
                    <a:pt x="3125441" y="316077"/>
                  </a:lnTo>
                  <a:lnTo>
                    <a:pt x="3175339" y="334138"/>
                  </a:lnTo>
                  <a:lnTo>
                    <a:pt x="3223335" y="356478"/>
                  </a:lnTo>
                  <a:lnTo>
                    <a:pt x="3268956" y="382619"/>
                  </a:lnTo>
                  <a:lnTo>
                    <a:pt x="3312201" y="412088"/>
                  </a:lnTo>
                  <a:lnTo>
                    <a:pt x="3353070" y="445359"/>
                  </a:lnTo>
                  <a:lnTo>
                    <a:pt x="3390612" y="481482"/>
                  </a:lnTo>
                  <a:lnTo>
                    <a:pt x="3424828" y="520933"/>
                  </a:lnTo>
                  <a:lnTo>
                    <a:pt x="3455717" y="562759"/>
                  </a:lnTo>
                  <a:lnTo>
                    <a:pt x="3483279" y="607438"/>
                  </a:lnTo>
                  <a:lnTo>
                    <a:pt x="3507041" y="654493"/>
                  </a:lnTo>
                  <a:lnTo>
                    <a:pt x="3526999" y="703924"/>
                  </a:lnTo>
                  <a:lnTo>
                    <a:pt x="3542682" y="755257"/>
                  </a:lnTo>
                  <a:lnTo>
                    <a:pt x="3548859" y="781399"/>
                  </a:lnTo>
                  <a:lnTo>
                    <a:pt x="3574046" y="789004"/>
                  </a:lnTo>
                  <a:lnTo>
                    <a:pt x="3623944" y="807065"/>
                  </a:lnTo>
                  <a:lnTo>
                    <a:pt x="3671466" y="828929"/>
                  </a:lnTo>
                  <a:lnTo>
                    <a:pt x="3717087" y="855071"/>
                  </a:lnTo>
                  <a:lnTo>
                    <a:pt x="3759856" y="884540"/>
                  </a:lnTo>
                  <a:lnTo>
                    <a:pt x="3800250" y="917811"/>
                  </a:lnTo>
                  <a:lnTo>
                    <a:pt x="3837792" y="953458"/>
                  </a:lnTo>
                  <a:lnTo>
                    <a:pt x="3871532" y="992909"/>
                  </a:lnTo>
                  <a:lnTo>
                    <a:pt x="3887690" y="1013347"/>
                  </a:lnTo>
                  <a:lnTo>
                    <a:pt x="3901258" y="1020765"/>
                  </a:lnTo>
                  <a:lnTo>
                    <a:pt x="0" y="1020765"/>
                  </a:lnTo>
                  <a:lnTo>
                    <a:pt x="7538" y="1006692"/>
                  </a:lnTo>
                  <a:lnTo>
                    <a:pt x="32724" y="968668"/>
                  </a:lnTo>
                  <a:lnTo>
                    <a:pt x="61712" y="933971"/>
                  </a:lnTo>
                  <a:lnTo>
                    <a:pt x="94027" y="901650"/>
                  </a:lnTo>
                  <a:lnTo>
                    <a:pt x="129193" y="872657"/>
                  </a:lnTo>
                  <a:lnTo>
                    <a:pt x="166736" y="847466"/>
                  </a:lnTo>
                  <a:lnTo>
                    <a:pt x="206654" y="826077"/>
                  </a:lnTo>
                  <a:lnTo>
                    <a:pt x="248948" y="808016"/>
                  </a:lnTo>
                  <a:lnTo>
                    <a:pt x="293619" y="793757"/>
                  </a:lnTo>
                  <a:lnTo>
                    <a:pt x="339715" y="784726"/>
                  </a:lnTo>
                  <a:lnTo>
                    <a:pt x="387237" y="779973"/>
                  </a:lnTo>
                  <a:lnTo>
                    <a:pt x="411948" y="779022"/>
                  </a:lnTo>
                  <a:lnTo>
                    <a:pt x="433808" y="779973"/>
                  </a:lnTo>
                  <a:lnTo>
                    <a:pt x="478478" y="784251"/>
                  </a:lnTo>
                  <a:lnTo>
                    <a:pt x="521248" y="792331"/>
                  </a:lnTo>
                  <a:lnTo>
                    <a:pt x="563067" y="804213"/>
                  </a:lnTo>
                  <a:lnTo>
                    <a:pt x="603461" y="819898"/>
                  </a:lnTo>
                  <a:lnTo>
                    <a:pt x="641478" y="838910"/>
                  </a:lnTo>
                  <a:lnTo>
                    <a:pt x="677119" y="861250"/>
                  </a:lnTo>
                  <a:lnTo>
                    <a:pt x="710860" y="886441"/>
                  </a:lnTo>
                  <a:lnTo>
                    <a:pt x="727017" y="900700"/>
                  </a:lnTo>
                  <a:lnTo>
                    <a:pt x="738422" y="880262"/>
                  </a:lnTo>
                  <a:lnTo>
                    <a:pt x="762658" y="840812"/>
                  </a:lnTo>
                  <a:lnTo>
                    <a:pt x="791172" y="804213"/>
                  </a:lnTo>
                  <a:lnTo>
                    <a:pt x="823011" y="770942"/>
                  </a:lnTo>
                  <a:lnTo>
                    <a:pt x="857702" y="741473"/>
                  </a:lnTo>
                  <a:lnTo>
                    <a:pt x="895719" y="714381"/>
                  </a:lnTo>
                  <a:lnTo>
                    <a:pt x="936113" y="691566"/>
                  </a:lnTo>
                  <a:lnTo>
                    <a:pt x="978407" y="673030"/>
                  </a:lnTo>
                  <a:lnTo>
                    <a:pt x="1001218" y="665425"/>
                  </a:lnTo>
                  <a:lnTo>
                    <a:pt x="1005970" y="645937"/>
                  </a:lnTo>
                  <a:lnTo>
                    <a:pt x="1018326" y="609339"/>
                  </a:lnTo>
                  <a:lnTo>
                    <a:pt x="1034483" y="573216"/>
                  </a:lnTo>
                  <a:lnTo>
                    <a:pt x="1052541" y="538994"/>
                  </a:lnTo>
                  <a:lnTo>
                    <a:pt x="1073926" y="506198"/>
                  </a:lnTo>
                  <a:lnTo>
                    <a:pt x="1097212" y="476254"/>
                  </a:lnTo>
                  <a:lnTo>
                    <a:pt x="1123349" y="447736"/>
                  </a:lnTo>
                  <a:lnTo>
                    <a:pt x="1150911" y="421119"/>
                  </a:lnTo>
                  <a:lnTo>
                    <a:pt x="1180850" y="397354"/>
                  </a:lnTo>
                  <a:lnTo>
                    <a:pt x="1213640" y="375490"/>
                  </a:lnTo>
                  <a:lnTo>
                    <a:pt x="1247380" y="356953"/>
                  </a:lnTo>
                  <a:lnTo>
                    <a:pt x="1282547" y="341268"/>
                  </a:lnTo>
                  <a:lnTo>
                    <a:pt x="1319614" y="328435"/>
                  </a:lnTo>
                  <a:lnTo>
                    <a:pt x="1358581" y="317503"/>
                  </a:lnTo>
                  <a:lnTo>
                    <a:pt x="1398024" y="310849"/>
                  </a:lnTo>
                  <a:lnTo>
                    <a:pt x="1438418" y="307046"/>
                  </a:lnTo>
                  <a:lnTo>
                    <a:pt x="1458852" y="307046"/>
                  </a:lnTo>
                  <a:lnTo>
                    <a:pt x="1485940" y="307997"/>
                  </a:lnTo>
                  <a:lnTo>
                    <a:pt x="1537738" y="313225"/>
                  </a:lnTo>
                  <a:lnTo>
                    <a:pt x="1563400" y="318929"/>
                  </a:lnTo>
                  <a:lnTo>
                    <a:pt x="1583835" y="283756"/>
                  </a:lnTo>
                  <a:lnTo>
                    <a:pt x="1633257" y="218640"/>
                  </a:lnTo>
                  <a:lnTo>
                    <a:pt x="1689808" y="160177"/>
                  </a:lnTo>
                  <a:lnTo>
                    <a:pt x="1753963" y="109320"/>
                  </a:lnTo>
                  <a:lnTo>
                    <a:pt x="1824295" y="67493"/>
                  </a:lnTo>
                  <a:lnTo>
                    <a:pt x="1899854" y="35173"/>
                  </a:lnTo>
                  <a:lnTo>
                    <a:pt x="1980641" y="12358"/>
                  </a:lnTo>
                  <a:lnTo>
                    <a:pt x="2043370" y="2852"/>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 name="Freeform: Shape 17">
              <a:extLst>
                <a:ext uri="{FF2B5EF4-FFF2-40B4-BE49-F238E27FC236}">
                  <a16:creationId xmlns:a16="http://schemas.microsoft.com/office/drawing/2014/main" id="{F74D3214-E002-E3EF-6F3B-29AD0ACFDD87}"/>
                </a:ext>
              </a:extLst>
            </p:cNvPr>
            <p:cNvSpPr/>
            <p:nvPr/>
          </p:nvSpPr>
          <p:spPr>
            <a:xfrm>
              <a:off x="5718906" y="5306445"/>
              <a:ext cx="4961465" cy="929543"/>
            </a:xfrm>
            <a:custGeom>
              <a:avLst/>
              <a:gdLst>
                <a:gd name="connsiteX0" fmla="*/ 2936312 w 4961465"/>
                <a:gd name="connsiteY0" fmla="*/ 0 h 929543"/>
                <a:gd name="connsiteX1" fmla="*/ 2970995 w 4961465"/>
                <a:gd name="connsiteY1" fmla="*/ 951 h 929543"/>
                <a:gd name="connsiteX2" fmla="*/ 3038461 w 4961465"/>
                <a:gd name="connsiteY2" fmla="*/ 10932 h 929543"/>
                <a:gd name="connsiteX3" fmla="*/ 3103076 w 4961465"/>
                <a:gd name="connsiteY3" fmla="*/ 29944 h 929543"/>
                <a:gd name="connsiteX4" fmla="*/ 3162940 w 4961465"/>
                <a:gd name="connsiteY4" fmla="*/ 57512 h 929543"/>
                <a:gd name="connsiteX5" fmla="*/ 3218528 w 4961465"/>
                <a:gd name="connsiteY5" fmla="*/ 93635 h 929543"/>
                <a:gd name="connsiteX6" fmla="*/ 3267465 w 4961465"/>
                <a:gd name="connsiteY6" fmla="*/ 135937 h 929543"/>
                <a:gd name="connsiteX7" fmla="*/ 3311175 w 4961465"/>
                <a:gd name="connsiteY7" fmla="*/ 185368 h 929543"/>
                <a:gd name="connsiteX8" fmla="*/ 3346809 w 4961465"/>
                <a:gd name="connsiteY8" fmla="*/ 239553 h 929543"/>
                <a:gd name="connsiteX9" fmla="*/ 3362487 w 4961465"/>
                <a:gd name="connsiteY9" fmla="*/ 269022 h 929543"/>
                <a:gd name="connsiteX10" fmla="*/ 3392419 w 4961465"/>
                <a:gd name="connsiteY10" fmla="*/ 254763 h 929543"/>
                <a:gd name="connsiteX11" fmla="*/ 3450571 w 4961465"/>
                <a:gd name="connsiteY11" fmla="*/ 233647 h 929543"/>
                <a:gd name="connsiteX12" fmla="*/ 3462368 w 4961465"/>
                <a:gd name="connsiteY12" fmla="*/ 227244 h 929543"/>
                <a:gd name="connsiteX13" fmla="*/ 3690215 w 4961465"/>
                <a:gd name="connsiteY13" fmla="*/ 181244 h 929543"/>
                <a:gd name="connsiteX14" fmla="*/ 4263678 w 4961465"/>
                <a:gd name="connsiteY14" fmla="*/ 648630 h 929543"/>
                <a:gd name="connsiteX15" fmla="*/ 4264519 w 4961465"/>
                <a:gd name="connsiteY15" fmla="*/ 656979 h 929543"/>
                <a:gd name="connsiteX16" fmla="*/ 4332360 w 4961465"/>
                <a:gd name="connsiteY16" fmla="*/ 635920 h 929543"/>
                <a:gd name="connsiteX17" fmla="*/ 4450330 w 4961465"/>
                <a:gd name="connsiteY17" fmla="*/ 624027 h 929543"/>
                <a:gd name="connsiteX18" fmla="*/ 4935716 w 4961465"/>
                <a:gd name="connsiteY18" fmla="*/ 882105 h 929543"/>
                <a:gd name="connsiteX19" fmla="*/ 4961465 w 4961465"/>
                <a:gd name="connsiteY19" fmla="*/ 929543 h 929543"/>
                <a:gd name="connsiteX20" fmla="*/ 3944639 w 4961465"/>
                <a:gd name="connsiteY20" fmla="*/ 929543 h 929543"/>
                <a:gd name="connsiteX21" fmla="*/ 3130713 w 4961465"/>
                <a:gd name="connsiteY21" fmla="*/ 929543 h 929543"/>
                <a:gd name="connsiteX22" fmla="*/ 0 w 4961465"/>
                <a:gd name="connsiteY22" fmla="*/ 929543 h 929543"/>
                <a:gd name="connsiteX23" fmla="*/ 120 w 4961465"/>
                <a:gd name="connsiteY23" fmla="*/ 929218 h 929543"/>
                <a:gd name="connsiteX24" fmla="*/ 17224 w 4961465"/>
                <a:gd name="connsiteY24" fmla="*/ 893095 h 929543"/>
                <a:gd name="connsiteX25" fmla="*/ 37178 w 4961465"/>
                <a:gd name="connsiteY25" fmla="*/ 858398 h 929543"/>
                <a:gd name="connsiteX26" fmla="*/ 59984 w 4961465"/>
                <a:gd name="connsiteY26" fmla="*/ 825127 h 929543"/>
                <a:gd name="connsiteX27" fmla="*/ 72337 w 4961465"/>
                <a:gd name="connsiteY27" fmla="*/ 809917 h 929543"/>
                <a:gd name="connsiteX28" fmla="*/ 68536 w 4961465"/>
                <a:gd name="connsiteY28" fmla="*/ 779022 h 929543"/>
                <a:gd name="connsiteX29" fmla="*/ 68061 w 4961465"/>
                <a:gd name="connsiteY29" fmla="*/ 747177 h 929543"/>
                <a:gd name="connsiteX30" fmla="*/ 68061 w 4961465"/>
                <a:gd name="connsiteY30" fmla="*/ 726264 h 929543"/>
                <a:gd name="connsiteX31" fmla="*/ 72337 w 4961465"/>
                <a:gd name="connsiteY31" fmla="*/ 685387 h 929543"/>
                <a:gd name="connsiteX32" fmla="*/ 79939 w 4961465"/>
                <a:gd name="connsiteY32" fmla="*/ 645462 h 929543"/>
                <a:gd name="connsiteX33" fmla="*/ 91816 w 4961465"/>
                <a:gd name="connsiteY33" fmla="*/ 606962 h 929543"/>
                <a:gd name="connsiteX34" fmla="*/ 107495 w 4961465"/>
                <a:gd name="connsiteY34" fmla="*/ 570839 h 929543"/>
                <a:gd name="connsiteX35" fmla="*/ 126499 w 4961465"/>
                <a:gd name="connsiteY35" fmla="*/ 536142 h 929543"/>
                <a:gd name="connsiteX36" fmla="*/ 147879 w 4961465"/>
                <a:gd name="connsiteY36" fmla="*/ 503822 h 929543"/>
                <a:gd name="connsiteX37" fmla="*/ 173060 w 4961465"/>
                <a:gd name="connsiteY37" fmla="*/ 473402 h 929543"/>
                <a:gd name="connsiteX38" fmla="*/ 201092 w 4961465"/>
                <a:gd name="connsiteY38" fmla="*/ 445835 h 929543"/>
                <a:gd name="connsiteX39" fmla="*/ 231024 w 4961465"/>
                <a:gd name="connsiteY39" fmla="*/ 421119 h 929543"/>
                <a:gd name="connsiteX40" fmla="*/ 262856 w 4961465"/>
                <a:gd name="connsiteY40" fmla="*/ 398780 h 929543"/>
                <a:gd name="connsiteX41" fmla="*/ 297540 w 4961465"/>
                <a:gd name="connsiteY41" fmla="*/ 380718 h 929543"/>
                <a:gd name="connsiteX42" fmla="*/ 334598 w 4961465"/>
                <a:gd name="connsiteY42" fmla="*/ 365033 h 929543"/>
                <a:gd name="connsiteX43" fmla="*/ 372607 w 4961465"/>
                <a:gd name="connsiteY43" fmla="*/ 353151 h 929543"/>
                <a:gd name="connsiteX44" fmla="*/ 412042 w 4961465"/>
                <a:gd name="connsiteY44" fmla="*/ 344595 h 929543"/>
                <a:gd name="connsiteX45" fmla="*/ 453376 w 4961465"/>
                <a:gd name="connsiteY45" fmla="*/ 341268 h 929543"/>
                <a:gd name="connsiteX46" fmla="*/ 474281 w 4961465"/>
                <a:gd name="connsiteY46" fmla="*/ 340317 h 929543"/>
                <a:gd name="connsiteX47" fmla="*/ 506114 w 4961465"/>
                <a:gd name="connsiteY47" fmla="*/ 341743 h 929543"/>
                <a:gd name="connsiteX48" fmla="*/ 569304 w 4961465"/>
                <a:gd name="connsiteY48" fmla="*/ 351725 h 929543"/>
                <a:gd name="connsiteX49" fmla="*/ 628217 w 4961465"/>
                <a:gd name="connsiteY49" fmla="*/ 370737 h 929543"/>
                <a:gd name="connsiteX50" fmla="*/ 682855 w 4961465"/>
                <a:gd name="connsiteY50" fmla="*/ 397829 h 929543"/>
                <a:gd name="connsiteX51" fmla="*/ 708511 w 4961465"/>
                <a:gd name="connsiteY51" fmla="*/ 414940 h 929543"/>
                <a:gd name="connsiteX52" fmla="*/ 723715 w 4961465"/>
                <a:gd name="connsiteY52" fmla="*/ 402107 h 929543"/>
                <a:gd name="connsiteX53" fmla="*/ 756498 w 4961465"/>
                <a:gd name="connsiteY53" fmla="*/ 378817 h 929543"/>
                <a:gd name="connsiteX54" fmla="*/ 791656 w 4961465"/>
                <a:gd name="connsiteY54" fmla="*/ 358379 h 929543"/>
                <a:gd name="connsiteX55" fmla="*/ 828240 w 4961465"/>
                <a:gd name="connsiteY55" fmla="*/ 341268 h 929543"/>
                <a:gd name="connsiteX56" fmla="*/ 866724 w 4961465"/>
                <a:gd name="connsiteY56" fmla="*/ 327009 h 929543"/>
                <a:gd name="connsiteX57" fmla="*/ 906633 w 4961465"/>
                <a:gd name="connsiteY57" fmla="*/ 315602 h 929543"/>
                <a:gd name="connsiteX58" fmla="*/ 947018 w 4961465"/>
                <a:gd name="connsiteY58" fmla="*/ 308472 h 929543"/>
                <a:gd name="connsiteX59" fmla="*/ 989778 w 4961465"/>
                <a:gd name="connsiteY59" fmla="*/ 304670 h 929543"/>
                <a:gd name="connsiteX60" fmla="*/ 1011158 w 4961465"/>
                <a:gd name="connsiteY60" fmla="*/ 304194 h 929543"/>
                <a:gd name="connsiteX61" fmla="*/ 1034913 w 4961465"/>
                <a:gd name="connsiteY61" fmla="*/ 304670 h 929543"/>
                <a:gd name="connsiteX62" fmla="*/ 1079574 w 4961465"/>
                <a:gd name="connsiteY62" fmla="*/ 308947 h 929543"/>
                <a:gd name="connsiteX63" fmla="*/ 1123284 w 4961465"/>
                <a:gd name="connsiteY63" fmla="*/ 317503 h 929543"/>
                <a:gd name="connsiteX64" fmla="*/ 1166044 w 4961465"/>
                <a:gd name="connsiteY64" fmla="*/ 329861 h 929543"/>
                <a:gd name="connsiteX65" fmla="*/ 1206429 w 4961465"/>
                <a:gd name="connsiteY65" fmla="*/ 346021 h 929543"/>
                <a:gd name="connsiteX66" fmla="*/ 1245388 w 4961465"/>
                <a:gd name="connsiteY66" fmla="*/ 365508 h 929543"/>
                <a:gd name="connsiteX67" fmla="*/ 1281497 w 4961465"/>
                <a:gd name="connsiteY67" fmla="*/ 389274 h 929543"/>
                <a:gd name="connsiteX68" fmla="*/ 1315705 w 4961465"/>
                <a:gd name="connsiteY68" fmla="*/ 414940 h 929543"/>
                <a:gd name="connsiteX69" fmla="*/ 1347062 w 4961465"/>
                <a:gd name="connsiteY69" fmla="*/ 444409 h 929543"/>
                <a:gd name="connsiteX70" fmla="*/ 1376044 w 4961465"/>
                <a:gd name="connsiteY70" fmla="*/ 476729 h 929543"/>
                <a:gd name="connsiteX71" fmla="*/ 1401700 w 4961465"/>
                <a:gd name="connsiteY71" fmla="*/ 510951 h 929543"/>
                <a:gd name="connsiteX72" fmla="*/ 1424505 w 4961465"/>
                <a:gd name="connsiteY72" fmla="*/ 547550 h 929543"/>
                <a:gd name="connsiteX73" fmla="*/ 1443510 w 4961465"/>
                <a:gd name="connsiteY73" fmla="*/ 586049 h 929543"/>
                <a:gd name="connsiteX74" fmla="*/ 1459664 w 4961465"/>
                <a:gd name="connsiteY74" fmla="*/ 627400 h 929543"/>
                <a:gd name="connsiteX75" fmla="*/ 1471066 w 4961465"/>
                <a:gd name="connsiteY75" fmla="*/ 670178 h 929543"/>
                <a:gd name="connsiteX76" fmla="*/ 1479143 w 4961465"/>
                <a:gd name="connsiteY76" fmla="*/ 713906 h 929543"/>
                <a:gd name="connsiteX77" fmla="*/ 1481519 w 4961465"/>
                <a:gd name="connsiteY77" fmla="*/ 736720 h 929543"/>
                <a:gd name="connsiteX78" fmla="*/ 1497673 w 4961465"/>
                <a:gd name="connsiteY78" fmla="*/ 714856 h 929543"/>
                <a:gd name="connsiteX79" fmla="*/ 1534731 w 4961465"/>
                <a:gd name="connsiteY79" fmla="*/ 674455 h 929543"/>
                <a:gd name="connsiteX80" fmla="*/ 1576541 w 4961465"/>
                <a:gd name="connsiteY80" fmla="*/ 638808 h 929543"/>
                <a:gd name="connsiteX81" fmla="*/ 1621677 w 4961465"/>
                <a:gd name="connsiteY81" fmla="*/ 607913 h 929543"/>
                <a:gd name="connsiteX82" fmla="*/ 1670138 w 4961465"/>
                <a:gd name="connsiteY82" fmla="*/ 582722 h 929543"/>
                <a:gd name="connsiteX83" fmla="*/ 1722401 w 4961465"/>
                <a:gd name="connsiteY83" fmla="*/ 562759 h 929543"/>
                <a:gd name="connsiteX84" fmla="*/ 1777513 w 4961465"/>
                <a:gd name="connsiteY84" fmla="*/ 549451 h 929543"/>
                <a:gd name="connsiteX85" fmla="*/ 1834052 w 4961465"/>
                <a:gd name="connsiteY85" fmla="*/ 542321 h 929543"/>
                <a:gd name="connsiteX86" fmla="*/ 1863509 w 4961465"/>
                <a:gd name="connsiteY86" fmla="*/ 541846 h 929543"/>
                <a:gd name="connsiteX87" fmla="*/ 1888215 w 4961465"/>
                <a:gd name="connsiteY87" fmla="*/ 541846 h 929543"/>
                <a:gd name="connsiteX88" fmla="*/ 1937626 w 4961465"/>
                <a:gd name="connsiteY88" fmla="*/ 547550 h 929543"/>
                <a:gd name="connsiteX89" fmla="*/ 1984662 w 4961465"/>
                <a:gd name="connsiteY89" fmla="*/ 557531 h 929543"/>
                <a:gd name="connsiteX90" fmla="*/ 2030273 w 4961465"/>
                <a:gd name="connsiteY90" fmla="*/ 572265 h 929543"/>
                <a:gd name="connsiteX91" fmla="*/ 2073508 w 4961465"/>
                <a:gd name="connsiteY91" fmla="*/ 590327 h 929543"/>
                <a:gd name="connsiteX92" fmla="*/ 2114368 w 4961465"/>
                <a:gd name="connsiteY92" fmla="*/ 614092 h 929543"/>
                <a:gd name="connsiteX93" fmla="*/ 2152377 w 4961465"/>
                <a:gd name="connsiteY93" fmla="*/ 640234 h 929543"/>
                <a:gd name="connsiteX94" fmla="*/ 2188010 w 4961465"/>
                <a:gd name="connsiteY94" fmla="*/ 671128 h 929543"/>
                <a:gd name="connsiteX95" fmla="*/ 2204639 w 4961465"/>
                <a:gd name="connsiteY95" fmla="*/ 687764 h 929543"/>
                <a:gd name="connsiteX96" fmla="*/ 2216992 w 4961465"/>
                <a:gd name="connsiteY96" fmla="*/ 672554 h 929543"/>
                <a:gd name="connsiteX97" fmla="*/ 2243599 w 4961465"/>
                <a:gd name="connsiteY97" fmla="*/ 643561 h 929543"/>
                <a:gd name="connsiteX98" fmla="*/ 2272580 w 4961465"/>
                <a:gd name="connsiteY98" fmla="*/ 616468 h 929543"/>
                <a:gd name="connsiteX99" fmla="*/ 2303938 w 4961465"/>
                <a:gd name="connsiteY99" fmla="*/ 592228 h 929543"/>
                <a:gd name="connsiteX100" fmla="*/ 2336721 w 4961465"/>
                <a:gd name="connsiteY100" fmla="*/ 570839 h 929543"/>
                <a:gd name="connsiteX101" fmla="*/ 2371403 w 4961465"/>
                <a:gd name="connsiteY101" fmla="*/ 551827 h 929543"/>
                <a:gd name="connsiteX102" fmla="*/ 2408462 w 4961465"/>
                <a:gd name="connsiteY102" fmla="*/ 536142 h 929543"/>
                <a:gd name="connsiteX103" fmla="*/ 2446947 w 4961465"/>
                <a:gd name="connsiteY103" fmla="*/ 523309 h 929543"/>
                <a:gd name="connsiteX104" fmla="*/ 2466426 w 4961465"/>
                <a:gd name="connsiteY104" fmla="*/ 518556 h 929543"/>
                <a:gd name="connsiteX105" fmla="*/ 2464525 w 4961465"/>
                <a:gd name="connsiteY105" fmla="*/ 495266 h 929543"/>
                <a:gd name="connsiteX106" fmla="*/ 2464051 w 4961465"/>
                <a:gd name="connsiteY106" fmla="*/ 472452 h 929543"/>
                <a:gd name="connsiteX107" fmla="*/ 2464525 w 4961465"/>
                <a:gd name="connsiteY107" fmla="*/ 447736 h 929543"/>
                <a:gd name="connsiteX108" fmla="*/ 2469277 w 4961465"/>
                <a:gd name="connsiteY108" fmla="*/ 400206 h 929543"/>
                <a:gd name="connsiteX109" fmla="*/ 2478779 w 4961465"/>
                <a:gd name="connsiteY109" fmla="*/ 354101 h 929543"/>
                <a:gd name="connsiteX110" fmla="*/ 2492082 w 4961465"/>
                <a:gd name="connsiteY110" fmla="*/ 309423 h 929543"/>
                <a:gd name="connsiteX111" fmla="*/ 2510611 w 4961465"/>
                <a:gd name="connsiteY111" fmla="*/ 267121 h 929543"/>
                <a:gd name="connsiteX112" fmla="*/ 2532467 w 4961465"/>
                <a:gd name="connsiteY112" fmla="*/ 227195 h 929543"/>
                <a:gd name="connsiteX113" fmla="*/ 2557647 w 4961465"/>
                <a:gd name="connsiteY113" fmla="*/ 189646 h 929543"/>
                <a:gd name="connsiteX114" fmla="*/ 2586629 w 4961465"/>
                <a:gd name="connsiteY114" fmla="*/ 154474 h 929543"/>
                <a:gd name="connsiteX115" fmla="*/ 2618462 w 4961465"/>
                <a:gd name="connsiteY115" fmla="*/ 122153 h 929543"/>
                <a:gd name="connsiteX116" fmla="*/ 2653620 w 4961465"/>
                <a:gd name="connsiteY116" fmla="*/ 93635 h 929543"/>
                <a:gd name="connsiteX117" fmla="*/ 2691154 w 4961465"/>
                <a:gd name="connsiteY117" fmla="*/ 67969 h 929543"/>
                <a:gd name="connsiteX118" fmla="*/ 2731063 w 4961465"/>
                <a:gd name="connsiteY118" fmla="*/ 46105 h 929543"/>
                <a:gd name="connsiteX119" fmla="*/ 2773823 w 4961465"/>
                <a:gd name="connsiteY119" fmla="*/ 28043 h 929543"/>
                <a:gd name="connsiteX120" fmla="*/ 2818009 w 4961465"/>
                <a:gd name="connsiteY120" fmla="*/ 14735 h 929543"/>
                <a:gd name="connsiteX121" fmla="*/ 2864095 w 4961465"/>
                <a:gd name="connsiteY121" fmla="*/ 5229 h 929543"/>
                <a:gd name="connsiteX122" fmla="*/ 2911606 w 4961465"/>
                <a:gd name="connsiteY122" fmla="*/ 476 h 92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4961465" h="929543">
                  <a:moveTo>
                    <a:pt x="2936312" y="0"/>
                  </a:moveTo>
                  <a:lnTo>
                    <a:pt x="2970995" y="951"/>
                  </a:lnTo>
                  <a:lnTo>
                    <a:pt x="3038461" y="10932"/>
                  </a:lnTo>
                  <a:lnTo>
                    <a:pt x="3103076" y="29944"/>
                  </a:lnTo>
                  <a:lnTo>
                    <a:pt x="3162940" y="57512"/>
                  </a:lnTo>
                  <a:lnTo>
                    <a:pt x="3218528" y="93635"/>
                  </a:lnTo>
                  <a:lnTo>
                    <a:pt x="3267465" y="135937"/>
                  </a:lnTo>
                  <a:lnTo>
                    <a:pt x="3311175" y="185368"/>
                  </a:lnTo>
                  <a:lnTo>
                    <a:pt x="3346809" y="239553"/>
                  </a:lnTo>
                  <a:lnTo>
                    <a:pt x="3362487" y="269022"/>
                  </a:lnTo>
                  <a:lnTo>
                    <a:pt x="3392419" y="254763"/>
                  </a:lnTo>
                  <a:lnTo>
                    <a:pt x="3450571" y="233647"/>
                  </a:lnTo>
                  <a:lnTo>
                    <a:pt x="3462368" y="227244"/>
                  </a:lnTo>
                  <a:cubicBezTo>
                    <a:pt x="3532399" y="197624"/>
                    <a:pt x="3609394" y="181244"/>
                    <a:pt x="3690215" y="181244"/>
                  </a:cubicBezTo>
                  <a:cubicBezTo>
                    <a:pt x="3973088" y="181244"/>
                    <a:pt x="4209096" y="381893"/>
                    <a:pt x="4263678" y="648630"/>
                  </a:cubicBezTo>
                  <a:lnTo>
                    <a:pt x="4264519" y="656979"/>
                  </a:lnTo>
                  <a:lnTo>
                    <a:pt x="4332360" y="635920"/>
                  </a:lnTo>
                  <a:cubicBezTo>
                    <a:pt x="4370466" y="628122"/>
                    <a:pt x="4409920" y="624027"/>
                    <a:pt x="4450330" y="624027"/>
                  </a:cubicBezTo>
                  <a:cubicBezTo>
                    <a:pt x="4652382" y="624027"/>
                    <a:pt x="4830523" y="726399"/>
                    <a:pt x="4935716" y="882105"/>
                  </a:cubicBezTo>
                  <a:lnTo>
                    <a:pt x="4961465" y="929543"/>
                  </a:lnTo>
                  <a:lnTo>
                    <a:pt x="3944639" y="929543"/>
                  </a:lnTo>
                  <a:lnTo>
                    <a:pt x="3130713" y="929543"/>
                  </a:lnTo>
                  <a:lnTo>
                    <a:pt x="0" y="929543"/>
                  </a:lnTo>
                  <a:lnTo>
                    <a:pt x="120" y="929218"/>
                  </a:lnTo>
                  <a:lnTo>
                    <a:pt x="17224" y="893095"/>
                  </a:lnTo>
                  <a:lnTo>
                    <a:pt x="37178" y="858398"/>
                  </a:lnTo>
                  <a:lnTo>
                    <a:pt x="59984" y="825127"/>
                  </a:lnTo>
                  <a:lnTo>
                    <a:pt x="72337" y="809917"/>
                  </a:lnTo>
                  <a:lnTo>
                    <a:pt x="68536" y="779022"/>
                  </a:lnTo>
                  <a:lnTo>
                    <a:pt x="68061" y="747177"/>
                  </a:lnTo>
                  <a:lnTo>
                    <a:pt x="68061" y="726264"/>
                  </a:lnTo>
                  <a:lnTo>
                    <a:pt x="72337" y="685387"/>
                  </a:lnTo>
                  <a:lnTo>
                    <a:pt x="79939" y="645462"/>
                  </a:lnTo>
                  <a:lnTo>
                    <a:pt x="91816" y="606962"/>
                  </a:lnTo>
                  <a:lnTo>
                    <a:pt x="107495" y="570839"/>
                  </a:lnTo>
                  <a:lnTo>
                    <a:pt x="126499" y="536142"/>
                  </a:lnTo>
                  <a:lnTo>
                    <a:pt x="147879" y="503822"/>
                  </a:lnTo>
                  <a:lnTo>
                    <a:pt x="173060" y="473402"/>
                  </a:lnTo>
                  <a:lnTo>
                    <a:pt x="201092" y="445835"/>
                  </a:lnTo>
                  <a:lnTo>
                    <a:pt x="231024" y="421119"/>
                  </a:lnTo>
                  <a:lnTo>
                    <a:pt x="262856" y="398780"/>
                  </a:lnTo>
                  <a:lnTo>
                    <a:pt x="297540" y="380718"/>
                  </a:lnTo>
                  <a:lnTo>
                    <a:pt x="334598" y="365033"/>
                  </a:lnTo>
                  <a:lnTo>
                    <a:pt x="372607" y="353151"/>
                  </a:lnTo>
                  <a:lnTo>
                    <a:pt x="412042" y="344595"/>
                  </a:lnTo>
                  <a:lnTo>
                    <a:pt x="453376" y="341268"/>
                  </a:lnTo>
                  <a:lnTo>
                    <a:pt x="474281" y="340317"/>
                  </a:lnTo>
                  <a:lnTo>
                    <a:pt x="506114" y="341743"/>
                  </a:lnTo>
                  <a:lnTo>
                    <a:pt x="569304" y="351725"/>
                  </a:lnTo>
                  <a:lnTo>
                    <a:pt x="628217" y="370737"/>
                  </a:lnTo>
                  <a:lnTo>
                    <a:pt x="682855" y="397829"/>
                  </a:lnTo>
                  <a:lnTo>
                    <a:pt x="708511" y="414940"/>
                  </a:lnTo>
                  <a:lnTo>
                    <a:pt x="723715" y="402107"/>
                  </a:lnTo>
                  <a:lnTo>
                    <a:pt x="756498" y="378817"/>
                  </a:lnTo>
                  <a:lnTo>
                    <a:pt x="791656" y="358379"/>
                  </a:lnTo>
                  <a:lnTo>
                    <a:pt x="828240" y="341268"/>
                  </a:lnTo>
                  <a:lnTo>
                    <a:pt x="866724" y="327009"/>
                  </a:lnTo>
                  <a:lnTo>
                    <a:pt x="906633" y="315602"/>
                  </a:lnTo>
                  <a:lnTo>
                    <a:pt x="947018" y="308472"/>
                  </a:lnTo>
                  <a:lnTo>
                    <a:pt x="989778" y="304670"/>
                  </a:lnTo>
                  <a:lnTo>
                    <a:pt x="1011158" y="304194"/>
                  </a:lnTo>
                  <a:lnTo>
                    <a:pt x="1034913" y="304670"/>
                  </a:lnTo>
                  <a:lnTo>
                    <a:pt x="1079574" y="308947"/>
                  </a:lnTo>
                  <a:lnTo>
                    <a:pt x="1123284" y="317503"/>
                  </a:lnTo>
                  <a:lnTo>
                    <a:pt x="1166044" y="329861"/>
                  </a:lnTo>
                  <a:lnTo>
                    <a:pt x="1206429" y="346021"/>
                  </a:lnTo>
                  <a:lnTo>
                    <a:pt x="1245388" y="365508"/>
                  </a:lnTo>
                  <a:lnTo>
                    <a:pt x="1281497" y="389274"/>
                  </a:lnTo>
                  <a:lnTo>
                    <a:pt x="1315705" y="414940"/>
                  </a:lnTo>
                  <a:lnTo>
                    <a:pt x="1347062" y="444409"/>
                  </a:lnTo>
                  <a:lnTo>
                    <a:pt x="1376044" y="476729"/>
                  </a:lnTo>
                  <a:lnTo>
                    <a:pt x="1401700" y="510951"/>
                  </a:lnTo>
                  <a:lnTo>
                    <a:pt x="1424505" y="547550"/>
                  </a:lnTo>
                  <a:lnTo>
                    <a:pt x="1443510" y="586049"/>
                  </a:lnTo>
                  <a:lnTo>
                    <a:pt x="1459664" y="627400"/>
                  </a:lnTo>
                  <a:lnTo>
                    <a:pt x="1471066" y="670178"/>
                  </a:lnTo>
                  <a:lnTo>
                    <a:pt x="1479143" y="713906"/>
                  </a:lnTo>
                  <a:lnTo>
                    <a:pt x="1481519" y="736720"/>
                  </a:lnTo>
                  <a:lnTo>
                    <a:pt x="1497673" y="714856"/>
                  </a:lnTo>
                  <a:lnTo>
                    <a:pt x="1534731" y="674455"/>
                  </a:lnTo>
                  <a:lnTo>
                    <a:pt x="1576541" y="638808"/>
                  </a:lnTo>
                  <a:lnTo>
                    <a:pt x="1621677" y="607913"/>
                  </a:lnTo>
                  <a:lnTo>
                    <a:pt x="1670138" y="582722"/>
                  </a:lnTo>
                  <a:lnTo>
                    <a:pt x="1722401" y="562759"/>
                  </a:lnTo>
                  <a:lnTo>
                    <a:pt x="1777513" y="549451"/>
                  </a:lnTo>
                  <a:lnTo>
                    <a:pt x="1834052" y="542321"/>
                  </a:lnTo>
                  <a:lnTo>
                    <a:pt x="1863509" y="541846"/>
                  </a:lnTo>
                  <a:lnTo>
                    <a:pt x="1888215" y="541846"/>
                  </a:lnTo>
                  <a:lnTo>
                    <a:pt x="1937626" y="547550"/>
                  </a:lnTo>
                  <a:lnTo>
                    <a:pt x="1984662" y="557531"/>
                  </a:lnTo>
                  <a:lnTo>
                    <a:pt x="2030273" y="572265"/>
                  </a:lnTo>
                  <a:lnTo>
                    <a:pt x="2073508" y="590327"/>
                  </a:lnTo>
                  <a:lnTo>
                    <a:pt x="2114368" y="614092"/>
                  </a:lnTo>
                  <a:lnTo>
                    <a:pt x="2152377" y="640234"/>
                  </a:lnTo>
                  <a:lnTo>
                    <a:pt x="2188010" y="671128"/>
                  </a:lnTo>
                  <a:lnTo>
                    <a:pt x="2204639" y="687764"/>
                  </a:lnTo>
                  <a:lnTo>
                    <a:pt x="2216992" y="672554"/>
                  </a:lnTo>
                  <a:lnTo>
                    <a:pt x="2243599" y="643561"/>
                  </a:lnTo>
                  <a:lnTo>
                    <a:pt x="2272580" y="616468"/>
                  </a:lnTo>
                  <a:lnTo>
                    <a:pt x="2303938" y="592228"/>
                  </a:lnTo>
                  <a:lnTo>
                    <a:pt x="2336721" y="570839"/>
                  </a:lnTo>
                  <a:lnTo>
                    <a:pt x="2371403" y="551827"/>
                  </a:lnTo>
                  <a:lnTo>
                    <a:pt x="2408462" y="536142"/>
                  </a:lnTo>
                  <a:lnTo>
                    <a:pt x="2446947" y="523309"/>
                  </a:lnTo>
                  <a:lnTo>
                    <a:pt x="2466426" y="518556"/>
                  </a:lnTo>
                  <a:lnTo>
                    <a:pt x="2464525" y="495266"/>
                  </a:lnTo>
                  <a:lnTo>
                    <a:pt x="2464051" y="472452"/>
                  </a:lnTo>
                  <a:lnTo>
                    <a:pt x="2464525" y="447736"/>
                  </a:lnTo>
                  <a:lnTo>
                    <a:pt x="2469277" y="400206"/>
                  </a:lnTo>
                  <a:lnTo>
                    <a:pt x="2478779" y="354101"/>
                  </a:lnTo>
                  <a:lnTo>
                    <a:pt x="2492082" y="309423"/>
                  </a:lnTo>
                  <a:lnTo>
                    <a:pt x="2510611" y="267121"/>
                  </a:lnTo>
                  <a:lnTo>
                    <a:pt x="2532467" y="227195"/>
                  </a:lnTo>
                  <a:lnTo>
                    <a:pt x="2557647" y="189646"/>
                  </a:lnTo>
                  <a:lnTo>
                    <a:pt x="2586629" y="154474"/>
                  </a:lnTo>
                  <a:lnTo>
                    <a:pt x="2618462" y="122153"/>
                  </a:lnTo>
                  <a:lnTo>
                    <a:pt x="2653620" y="93635"/>
                  </a:lnTo>
                  <a:lnTo>
                    <a:pt x="2691154" y="67969"/>
                  </a:lnTo>
                  <a:lnTo>
                    <a:pt x="2731063" y="46105"/>
                  </a:lnTo>
                  <a:lnTo>
                    <a:pt x="2773823" y="28043"/>
                  </a:lnTo>
                  <a:lnTo>
                    <a:pt x="2818009" y="14735"/>
                  </a:lnTo>
                  <a:lnTo>
                    <a:pt x="2864095" y="5229"/>
                  </a:lnTo>
                  <a:lnTo>
                    <a:pt x="2911606" y="476"/>
                  </a:lnTo>
                  <a:close/>
                </a:path>
              </a:pathLst>
            </a:custGeom>
            <a:solidFill>
              <a:srgbClr val="CBCB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13" name="Group 12">
            <a:extLst>
              <a:ext uri="{FF2B5EF4-FFF2-40B4-BE49-F238E27FC236}">
                <a16:creationId xmlns:a16="http://schemas.microsoft.com/office/drawing/2014/main" id="{79EFBF96-90F0-B3D5-63A9-ED1715B8F2C4}"/>
              </a:ext>
            </a:extLst>
          </p:cNvPr>
          <p:cNvGrpSpPr/>
          <p:nvPr/>
        </p:nvGrpSpPr>
        <p:grpSpPr>
          <a:xfrm rot="4192063">
            <a:off x="9108235" y="128650"/>
            <a:ext cx="881244" cy="1965624"/>
            <a:chOff x="5655378" y="854046"/>
            <a:chExt cx="881244" cy="1965624"/>
          </a:xfrm>
        </p:grpSpPr>
        <p:sp>
          <p:nvSpPr>
            <p:cNvPr id="14" name="Freeform 49">
              <a:extLst>
                <a:ext uri="{FF2B5EF4-FFF2-40B4-BE49-F238E27FC236}">
                  <a16:creationId xmlns:a16="http://schemas.microsoft.com/office/drawing/2014/main" id="{6BD52CB1-B285-9538-A1BC-898DDE6C2B53}"/>
                </a:ext>
              </a:extLst>
            </p:cNvPr>
            <p:cNvSpPr>
              <a:spLocks/>
            </p:cNvSpPr>
            <p:nvPr/>
          </p:nvSpPr>
          <p:spPr bwMode="auto">
            <a:xfrm>
              <a:off x="5902676" y="2235773"/>
              <a:ext cx="385667" cy="583897"/>
            </a:xfrm>
            <a:custGeom>
              <a:avLst/>
              <a:gdLst>
                <a:gd name="T0" fmla="*/ 787 w 1575"/>
                <a:gd name="T1" fmla="*/ 0 h 2380"/>
                <a:gd name="T2" fmla="*/ 256 w 1575"/>
                <a:gd name="T3" fmla="*/ 10 h 2380"/>
                <a:gd name="T4" fmla="*/ 115 w 1575"/>
                <a:gd name="T5" fmla="*/ 204 h 2380"/>
                <a:gd name="T6" fmla="*/ 44 w 1575"/>
                <a:gd name="T7" fmla="*/ 384 h 2380"/>
                <a:gd name="T8" fmla="*/ 8 w 1575"/>
                <a:gd name="T9" fmla="*/ 572 h 2380"/>
                <a:gd name="T10" fmla="*/ 1 w 1575"/>
                <a:gd name="T11" fmla="*/ 798 h 2380"/>
                <a:gd name="T12" fmla="*/ 37 w 1575"/>
                <a:gd name="T13" fmla="*/ 1068 h 2380"/>
                <a:gd name="T14" fmla="*/ 59 w 1575"/>
                <a:gd name="T15" fmla="*/ 1132 h 2380"/>
                <a:gd name="T16" fmla="*/ 159 w 1575"/>
                <a:gd name="T17" fmla="*/ 953 h 2380"/>
                <a:gd name="T18" fmla="*/ 246 w 1575"/>
                <a:gd name="T19" fmla="*/ 879 h 2380"/>
                <a:gd name="T20" fmla="*/ 306 w 1575"/>
                <a:gd name="T21" fmla="*/ 866 h 2380"/>
                <a:gd name="T22" fmla="*/ 354 w 1575"/>
                <a:gd name="T23" fmla="*/ 879 h 2380"/>
                <a:gd name="T24" fmla="*/ 363 w 1575"/>
                <a:gd name="T25" fmla="*/ 1138 h 2380"/>
                <a:gd name="T26" fmla="*/ 421 w 1575"/>
                <a:gd name="T27" fmla="*/ 1589 h 2380"/>
                <a:gd name="T28" fmla="*/ 505 w 1575"/>
                <a:gd name="T29" fmla="*/ 1901 h 2380"/>
                <a:gd name="T30" fmla="*/ 606 w 1575"/>
                <a:gd name="T31" fmla="*/ 2137 h 2380"/>
                <a:gd name="T32" fmla="*/ 745 w 1575"/>
                <a:gd name="T33" fmla="*/ 2338 h 2380"/>
                <a:gd name="T34" fmla="*/ 829 w 1575"/>
                <a:gd name="T35" fmla="*/ 2338 h 2380"/>
                <a:gd name="T36" fmla="*/ 968 w 1575"/>
                <a:gd name="T37" fmla="*/ 2137 h 2380"/>
                <a:gd name="T38" fmla="*/ 1069 w 1575"/>
                <a:gd name="T39" fmla="*/ 1901 h 2380"/>
                <a:gd name="T40" fmla="*/ 1153 w 1575"/>
                <a:gd name="T41" fmla="*/ 1589 h 2380"/>
                <a:gd name="T42" fmla="*/ 1212 w 1575"/>
                <a:gd name="T43" fmla="*/ 1138 h 2380"/>
                <a:gd name="T44" fmla="*/ 1220 w 1575"/>
                <a:gd name="T45" fmla="*/ 879 h 2380"/>
                <a:gd name="T46" fmla="*/ 1269 w 1575"/>
                <a:gd name="T47" fmla="*/ 866 h 2380"/>
                <a:gd name="T48" fmla="*/ 1327 w 1575"/>
                <a:gd name="T49" fmla="*/ 879 h 2380"/>
                <a:gd name="T50" fmla="*/ 1415 w 1575"/>
                <a:gd name="T51" fmla="*/ 953 h 2380"/>
                <a:gd name="T52" fmla="*/ 1514 w 1575"/>
                <a:gd name="T53" fmla="*/ 1132 h 2380"/>
                <a:gd name="T54" fmla="*/ 1536 w 1575"/>
                <a:gd name="T55" fmla="*/ 1068 h 2380"/>
                <a:gd name="T56" fmla="*/ 1573 w 1575"/>
                <a:gd name="T57" fmla="*/ 798 h 2380"/>
                <a:gd name="T58" fmla="*/ 1567 w 1575"/>
                <a:gd name="T59" fmla="*/ 572 h 2380"/>
                <a:gd name="T60" fmla="*/ 1529 w 1575"/>
                <a:gd name="T61" fmla="*/ 384 h 2380"/>
                <a:gd name="T62" fmla="*/ 1458 w 1575"/>
                <a:gd name="T63" fmla="*/ 204 h 2380"/>
                <a:gd name="T64" fmla="*/ 1318 w 1575"/>
                <a:gd name="T65" fmla="*/ 10 h 2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75" h="2380">
                  <a:moveTo>
                    <a:pt x="1305" y="0"/>
                  </a:moveTo>
                  <a:lnTo>
                    <a:pt x="787" y="0"/>
                  </a:lnTo>
                  <a:lnTo>
                    <a:pt x="269" y="0"/>
                  </a:lnTo>
                  <a:lnTo>
                    <a:pt x="256" y="10"/>
                  </a:lnTo>
                  <a:lnTo>
                    <a:pt x="179" y="101"/>
                  </a:lnTo>
                  <a:lnTo>
                    <a:pt x="115" y="204"/>
                  </a:lnTo>
                  <a:lnTo>
                    <a:pt x="71" y="306"/>
                  </a:lnTo>
                  <a:lnTo>
                    <a:pt x="44" y="384"/>
                  </a:lnTo>
                  <a:lnTo>
                    <a:pt x="23" y="473"/>
                  </a:lnTo>
                  <a:lnTo>
                    <a:pt x="8" y="572"/>
                  </a:lnTo>
                  <a:lnTo>
                    <a:pt x="0" y="681"/>
                  </a:lnTo>
                  <a:lnTo>
                    <a:pt x="1" y="798"/>
                  </a:lnTo>
                  <a:lnTo>
                    <a:pt x="13" y="928"/>
                  </a:lnTo>
                  <a:lnTo>
                    <a:pt x="37" y="1068"/>
                  </a:lnTo>
                  <a:lnTo>
                    <a:pt x="56" y="1143"/>
                  </a:lnTo>
                  <a:lnTo>
                    <a:pt x="59" y="1132"/>
                  </a:lnTo>
                  <a:lnTo>
                    <a:pt x="102" y="1038"/>
                  </a:lnTo>
                  <a:lnTo>
                    <a:pt x="159" y="953"/>
                  </a:lnTo>
                  <a:lnTo>
                    <a:pt x="206" y="903"/>
                  </a:lnTo>
                  <a:lnTo>
                    <a:pt x="246" y="879"/>
                  </a:lnTo>
                  <a:lnTo>
                    <a:pt x="276" y="868"/>
                  </a:lnTo>
                  <a:lnTo>
                    <a:pt x="306" y="866"/>
                  </a:lnTo>
                  <a:lnTo>
                    <a:pt x="338" y="872"/>
                  </a:lnTo>
                  <a:lnTo>
                    <a:pt x="354" y="879"/>
                  </a:lnTo>
                  <a:lnTo>
                    <a:pt x="354" y="913"/>
                  </a:lnTo>
                  <a:lnTo>
                    <a:pt x="363" y="1138"/>
                  </a:lnTo>
                  <a:lnTo>
                    <a:pt x="382" y="1348"/>
                  </a:lnTo>
                  <a:lnTo>
                    <a:pt x="421" y="1589"/>
                  </a:lnTo>
                  <a:lnTo>
                    <a:pt x="466" y="1777"/>
                  </a:lnTo>
                  <a:lnTo>
                    <a:pt x="505" y="1901"/>
                  </a:lnTo>
                  <a:lnTo>
                    <a:pt x="552" y="2023"/>
                  </a:lnTo>
                  <a:lnTo>
                    <a:pt x="606" y="2137"/>
                  </a:lnTo>
                  <a:lnTo>
                    <a:pt x="671" y="2244"/>
                  </a:lnTo>
                  <a:lnTo>
                    <a:pt x="745" y="2338"/>
                  </a:lnTo>
                  <a:lnTo>
                    <a:pt x="787" y="2380"/>
                  </a:lnTo>
                  <a:lnTo>
                    <a:pt x="829" y="2338"/>
                  </a:lnTo>
                  <a:lnTo>
                    <a:pt x="903" y="2244"/>
                  </a:lnTo>
                  <a:lnTo>
                    <a:pt x="968" y="2137"/>
                  </a:lnTo>
                  <a:lnTo>
                    <a:pt x="1023" y="2023"/>
                  </a:lnTo>
                  <a:lnTo>
                    <a:pt x="1069" y="1901"/>
                  </a:lnTo>
                  <a:lnTo>
                    <a:pt x="1108" y="1777"/>
                  </a:lnTo>
                  <a:lnTo>
                    <a:pt x="1153" y="1589"/>
                  </a:lnTo>
                  <a:lnTo>
                    <a:pt x="1191" y="1348"/>
                  </a:lnTo>
                  <a:lnTo>
                    <a:pt x="1212" y="1138"/>
                  </a:lnTo>
                  <a:lnTo>
                    <a:pt x="1221" y="913"/>
                  </a:lnTo>
                  <a:lnTo>
                    <a:pt x="1220" y="879"/>
                  </a:lnTo>
                  <a:lnTo>
                    <a:pt x="1236" y="872"/>
                  </a:lnTo>
                  <a:lnTo>
                    <a:pt x="1269" y="866"/>
                  </a:lnTo>
                  <a:lnTo>
                    <a:pt x="1299" y="868"/>
                  </a:lnTo>
                  <a:lnTo>
                    <a:pt x="1327" y="879"/>
                  </a:lnTo>
                  <a:lnTo>
                    <a:pt x="1369" y="903"/>
                  </a:lnTo>
                  <a:lnTo>
                    <a:pt x="1415" y="953"/>
                  </a:lnTo>
                  <a:lnTo>
                    <a:pt x="1472" y="1038"/>
                  </a:lnTo>
                  <a:lnTo>
                    <a:pt x="1514" y="1132"/>
                  </a:lnTo>
                  <a:lnTo>
                    <a:pt x="1518" y="1143"/>
                  </a:lnTo>
                  <a:lnTo>
                    <a:pt x="1536" y="1068"/>
                  </a:lnTo>
                  <a:lnTo>
                    <a:pt x="1560" y="928"/>
                  </a:lnTo>
                  <a:lnTo>
                    <a:pt x="1573" y="798"/>
                  </a:lnTo>
                  <a:lnTo>
                    <a:pt x="1575" y="681"/>
                  </a:lnTo>
                  <a:lnTo>
                    <a:pt x="1567" y="572"/>
                  </a:lnTo>
                  <a:lnTo>
                    <a:pt x="1551" y="473"/>
                  </a:lnTo>
                  <a:lnTo>
                    <a:pt x="1529" y="384"/>
                  </a:lnTo>
                  <a:lnTo>
                    <a:pt x="1503" y="306"/>
                  </a:lnTo>
                  <a:lnTo>
                    <a:pt x="1458" y="204"/>
                  </a:lnTo>
                  <a:lnTo>
                    <a:pt x="1396" y="101"/>
                  </a:lnTo>
                  <a:lnTo>
                    <a:pt x="1318" y="10"/>
                  </a:lnTo>
                  <a:lnTo>
                    <a:pt x="1305"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50">
              <a:extLst>
                <a:ext uri="{FF2B5EF4-FFF2-40B4-BE49-F238E27FC236}">
                  <a16:creationId xmlns:a16="http://schemas.microsoft.com/office/drawing/2014/main" id="{ADB341E2-3914-80AE-E9D2-A5F6FF0CDD87}"/>
                </a:ext>
              </a:extLst>
            </p:cNvPr>
            <p:cNvSpPr>
              <a:spLocks/>
            </p:cNvSpPr>
            <p:nvPr/>
          </p:nvSpPr>
          <p:spPr bwMode="auto">
            <a:xfrm>
              <a:off x="5921321" y="2235773"/>
              <a:ext cx="350339" cy="459267"/>
            </a:xfrm>
            <a:custGeom>
              <a:avLst/>
              <a:gdLst>
                <a:gd name="T0" fmla="*/ 711 w 1429"/>
                <a:gd name="T1" fmla="*/ 0 h 1873"/>
                <a:gd name="T2" fmla="*/ 289 w 1429"/>
                <a:gd name="T3" fmla="*/ 9 h 1873"/>
                <a:gd name="T4" fmla="*/ 143 w 1429"/>
                <a:gd name="T5" fmla="*/ 161 h 1873"/>
                <a:gd name="T6" fmla="*/ 64 w 1429"/>
                <a:gd name="T7" fmla="*/ 302 h 1873"/>
                <a:gd name="T8" fmla="*/ 17 w 1429"/>
                <a:gd name="T9" fmla="*/ 450 h 1873"/>
                <a:gd name="T10" fmla="*/ 0 w 1429"/>
                <a:gd name="T11" fmla="*/ 629 h 1873"/>
                <a:gd name="T12" fmla="*/ 22 w 1429"/>
                <a:gd name="T13" fmla="*/ 841 h 1873"/>
                <a:gd name="T14" fmla="*/ 43 w 1429"/>
                <a:gd name="T15" fmla="*/ 890 h 1873"/>
                <a:gd name="T16" fmla="*/ 177 w 1429"/>
                <a:gd name="T17" fmla="*/ 749 h 1873"/>
                <a:gd name="T18" fmla="*/ 288 w 1429"/>
                <a:gd name="T19" fmla="*/ 687 h 1873"/>
                <a:gd name="T20" fmla="*/ 357 w 1429"/>
                <a:gd name="T21" fmla="*/ 687 h 1873"/>
                <a:gd name="T22" fmla="*/ 370 w 1429"/>
                <a:gd name="T23" fmla="*/ 718 h 1873"/>
                <a:gd name="T24" fmla="*/ 393 w 1429"/>
                <a:gd name="T25" fmla="*/ 1062 h 1873"/>
                <a:gd name="T26" fmla="*/ 459 w 1429"/>
                <a:gd name="T27" fmla="*/ 1399 h 1873"/>
                <a:gd name="T28" fmla="*/ 525 w 1429"/>
                <a:gd name="T29" fmla="*/ 1592 h 1873"/>
                <a:gd name="T30" fmla="*/ 620 w 1429"/>
                <a:gd name="T31" fmla="*/ 1765 h 1873"/>
                <a:gd name="T32" fmla="*/ 711 w 1429"/>
                <a:gd name="T33" fmla="*/ 1873 h 1873"/>
                <a:gd name="T34" fmla="*/ 803 w 1429"/>
                <a:gd name="T35" fmla="*/ 1765 h 1873"/>
                <a:gd name="T36" fmla="*/ 896 w 1429"/>
                <a:gd name="T37" fmla="*/ 1592 h 1873"/>
                <a:gd name="T38" fmla="*/ 963 w 1429"/>
                <a:gd name="T39" fmla="*/ 1399 h 1873"/>
                <a:gd name="T40" fmla="*/ 1029 w 1429"/>
                <a:gd name="T41" fmla="*/ 1062 h 1873"/>
                <a:gd name="T42" fmla="*/ 1053 w 1429"/>
                <a:gd name="T43" fmla="*/ 718 h 1873"/>
                <a:gd name="T44" fmla="*/ 1064 w 1429"/>
                <a:gd name="T45" fmla="*/ 687 h 1873"/>
                <a:gd name="T46" fmla="*/ 1134 w 1429"/>
                <a:gd name="T47" fmla="*/ 687 h 1873"/>
                <a:gd name="T48" fmla="*/ 1249 w 1429"/>
                <a:gd name="T49" fmla="*/ 749 h 1873"/>
                <a:gd name="T50" fmla="*/ 1386 w 1429"/>
                <a:gd name="T51" fmla="*/ 890 h 1873"/>
                <a:gd name="T52" fmla="*/ 1407 w 1429"/>
                <a:gd name="T53" fmla="*/ 841 h 1873"/>
                <a:gd name="T54" fmla="*/ 1429 w 1429"/>
                <a:gd name="T55" fmla="*/ 629 h 1873"/>
                <a:gd name="T56" fmla="*/ 1411 w 1429"/>
                <a:gd name="T57" fmla="*/ 450 h 1873"/>
                <a:gd name="T58" fmla="*/ 1364 w 1429"/>
                <a:gd name="T59" fmla="*/ 302 h 1873"/>
                <a:gd name="T60" fmla="*/ 1282 w 1429"/>
                <a:gd name="T61" fmla="*/ 161 h 1873"/>
                <a:gd name="T62" fmla="*/ 1132 w 1429"/>
                <a:gd name="T63" fmla="*/ 9 h 1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9" h="1873">
                  <a:moveTo>
                    <a:pt x="1119" y="0"/>
                  </a:moveTo>
                  <a:lnTo>
                    <a:pt x="711" y="0"/>
                  </a:lnTo>
                  <a:lnTo>
                    <a:pt x="304" y="0"/>
                  </a:lnTo>
                  <a:lnTo>
                    <a:pt x="289" y="9"/>
                  </a:lnTo>
                  <a:lnTo>
                    <a:pt x="209" y="80"/>
                  </a:lnTo>
                  <a:lnTo>
                    <a:pt x="143" y="161"/>
                  </a:lnTo>
                  <a:lnTo>
                    <a:pt x="94" y="240"/>
                  </a:lnTo>
                  <a:lnTo>
                    <a:pt x="64" y="302"/>
                  </a:lnTo>
                  <a:lnTo>
                    <a:pt x="38" y="372"/>
                  </a:lnTo>
                  <a:lnTo>
                    <a:pt x="17" y="450"/>
                  </a:lnTo>
                  <a:lnTo>
                    <a:pt x="4" y="535"/>
                  </a:lnTo>
                  <a:lnTo>
                    <a:pt x="0" y="629"/>
                  </a:lnTo>
                  <a:lnTo>
                    <a:pt x="6" y="731"/>
                  </a:lnTo>
                  <a:lnTo>
                    <a:pt x="22" y="841"/>
                  </a:lnTo>
                  <a:lnTo>
                    <a:pt x="37" y="900"/>
                  </a:lnTo>
                  <a:lnTo>
                    <a:pt x="43" y="890"/>
                  </a:lnTo>
                  <a:lnTo>
                    <a:pt x="104" y="818"/>
                  </a:lnTo>
                  <a:lnTo>
                    <a:pt x="177" y="749"/>
                  </a:lnTo>
                  <a:lnTo>
                    <a:pt x="231" y="712"/>
                  </a:lnTo>
                  <a:lnTo>
                    <a:pt x="288" y="687"/>
                  </a:lnTo>
                  <a:lnTo>
                    <a:pt x="330" y="682"/>
                  </a:lnTo>
                  <a:lnTo>
                    <a:pt x="357" y="687"/>
                  </a:lnTo>
                  <a:lnTo>
                    <a:pt x="371" y="692"/>
                  </a:lnTo>
                  <a:lnTo>
                    <a:pt x="370" y="718"/>
                  </a:lnTo>
                  <a:lnTo>
                    <a:pt x="378" y="896"/>
                  </a:lnTo>
                  <a:lnTo>
                    <a:pt x="393" y="1062"/>
                  </a:lnTo>
                  <a:lnTo>
                    <a:pt x="423" y="1251"/>
                  </a:lnTo>
                  <a:lnTo>
                    <a:pt x="459" y="1399"/>
                  </a:lnTo>
                  <a:lnTo>
                    <a:pt x="489" y="1497"/>
                  </a:lnTo>
                  <a:lnTo>
                    <a:pt x="525" y="1592"/>
                  </a:lnTo>
                  <a:lnTo>
                    <a:pt x="569" y="1682"/>
                  </a:lnTo>
                  <a:lnTo>
                    <a:pt x="620" y="1765"/>
                  </a:lnTo>
                  <a:lnTo>
                    <a:pt x="678" y="1841"/>
                  </a:lnTo>
                  <a:lnTo>
                    <a:pt x="711" y="1873"/>
                  </a:lnTo>
                  <a:lnTo>
                    <a:pt x="744" y="1841"/>
                  </a:lnTo>
                  <a:lnTo>
                    <a:pt x="803" y="1765"/>
                  </a:lnTo>
                  <a:lnTo>
                    <a:pt x="853" y="1682"/>
                  </a:lnTo>
                  <a:lnTo>
                    <a:pt x="896" y="1592"/>
                  </a:lnTo>
                  <a:lnTo>
                    <a:pt x="932" y="1497"/>
                  </a:lnTo>
                  <a:lnTo>
                    <a:pt x="963" y="1399"/>
                  </a:lnTo>
                  <a:lnTo>
                    <a:pt x="998" y="1251"/>
                  </a:lnTo>
                  <a:lnTo>
                    <a:pt x="1029" y="1062"/>
                  </a:lnTo>
                  <a:lnTo>
                    <a:pt x="1045" y="896"/>
                  </a:lnTo>
                  <a:lnTo>
                    <a:pt x="1053" y="718"/>
                  </a:lnTo>
                  <a:lnTo>
                    <a:pt x="1051" y="692"/>
                  </a:lnTo>
                  <a:lnTo>
                    <a:pt x="1064" y="687"/>
                  </a:lnTo>
                  <a:lnTo>
                    <a:pt x="1093" y="682"/>
                  </a:lnTo>
                  <a:lnTo>
                    <a:pt x="1134" y="687"/>
                  </a:lnTo>
                  <a:lnTo>
                    <a:pt x="1193" y="712"/>
                  </a:lnTo>
                  <a:lnTo>
                    <a:pt x="1249" y="749"/>
                  </a:lnTo>
                  <a:lnTo>
                    <a:pt x="1324" y="818"/>
                  </a:lnTo>
                  <a:lnTo>
                    <a:pt x="1386" y="890"/>
                  </a:lnTo>
                  <a:lnTo>
                    <a:pt x="1392" y="900"/>
                  </a:lnTo>
                  <a:lnTo>
                    <a:pt x="1407" y="841"/>
                  </a:lnTo>
                  <a:lnTo>
                    <a:pt x="1423" y="731"/>
                  </a:lnTo>
                  <a:lnTo>
                    <a:pt x="1429" y="629"/>
                  </a:lnTo>
                  <a:lnTo>
                    <a:pt x="1423" y="535"/>
                  </a:lnTo>
                  <a:lnTo>
                    <a:pt x="1411" y="450"/>
                  </a:lnTo>
                  <a:lnTo>
                    <a:pt x="1390" y="372"/>
                  </a:lnTo>
                  <a:lnTo>
                    <a:pt x="1364" y="302"/>
                  </a:lnTo>
                  <a:lnTo>
                    <a:pt x="1333" y="240"/>
                  </a:lnTo>
                  <a:lnTo>
                    <a:pt x="1282" y="161"/>
                  </a:lnTo>
                  <a:lnTo>
                    <a:pt x="1215" y="80"/>
                  </a:lnTo>
                  <a:lnTo>
                    <a:pt x="1132" y="9"/>
                  </a:lnTo>
                  <a:lnTo>
                    <a:pt x="1119" y="0"/>
                  </a:lnTo>
                  <a:close/>
                </a:path>
              </a:pathLst>
            </a:custGeom>
            <a:solidFill>
              <a:srgbClr val="FD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6" name="Freeform 51">
              <a:extLst>
                <a:ext uri="{FF2B5EF4-FFF2-40B4-BE49-F238E27FC236}">
                  <a16:creationId xmlns:a16="http://schemas.microsoft.com/office/drawing/2014/main" id="{F3869C99-89C1-4566-69A1-C853823805FA}"/>
                </a:ext>
              </a:extLst>
            </p:cNvPr>
            <p:cNvSpPr>
              <a:spLocks/>
            </p:cNvSpPr>
            <p:nvPr/>
          </p:nvSpPr>
          <p:spPr bwMode="auto">
            <a:xfrm>
              <a:off x="5985108" y="2235773"/>
              <a:ext cx="222764" cy="291458"/>
            </a:xfrm>
            <a:custGeom>
              <a:avLst/>
              <a:gdLst>
                <a:gd name="T0" fmla="*/ 710 w 907"/>
                <a:gd name="T1" fmla="*/ 0 h 1190"/>
                <a:gd name="T2" fmla="*/ 451 w 907"/>
                <a:gd name="T3" fmla="*/ 0 h 1190"/>
                <a:gd name="T4" fmla="*/ 192 w 907"/>
                <a:gd name="T5" fmla="*/ 0 h 1190"/>
                <a:gd name="T6" fmla="*/ 184 w 907"/>
                <a:gd name="T7" fmla="*/ 5 h 1190"/>
                <a:gd name="T8" fmla="*/ 132 w 907"/>
                <a:gd name="T9" fmla="*/ 51 h 1190"/>
                <a:gd name="T10" fmla="*/ 91 w 907"/>
                <a:gd name="T11" fmla="*/ 102 h 1190"/>
                <a:gd name="T12" fmla="*/ 49 w 907"/>
                <a:gd name="T13" fmla="*/ 171 h 1190"/>
                <a:gd name="T14" fmla="*/ 15 w 907"/>
                <a:gd name="T15" fmla="*/ 261 h 1190"/>
                <a:gd name="T16" fmla="*/ 2 w 907"/>
                <a:gd name="T17" fmla="*/ 340 h 1190"/>
                <a:gd name="T18" fmla="*/ 0 w 907"/>
                <a:gd name="T19" fmla="*/ 399 h 1190"/>
                <a:gd name="T20" fmla="*/ 2 w 907"/>
                <a:gd name="T21" fmla="*/ 464 h 1190"/>
                <a:gd name="T22" fmla="*/ 14 w 907"/>
                <a:gd name="T23" fmla="*/ 534 h 1190"/>
                <a:gd name="T24" fmla="*/ 23 w 907"/>
                <a:gd name="T25" fmla="*/ 572 h 1190"/>
                <a:gd name="T26" fmla="*/ 39 w 907"/>
                <a:gd name="T27" fmla="*/ 550 h 1190"/>
                <a:gd name="T28" fmla="*/ 111 w 907"/>
                <a:gd name="T29" fmla="*/ 476 h 1190"/>
                <a:gd name="T30" fmla="*/ 146 w 907"/>
                <a:gd name="T31" fmla="*/ 452 h 1190"/>
                <a:gd name="T32" fmla="*/ 183 w 907"/>
                <a:gd name="T33" fmla="*/ 437 h 1190"/>
                <a:gd name="T34" fmla="*/ 218 w 907"/>
                <a:gd name="T35" fmla="*/ 434 h 1190"/>
                <a:gd name="T36" fmla="*/ 234 w 907"/>
                <a:gd name="T37" fmla="*/ 439 h 1190"/>
                <a:gd name="T38" fmla="*/ 234 w 907"/>
                <a:gd name="T39" fmla="*/ 456 h 1190"/>
                <a:gd name="T40" fmla="*/ 242 w 907"/>
                <a:gd name="T41" fmla="*/ 617 h 1190"/>
                <a:gd name="T42" fmla="*/ 268 w 907"/>
                <a:gd name="T43" fmla="*/ 795 h 1190"/>
                <a:gd name="T44" fmla="*/ 299 w 907"/>
                <a:gd name="T45" fmla="*/ 920 h 1190"/>
                <a:gd name="T46" fmla="*/ 346 w 907"/>
                <a:gd name="T47" fmla="*/ 1041 h 1190"/>
                <a:gd name="T48" fmla="*/ 394 w 907"/>
                <a:gd name="T49" fmla="*/ 1121 h 1190"/>
                <a:gd name="T50" fmla="*/ 430 w 907"/>
                <a:gd name="T51" fmla="*/ 1169 h 1190"/>
                <a:gd name="T52" fmla="*/ 451 w 907"/>
                <a:gd name="T53" fmla="*/ 1190 h 1190"/>
                <a:gd name="T54" fmla="*/ 472 w 907"/>
                <a:gd name="T55" fmla="*/ 1169 h 1190"/>
                <a:gd name="T56" fmla="*/ 509 w 907"/>
                <a:gd name="T57" fmla="*/ 1121 h 1190"/>
                <a:gd name="T58" fmla="*/ 556 w 907"/>
                <a:gd name="T59" fmla="*/ 1041 h 1190"/>
                <a:gd name="T60" fmla="*/ 603 w 907"/>
                <a:gd name="T61" fmla="*/ 920 h 1190"/>
                <a:gd name="T62" fmla="*/ 634 w 907"/>
                <a:gd name="T63" fmla="*/ 795 h 1190"/>
                <a:gd name="T64" fmla="*/ 661 w 907"/>
                <a:gd name="T65" fmla="*/ 617 h 1190"/>
                <a:gd name="T66" fmla="*/ 669 w 907"/>
                <a:gd name="T67" fmla="*/ 456 h 1190"/>
                <a:gd name="T68" fmla="*/ 667 w 907"/>
                <a:gd name="T69" fmla="*/ 439 h 1190"/>
                <a:gd name="T70" fmla="*/ 684 w 907"/>
                <a:gd name="T71" fmla="*/ 434 h 1190"/>
                <a:gd name="T72" fmla="*/ 721 w 907"/>
                <a:gd name="T73" fmla="*/ 437 h 1190"/>
                <a:gd name="T74" fmla="*/ 757 w 907"/>
                <a:gd name="T75" fmla="*/ 452 h 1190"/>
                <a:gd name="T76" fmla="*/ 793 w 907"/>
                <a:gd name="T77" fmla="*/ 476 h 1190"/>
                <a:gd name="T78" fmla="*/ 868 w 907"/>
                <a:gd name="T79" fmla="*/ 550 h 1190"/>
                <a:gd name="T80" fmla="*/ 884 w 907"/>
                <a:gd name="T81" fmla="*/ 572 h 1190"/>
                <a:gd name="T82" fmla="*/ 893 w 907"/>
                <a:gd name="T83" fmla="*/ 534 h 1190"/>
                <a:gd name="T84" fmla="*/ 905 w 907"/>
                <a:gd name="T85" fmla="*/ 464 h 1190"/>
                <a:gd name="T86" fmla="*/ 907 w 907"/>
                <a:gd name="T87" fmla="*/ 399 h 1190"/>
                <a:gd name="T88" fmla="*/ 905 w 907"/>
                <a:gd name="T89" fmla="*/ 340 h 1190"/>
                <a:gd name="T90" fmla="*/ 890 w 907"/>
                <a:gd name="T91" fmla="*/ 261 h 1190"/>
                <a:gd name="T92" fmla="*/ 857 w 907"/>
                <a:gd name="T93" fmla="*/ 171 h 1190"/>
                <a:gd name="T94" fmla="*/ 814 w 907"/>
                <a:gd name="T95" fmla="*/ 102 h 1190"/>
                <a:gd name="T96" fmla="*/ 771 w 907"/>
                <a:gd name="T97" fmla="*/ 51 h 1190"/>
                <a:gd name="T98" fmla="*/ 719 w 907"/>
                <a:gd name="T99" fmla="*/ 5 h 1190"/>
                <a:gd name="T100" fmla="*/ 710 w 907"/>
                <a:gd name="T101" fmla="*/ 0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7" h="1190">
                  <a:moveTo>
                    <a:pt x="710" y="0"/>
                  </a:moveTo>
                  <a:lnTo>
                    <a:pt x="451" y="0"/>
                  </a:lnTo>
                  <a:lnTo>
                    <a:pt x="192" y="0"/>
                  </a:lnTo>
                  <a:lnTo>
                    <a:pt x="184" y="5"/>
                  </a:lnTo>
                  <a:lnTo>
                    <a:pt x="132" y="51"/>
                  </a:lnTo>
                  <a:lnTo>
                    <a:pt x="91" y="102"/>
                  </a:lnTo>
                  <a:lnTo>
                    <a:pt x="49" y="171"/>
                  </a:lnTo>
                  <a:lnTo>
                    <a:pt x="15" y="261"/>
                  </a:lnTo>
                  <a:lnTo>
                    <a:pt x="2" y="340"/>
                  </a:lnTo>
                  <a:lnTo>
                    <a:pt x="0" y="399"/>
                  </a:lnTo>
                  <a:lnTo>
                    <a:pt x="2" y="464"/>
                  </a:lnTo>
                  <a:lnTo>
                    <a:pt x="14" y="534"/>
                  </a:lnTo>
                  <a:lnTo>
                    <a:pt x="23" y="572"/>
                  </a:lnTo>
                  <a:lnTo>
                    <a:pt x="39" y="550"/>
                  </a:lnTo>
                  <a:lnTo>
                    <a:pt x="111" y="476"/>
                  </a:lnTo>
                  <a:lnTo>
                    <a:pt x="146" y="452"/>
                  </a:lnTo>
                  <a:lnTo>
                    <a:pt x="183" y="437"/>
                  </a:lnTo>
                  <a:lnTo>
                    <a:pt x="218" y="434"/>
                  </a:lnTo>
                  <a:lnTo>
                    <a:pt x="234" y="439"/>
                  </a:lnTo>
                  <a:lnTo>
                    <a:pt x="234" y="456"/>
                  </a:lnTo>
                  <a:lnTo>
                    <a:pt x="242" y="617"/>
                  </a:lnTo>
                  <a:lnTo>
                    <a:pt x="268" y="795"/>
                  </a:lnTo>
                  <a:lnTo>
                    <a:pt x="299" y="920"/>
                  </a:lnTo>
                  <a:lnTo>
                    <a:pt x="346" y="1041"/>
                  </a:lnTo>
                  <a:lnTo>
                    <a:pt x="394" y="1121"/>
                  </a:lnTo>
                  <a:lnTo>
                    <a:pt x="430" y="1169"/>
                  </a:lnTo>
                  <a:lnTo>
                    <a:pt x="451" y="1190"/>
                  </a:lnTo>
                  <a:lnTo>
                    <a:pt x="472" y="1169"/>
                  </a:lnTo>
                  <a:lnTo>
                    <a:pt x="509" y="1121"/>
                  </a:lnTo>
                  <a:lnTo>
                    <a:pt x="556" y="1041"/>
                  </a:lnTo>
                  <a:lnTo>
                    <a:pt x="603" y="920"/>
                  </a:lnTo>
                  <a:lnTo>
                    <a:pt x="634" y="795"/>
                  </a:lnTo>
                  <a:lnTo>
                    <a:pt x="661" y="617"/>
                  </a:lnTo>
                  <a:lnTo>
                    <a:pt x="669" y="456"/>
                  </a:lnTo>
                  <a:lnTo>
                    <a:pt x="667" y="439"/>
                  </a:lnTo>
                  <a:lnTo>
                    <a:pt x="684" y="434"/>
                  </a:lnTo>
                  <a:lnTo>
                    <a:pt x="721" y="437"/>
                  </a:lnTo>
                  <a:lnTo>
                    <a:pt x="757" y="452"/>
                  </a:lnTo>
                  <a:lnTo>
                    <a:pt x="793" y="476"/>
                  </a:lnTo>
                  <a:lnTo>
                    <a:pt x="868" y="550"/>
                  </a:lnTo>
                  <a:lnTo>
                    <a:pt x="884" y="572"/>
                  </a:lnTo>
                  <a:lnTo>
                    <a:pt x="893" y="534"/>
                  </a:lnTo>
                  <a:lnTo>
                    <a:pt x="905" y="464"/>
                  </a:lnTo>
                  <a:lnTo>
                    <a:pt x="907" y="399"/>
                  </a:lnTo>
                  <a:lnTo>
                    <a:pt x="905" y="340"/>
                  </a:lnTo>
                  <a:lnTo>
                    <a:pt x="890" y="261"/>
                  </a:lnTo>
                  <a:lnTo>
                    <a:pt x="857" y="171"/>
                  </a:lnTo>
                  <a:lnTo>
                    <a:pt x="814" y="102"/>
                  </a:lnTo>
                  <a:lnTo>
                    <a:pt x="771" y="51"/>
                  </a:lnTo>
                  <a:lnTo>
                    <a:pt x="719" y="5"/>
                  </a:lnTo>
                  <a:lnTo>
                    <a:pt x="710" y="0"/>
                  </a:lnTo>
                  <a:close/>
                </a:path>
              </a:pathLst>
            </a:custGeom>
            <a:solidFill>
              <a:srgbClr val="F1F1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Rectangle 52">
              <a:extLst>
                <a:ext uri="{FF2B5EF4-FFF2-40B4-BE49-F238E27FC236}">
                  <a16:creationId xmlns:a16="http://schemas.microsoft.com/office/drawing/2014/main" id="{C072D2AA-98C5-0087-47C5-7D8009EE1520}"/>
                </a:ext>
              </a:extLst>
            </p:cNvPr>
            <p:cNvSpPr>
              <a:spLocks noChangeArrowheads="1"/>
            </p:cNvSpPr>
            <p:nvPr/>
          </p:nvSpPr>
          <p:spPr bwMode="auto">
            <a:xfrm>
              <a:off x="5953705" y="2171985"/>
              <a:ext cx="283607" cy="63788"/>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53">
              <a:extLst>
                <a:ext uri="{FF2B5EF4-FFF2-40B4-BE49-F238E27FC236}">
                  <a16:creationId xmlns:a16="http://schemas.microsoft.com/office/drawing/2014/main" id="{B50A28B3-6BDA-329F-151D-F6741DBACC8D}"/>
                </a:ext>
              </a:extLst>
            </p:cNvPr>
            <p:cNvSpPr>
              <a:spLocks/>
            </p:cNvSpPr>
            <p:nvPr/>
          </p:nvSpPr>
          <p:spPr bwMode="auto">
            <a:xfrm>
              <a:off x="5655378" y="1828516"/>
              <a:ext cx="268887" cy="605487"/>
            </a:xfrm>
            <a:custGeom>
              <a:avLst/>
              <a:gdLst>
                <a:gd name="T0" fmla="*/ 834 w 1097"/>
                <a:gd name="T1" fmla="*/ 244 h 2468"/>
                <a:gd name="T2" fmla="*/ 822 w 1097"/>
                <a:gd name="T3" fmla="*/ 244 h 2468"/>
                <a:gd name="T4" fmla="*/ 748 w 1097"/>
                <a:gd name="T5" fmla="*/ 240 h 2468"/>
                <a:gd name="T6" fmla="*/ 680 w 1097"/>
                <a:gd name="T7" fmla="*/ 228 h 2468"/>
                <a:gd name="T8" fmla="*/ 602 w 1097"/>
                <a:gd name="T9" fmla="*/ 208 h 2468"/>
                <a:gd name="T10" fmla="*/ 520 w 1097"/>
                <a:gd name="T11" fmla="*/ 173 h 2468"/>
                <a:gd name="T12" fmla="*/ 444 w 1097"/>
                <a:gd name="T13" fmla="*/ 121 h 2468"/>
                <a:gd name="T14" fmla="*/ 393 w 1097"/>
                <a:gd name="T15" fmla="*/ 66 h 2468"/>
                <a:gd name="T16" fmla="*/ 363 w 1097"/>
                <a:gd name="T17" fmla="*/ 25 h 2468"/>
                <a:gd name="T18" fmla="*/ 350 w 1097"/>
                <a:gd name="T19" fmla="*/ 0 h 2468"/>
                <a:gd name="T20" fmla="*/ 330 w 1097"/>
                <a:gd name="T21" fmla="*/ 37 h 2468"/>
                <a:gd name="T22" fmla="*/ 207 w 1097"/>
                <a:gd name="T23" fmla="*/ 305 h 2468"/>
                <a:gd name="T24" fmla="*/ 137 w 1097"/>
                <a:gd name="T25" fmla="*/ 504 h 2468"/>
                <a:gd name="T26" fmla="*/ 92 w 1097"/>
                <a:gd name="T27" fmla="*/ 659 h 2468"/>
                <a:gd name="T28" fmla="*/ 54 w 1097"/>
                <a:gd name="T29" fmla="*/ 829 h 2468"/>
                <a:gd name="T30" fmla="*/ 24 w 1097"/>
                <a:gd name="T31" fmla="*/ 1013 h 2468"/>
                <a:gd name="T32" fmla="*/ 4 w 1097"/>
                <a:gd name="T33" fmla="*/ 1210 h 2468"/>
                <a:gd name="T34" fmla="*/ 0 w 1097"/>
                <a:gd name="T35" fmla="*/ 1420 h 2468"/>
                <a:gd name="T36" fmla="*/ 12 w 1097"/>
                <a:gd name="T37" fmla="*/ 1639 h 2468"/>
                <a:gd name="T38" fmla="*/ 45 w 1097"/>
                <a:gd name="T39" fmla="*/ 1868 h 2468"/>
                <a:gd name="T40" fmla="*/ 100 w 1097"/>
                <a:gd name="T41" fmla="*/ 2104 h 2468"/>
                <a:gd name="T42" fmla="*/ 160 w 1097"/>
                <a:gd name="T43" fmla="*/ 2285 h 2468"/>
                <a:gd name="T44" fmla="*/ 207 w 1097"/>
                <a:gd name="T45" fmla="*/ 2407 h 2468"/>
                <a:gd name="T46" fmla="*/ 234 w 1097"/>
                <a:gd name="T47" fmla="*/ 2468 h 2468"/>
                <a:gd name="T48" fmla="*/ 242 w 1097"/>
                <a:gd name="T49" fmla="*/ 2432 h 2468"/>
                <a:gd name="T50" fmla="*/ 305 w 1097"/>
                <a:gd name="T51" fmla="*/ 2193 h 2468"/>
                <a:gd name="T52" fmla="*/ 379 w 1097"/>
                <a:gd name="T53" fmla="*/ 1976 h 2468"/>
                <a:gd name="T54" fmla="*/ 454 w 1097"/>
                <a:gd name="T55" fmla="*/ 1793 h 2468"/>
                <a:gd name="T56" fmla="*/ 512 w 1097"/>
                <a:gd name="T57" fmla="*/ 1670 h 2468"/>
                <a:gd name="T58" fmla="*/ 579 w 1097"/>
                <a:gd name="T59" fmla="*/ 1547 h 2468"/>
                <a:gd name="T60" fmla="*/ 654 w 1097"/>
                <a:gd name="T61" fmla="*/ 1427 h 2468"/>
                <a:gd name="T62" fmla="*/ 737 w 1097"/>
                <a:gd name="T63" fmla="*/ 1315 h 2468"/>
                <a:gd name="T64" fmla="*/ 829 w 1097"/>
                <a:gd name="T65" fmla="*/ 1212 h 2468"/>
                <a:gd name="T66" fmla="*/ 929 w 1097"/>
                <a:gd name="T67" fmla="*/ 1123 h 2468"/>
                <a:gd name="T68" fmla="*/ 1039 w 1097"/>
                <a:gd name="T69" fmla="*/ 1048 h 2468"/>
                <a:gd name="T70" fmla="*/ 1097 w 1097"/>
                <a:gd name="T71" fmla="*/ 1019 h 2468"/>
                <a:gd name="T72" fmla="*/ 834 w 1097"/>
                <a:gd name="T73" fmla="*/ 244 h 2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97" h="2468">
                  <a:moveTo>
                    <a:pt x="834" y="244"/>
                  </a:moveTo>
                  <a:lnTo>
                    <a:pt x="822" y="244"/>
                  </a:lnTo>
                  <a:lnTo>
                    <a:pt x="748" y="240"/>
                  </a:lnTo>
                  <a:lnTo>
                    <a:pt x="680" y="228"/>
                  </a:lnTo>
                  <a:lnTo>
                    <a:pt x="602" y="208"/>
                  </a:lnTo>
                  <a:lnTo>
                    <a:pt x="520" y="173"/>
                  </a:lnTo>
                  <a:lnTo>
                    <a:pt x="444" y="121"/>
                  </a:lnTo>
                  <a:lnTo>
                    <a:pt x="393" y="66"/>
                  </a:lnTo>
                  <a:lnTo>
                    <a:pt x="363" y="25"/>
                  </a:lnTo>
                  <a:lnTo>
                    <a:pt x="350" y="0"/>
                  </a:lnTo>
                  <a:lnTo>
                    <a:pt x="330" y="37"/>
                  </a:lnTo>
                  <a:lnTo>
                    <a:pt x="207" y="305"/>
                  </a:lnTo>
                  <a:lnTo>
                    <a:pt x="137" y="504"/>
                  </a:lnTo>
                  <a:lnTo>
                    <a:pt x="92" y="659"/>
                  </a:lnTo>
                  <a:lnTo>
                    <a:pt x="54" y="829"/>
                  </a:lnTo>
                  <a:lnTo>
                    <a:pt x="24" y="1013"/>
                  </a:lnTo>
                  <a:lnTo>
                    <a:pt x="4" y="1210"/>
                  </a:lnTo>
                  <a:lnTo>
                    <a:pt x="0" y="1420"/>
                  </a:lnTo>
                  <a:lnTo>
                    <a:pt x="12" y="1639"/>
                  </a:lnTo>
                  <a:lnTo>
                    <a:pt x="45" y="1868"/>
                  </a:lnTo>
                  <a:lnTo>
                    <a:pt x="100" y="2104"/>
                  </a:lnTo>
                  <a:lnTo>
                    <a:pt x="160" y="2285"/>
                  </a:lnTo>
                  <a:lnTo>
                    <a:pt x="207" y="2407"/>
                  </a:lnTo>
                  <a:lnTo>
                    <a:pt x="234" y="2468"/>
                  </a:lnTo>
                  <a:lnTo>
                    <a:pt x="242" y="2432"/>
                  </a:lnTo>
                  <a:lnTo>
                    <a:pt x="305" y="2193"/>
                  </a:lnTo>
                  <a:lnTo>
                    <a:pt x="379" y="1976"/>
                  </a:lnTo>
                  <a:lnTo>
                    <a:pt x="454" y="1793"/>
                  </a:lnTo>
                  <a:lnTo>
                    <a:pt x="512" y="1670"/>
                  </a:lnTo>
                  <a:lnTo>
                    <a:pt x="579" y="1547"/>
                  </a:lnTo>
                  <a:lnTo>
                    <a:pt x="654" y="1427"/>
                  </a:lnTo>
                  <a:lnTo>
                    <a:pt x="737" y="1315"/>
                  </a:lnTo>
                  <a:lnTo>
                    <a:pt x="829" y="1212"/>
                  </a:lnTo>
                  <a:lnTo>
                    <a:pt x="929" y="1123"/>
                  </a:lnTo>
                  <a:lnTo>
                    <a:pt x="1039" y="1048"/>
                  </a:lnTo>
                  <a:lnTo>
                    <a:pt x="1097" y="1019"/>
                  </a:lnTo>
                  <a:lnTo>
                    <a:pt x="834" y="244"/>
                  </a:lnTo>
                  <a:close/>
                </a:path>
              </a:pathLst>
            </a:custGeom>
            <a:solidFill>
              <a:srgbClr val="0045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54">
              <a:extLst>
                <a:ext uri="{FF2B5EF4-FFF2-40B4-BE49-F238E27FC236}">
                  <a16:creationId xmlns:a16="http://schemas.microsoft.com/office/drawing/2014/main" id="{7E292AE9-BB11-A355-E9EE-E2051B211151}"/>
                </a:ext>
              </a:extLst>
            </p:cNvPr>
            <p:cNvSpPr>
              <a:spLocks/>
            </p:cNvSpPr>
            <p:nvPr/>
          </p:nvSpPr>
          <p:spPr bwMode="auto">
            <a:xfrm>
              <a:off x="6266753" y="1828516"/>
              <a:ext cx="269869" cy="605487"/>
            </a:xfrm>
            <a:custGeom>
              <a:avLst/>
              <a:gdLst>
                <a:gd name="T0" fmla="*/ 264 w 1097"/>
                <a:gd name="T1" fmla="*/ 244 h 2468"/>
                <a:gd name="T2" fmla="*/ 274 w 1097"/>
                <a:gd name="T3" fmla="*/ 244 h 2468"/>
                <a:gd name="T4" fmla="*/ 348 w 1097"/>
                <a:gd name="T5" fmla="*/ 240 h 2468"/>
                <a:gd name="T6" fmla="*/ 417 w 1097"/>
                <a:gd name="T7" fmla="*/ 228 h 2468"/>
                <a:gd name="T8" fmla="*/ 496 w 1097"/>
                <a:gd name="T9" fmla="*/ 208 h 2468"/>
                <a:gd name="T10" fmla="*/ 578 w 1097"/>
                <a:gd name="T11" fmla="*/ 173 h 2468"/>
                <a:gd name="T12" fmla="*/ 654 w 1097"/>
                <a:gd name="T13" fmla="*/ 121 h 2468"/>
                <a:gd name="T14" fmla="*/ 705 w 1097"/>
                <a:gd name="T15" fmla="*/ 66 h 2468"/>
                <a:gd name="T16" fmla="*/ 733 w 1097"/>
                <a:gd name="T17" fmla="*/ 25 h 2468"/>
                <a:gd name="T18" fmla="*/ 746 w 1097"/>
                <a:gd name="T19" fmla="*/ 0 h 2468"/>
                <a:gd name="T20" fmla="*/ 768 w 1097"/>
                <a:gd name="T21" fmla="*/ 37 h 2468"/>
                <a:gd name="T22" fmla="*/ 891 w 1097"/>
                <a:gd name="T23" fmla="*/ 305 h 2468"/>
                <a:gd name="T24" fmla="*/ 961 w 1097"/>
                <a:gd name="T25" fmla="*/ 504 h 2468"/>
                <a:gd name="T26" fmla="*/ 1005 w 1097"/>
                <a:gd name="T27" fmla="*/ 659 h 2468"/>
                <a:gd name="T28" fmla="*/ 1043 w 1097"/>
                <a:gd name="T29" fmla="*/ 829 h 2468"/>
                <a:gd name="T30" fmla="*/ 1073 w 1097"/>
                <a:gd name="T31" fmla="*/ 1013 h 2468"/>
                <a:gd name="T32" fmla="*/ 1092 w 1097"/>
                <a:gd name="T33" fmla="*/ 1210 h 2468"/>
                <a:gd name="T34" fmla="*/ 1097 w 1097"/>
                <a:gd name="T35" fmla="*/ 1420 h 2468"/>
                <a:gd name="T36" fmla="*/ 1084 w 1097"/>
                <a:gd name="T37" fmla="*/ 1639 h 2468"/>
                <a:gd name="T38" fmla="*/ 1052 w 1097"/>
                <a:gd name="T39" fmla="*/ 1868 h 2468"/>
                <a:gd name="T40" fmla="*/ 998 w 1097"/>
                <a:gd name="T41" fmla="*/ 2104 h 2468"/>
                <a:gd name="T42" fmla="*/ 938 w 1097"/>
                <a:gd name="T43" fmla="*/ 2285 h 2468"/>
                <a:gd name="T44" fmla="*/ 890 w 1097"/>
                <a:gd name="T45" fmla="*/ 2407 h 2468"/>
                <a:gd name="T46" fmla="*/ 863 w 1097"/>
                <a:gd name="T47" fmla="*/ 2468 h 2468"/>
                <a:gd name="T48" fmla="*/ 856 w 1097"/>
                <a:gd name="T49" fmla="*/ 2432 h 2468"/>
                <a:gd name="T50" fmla="*/ 793 w 1097"/>
                <a:gd name="T51" fmla="*/ 2193 h 2468"/>
                <a:gd name="T52" fmla="*/ 719 w 1097"/>
                <a:gd name="T53" fmla="*/ 1976 h 2468"/>
                <a:gd name="T54" fmla="*/ 644 w 1097"/>
                <a:gd name="T55" fmla="*/ 1793 h 2468"/>
                <a:gd name="T56" fmla="*/ 585 w 1097"/>
                <a:gd name="T57" fmla="*/ 1670 h 2468"/>
                <a:gd name="T58" fmla="*/ 518 w 1097"/>
                <a:gd name="T59" fmla="*/ 1547 h 2468"/>
                <a:gd name="T60" fmla="*/ 444 w 1097"/>
                <a:gd name="T61" fmla="*/ 1427 h 2468"/>
                <a:gd name="T62" fmla="*/ 361 w 1097"/>
                <a:gd name="T63" fmla="*/ 1315 h 2468"/>
                <a:gd name="T64" fmla="*/ 269 w 1097"/>
                <a:gd name="T65" fmla="*/ 1212 h 2468"/>
                <a:gd name="T66" fmla="*/ 168 w 1097"/>
                <a:gd name="T67" fmla="*/ 1123 h 2468"/>
                <a:gd name="T68" fmla="*/ 59 w 1097"/>
                <a:gd name="T69" fmla="*/ 1048 h 2468"/>
                <a:gd name="T70" fmla="*/ 0 w 1097"/>
                <a:gd name="T71" fmla="*/ 1019 h 2468"/>
                <a:gd name="T72" fmla="*/ 264 w 1097"/>
                <a:gd name="T73" fmla="*/ 244 h 2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97" h="2468">
                  <a:moveTo>
                    <a:pt x="264" y="244"/>
                  </a:moveTo>
                  <a:lnTo>
                    <a:pt x="274" y="244"/>
                  </a:lnTo>
                  <a:lnTo>
                    <a:pt x="348" y="240"/>
                  </a:lnTo>
                  <a:lnTo>
                    <a:pt x="417" y="228"/>
                  </a:lnTo>
                  <a:lnTo>
                    <a:pt x="496" y="208"/>
                  </a:lnTo>
                  <a:lnTo>
                    <a:pt x="578" y="173"/>
                  </a:lnTo>
                  <a:lnTo>
                    <a:pt x="654" y="121"/>
                  </a:lnTo>
                  <a:lnTo>
                    <a:pt x="705" y="66"/>
                  </a:lnTo>
                  <a:lnTo>
                    <a:pt x="733" y="25"/>
                  </a:lnTo>
                  <a:lnTo>
                    <a:pt x="746" y="0"/>
                  </a:lnTo>
                  <a:lnTo>
                    <a:pt x="768" y="37"/>
                  </a:lnTo>
                  <a:lnTo>
                    <a:pt x="891" y="305"/>
                  </a:lnTo>
                  <a:lnTo>
                    <a:pt x="961" y="504"/>
                  </a:lnTo>
                  <a:lnTo>
                    <a:pt x="1005" y="659"/>
                  </a:lnTo>
                  <a:lnTo>
                    <a:pt x="1043" y="829"/>
                  </a:lnTo>
                  <a:lnTo>
                    <a:pt x="1073" y="1013"/>
                  </a:lnTo>
                  <a:lnTo>
                    <a:pt x="1092" y="1210"/>
                  </a:lnTo>
                  <a:lnTo>
                    <a:pt x="1097" y="1420"/>
                  </a:lnTo>
                  <a:lnTo>
                    <a:pt x="1084" y="1639"/>
                  </a:lnTo>
                  <a:lnTo>
                    <a:pt x="1052" y="1868"/>
                  </a:lnTo>
                  <a:lnTo>
                    <a:pt x="998" y="2104"/>
                  </a:lnTo>
                  <a:lnTo>
                    <a:pt x="938" y="2285"/>
                  </a:lnTo>
                  <a:lnTo>
                    <a:pt x="890" y="2407"/>
                  </a:lnTo>
                  <a:lnTo>
                    <a:pt x="863" y="2468"/>
                  </a:lnTo>
                  <a:lnTo>
                    <a:pt x="856" y="2432"/>
                  </a:lnTo>
                  <a:lnTo>
                    <a:pt x="793" y="2193"/>
                  </a:lnTo>
                  <a:lnTo>
                    <a:pt x="719" y="1976"/>
                  </a:lnTo>
                  <a:lnTo>
                    <a:pt x="644" y="1793"/>
                  </a:lnTo>
                  <a:lnTo>
                    <a:pt x="585" y="1670"/>
                  </a:lnTo>
                  <a:lnTo>
                    <a:pt x="518" y="1547"/>
                  </a:lnTo>
                  <a:lnTo>
                    <a:pt x="444" y="1427"/>
                  </a:lnTo>
                  <a:lnTo>
                    <a:pt x="361" y="1315"/>
                  </a:lnTo>
                  <a:lnTo>
                    <a:pt x="269" y="1212"/>
                  </a:lnTo>
                  <a:lnTo>
                    <a:pt x="168" y="1123"/>
                  </a:lnTo>
                  <a:lnTo>
                    <a:pt x="59" y="1048"/>
                  </a:lnTo>
                  <a:lnTo>
                    <a:pt x="0" y="1019"/>
                  </a:lnTo>
                  <a:lnTo>
                    <a:pt x="264" y="244"/>
                  </a:lnTo>
                  <a:close/>
                </a:path>
              </a:pathLst>
            </a:custGeom>
            <a:solidFill>
              <a:srgbClr val="0045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55">
              <a:extLst>
                <a:ext uri="{FF2B5EF4-FFF2-40B4-BE49-F238E27FC236}">
                  <a16:creationId xmlns:a16="http://schemas.microsoft.com/office/drawing/2014/main" id="{268D463C-FECA-C0F6-D2EC-A3391A9AB9D1}"/>
                </a:ext>
              </a:extLst>
            </p:cNvPr>
            <p:cNvSpPr>
              <a:spLocks/>
            </p:cNvSpPr>
            <p:nvPr/>
          </p:nvSpPr>
          <p:spPr bwMode="auto">
            <a:xfrm>
              <a:off x="5839870" y="854046"/>
              <a:ext cx="512259" cy="1317940"/>
            </a:xfrm>
            <a:custGeom>
              <a:avLst/>
              <a:gdLst>
                <a:gd name="T0" fmla="*/ 1623 w 2088"/>
                <a:gd name="T1" fmla="*/ 5369 h 5369"/>
                <a:gd name="T2" fmla="*/ 1675 w 2088"/>
                <a:gd name="T3" fmla="*/ 5264 h 5369"/>
                <a:gd name="T4" fmla="*/ 1771 w 2088"/>
                <a:gd name="T5" fmla="*/ 5047 h 5369"/>
                <a:gd name="T6" fmla="*/ 1856 w 2088"/>
                <a:gd name="T7" fmla="*/ 4820 h 5369"/>
                <a:gd name="T8" fmla="*/ 1929 w 2088"/>
                <a:gd name="T9" fmla="*/ 4577 h 5369"/>
                <a:gd name="T10" fmla="*/ 1990 w 2088"/>
                <a:gd name="T11" fmla="*/ 4311 h 5369"/>
                <a:gd name="T12" fmla="*/ 2038 w 2088"/>
                <a:gd name="T13" fmla="*/ 4019 h 5369"/>
                <a:gd name="T14" fmla="*/ 2070 w 2088"/>
                <a:gd name="T15" fmla="*/ 3693 h 5369"/>
                <a:gd name="T16" fmla="*/ 2087 w 2088"/>
                <a:gd name="T17" fmla="*/ 3330 h 5369"/>
                <a:gd name="T18" fmla="*/ 2088 w 2088"/>
                <a:gd name="T19" fmla="*/ 3129 h 5369"/>
                <a:gd name="T20" fmla="*/ 2087 w 2088"/>
                <a:gd name="T21" fmla="*/ 2968 h 5369"/>
                <a:gd name="T22" fmla="*/ 2064 w 2088"/>
                <a:gd name="T23" fmla="*/ 2652 h 5369"/>
                <a:gd name="T24" fmla="*/ 2021 w 2088"/>
                <a:gd name="T25" fmla="*/ 2347 h 5369"/>
                <a:gd name="T26" fmla="*/ 1961 w 2088"/>
                <a:gd name="T27" fmla="*/ 2053 h 5369"/>
                <a:gd name="T28" fmla="*/ 1887 w 2088"/>
                <a:gd name="T29" fmla="*/ 1772 h 5369"/>
                <a:gd name="T30" fmla="*/ 1803 w 2088"/>
                <a:gd name="T31" fmla="*/ 1506 h 5369"/>
                <a:gd name="T32" fmla="*/ 1712 w 2088"/>
                <a:gd name="T33" fmla="*/ 1256 h 5369"/>
                <a:gd name="T34" fmla="*/ 1615 w 2088"/>
                <a:gd name="T35" fmla="*/ 1024 h 5369"/>
                <a:gd name="T36" fmla="*/ 1518 w 2088"/>
                <a:gd name="T37" fmla="*/ 813 h 5369"/>
                <a:gd name="T38" fmla="*/ 1421 w 2088"/>
                <a:gd name="T39" fmla="*/ 621 h 5369"/>
                <a:gd name="T40" fmla="*/ 1285 w 2088"/>
                <a:gd name="T41" fmla="*/ 373 h 5369"/>
                <a:gd name="T42" fmla="*/ 1077 w 2088"/>
                <a:gd name="T43" fmla="*/ 44 h 5369"/>
                <a:gd name="T44" fmla="*/ 1045 w 2088"/>
                <a:gd name="T45" fmla="*/ 0 h 5369"/>
                <a:gd name="T46" fmla="*/ 1013 w 2088"/>
                <a:gd name="T47" fmla="*/ 44 h 5369"/>
                <a:gd name="T48" fmla="*/ 804 w 2088"/>
                <a:gd name="T49" fmla="*/ 373 h 5369"/>
                <a:gd name="T50" fmla="*/ 668 w 2088"/>
                <a:gd name="T51" fmla="*/ 621 h 5369"/>
                <a:gd name="T52" fmla="*/ 572 w 2088"/>
                <a:gd name="T53" fmla="*/ 813 h 5369"/>
                <a:gd name="T54" fmla="*/ 473 w 2088"/>
                <a:gd name="T55" fmla="*/ 1024 h 5369"/>
                <a:gd name="T56" fmla="*/ 377 w 2088"/>
                <a:gd name="T57" fmla="*/ 1256 h 5369"/>
                <a:gd name="T58" fmla="*/ 285 w 2088"/>
                <a:gd name="T59" fmla="*/ 1506 h 5369"/>
                <a:gd name="T60" fmla="*/ 201 w 2088"/>
                <a:gd name="T61" fmla="*/ 1772 h 5369"/>
                <a:gd name="T62" fmla="*/ 129 w 2088"/>
                <a:gd name="T63" fmla="*/ 2053 h 5369"/>
                <a:gd name="T64" fmla="*/ 69 w 2088"/>
                <a:gd name="T65" fmla="*/ 2347 h 5369"/>
                <a:gd name="T66" fmla="*/ 26 w 2088"/>
                <a:gd name="T67" fmla="*/ 2652 h 5369"/>
                <a:gd name="T68" fmla="*/ 3 w 2088"/>
                <a:gd name="T69" fmla="*/ 2968 h 5369"/>
                <a:gd name="T70" fmla="*/ 0 w 2088"/>
                <a:gd name="T71" fmla="*/ 3129 h 5369"/>
                <a:gd name="T72" fmla="*/ 2 w 2088"/>
                <a:gd name="T73" fmla="*/ 3330 h 5369"/>
                <a:gd name="T74" fmla="*/ 18 w 2088"/>
                <a:gd name="T75" fmla="*/ 3693 h 5369"/>
                <a:gd name="T76" fmla="*/ 52 w 2088"/>
                <a:gd name="T77" fmla="*/ 4019 h 5369"/>
                <a:gd name="T78" fmla="*/ 99 w 2088"/>
                <a:gd name="T79" fmla="*/ 4311 h 5369"/>
                <a:gd name="T80" fmla="*/ 160 w 2088"/>
                <a:gd name="T81" fmla="*/ 4577 h 5369"/>
                <a:gd name="T82" fmla="*/ 234 w 2088"/>
                <a:gd name="T83" fmla="*/ 4820 h 5369"/>
                <a:gd name="T84" fmla="*/ 319 w 2088"/>
                <a:gd name="T85" fmla="*/ 5047 h 5369"/>
                <a:gd name="T86" fmla="*/ 415 w 2088"/>
                <a:gd name="T87" fmla="*/ 5264 h 5369"/>
                <a:gd name="T88" fmla="*/ 467 w 2088"/>
                <a:gd name="T89" fmla="*/ 5369 h 5369"/>
                <a:gd name="T90" fmla="*/ 1623 w 2088"/>
                <a:gd name="T91" fmla="*/ 5369 h 5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88" h="5369">
                  <a:moveTo>
                    <a:pt x="1623" y="5369"/>
                  </a:moveTo>
                  <a:lnTo>
                    <a:pt x="1675" y="5264"/>
                  </a:lnTo>
                  <a:lnTo>
                    <a:pt x="1771" y="5047"/>
                  </a:lnTo>
                  <a:lnTo>
                    <a:pt x="1856" y="4820"/>
                  </a:lnTo>
                  <a:lnTo>
                    <a:pt x="1929" y="4577"/>
                  </a:lnTo>
                  <a:lnTo>
                    <a:pt x="1990" y="4311"/>
                  </a:lnTo>
                  <a:lnTo>
                    <a:pt x="2038" y="4019"/>
                  </a:lnTo>
                  <a:lnTo>
                    <a:pt x="2070" y="3693"/>
                  </a:lnTo>
                  <a:lnTo>
                    <a:pt x="2087" y="3330"/>
                  </a:lnTo>
                  <a:lnTo>
                    <a:pt x="2088" y="3129"/>
                  </a:lnTo>
                  <a:lnTo>
                    <a:pt x="2087" y="2968"/>
                  </a:lnTo>
                  <a:lnTo>
                    <a:pt x="2064" y="2652"/>
                  </a:lnTo>
                  <a:lnTo>
                    <a:pt x="2021" y="2347"/>
                  </a:lnTo>
                  <a:lnTo>
                    <a:pt x="1961" y="2053"/>
                  </a:lnTo>
                  <a:lnTo>
                    <a:pt x="1887" y="1772"/>
                  </a:lnTo>
                  <a:lnTo>
                    <a:pt x="1803" y="1506"/>
                  </a:lnTo>
                  <a:lnTo>
                    <a:pt x="1712" y="1256"/>
                  </a:lnTo>
                  <a:lnTo>
                    <a:pt x="1615" y="1024"/>
                  </a:lnTo>
                  <a:lnTo>
                    <a:pt x="1518" y="813"/>
                  </a:lnTo>
                  <a:lnTo>
                    <a:pt x="1421" y="621"/>
                  </a:lnTo>
                  <a:lnTo>
                    <a:pt x="1285" y="373"/>
                  </a:lnTo>
                  <a:lnTo>
                    <a:pt x="1077" y="44"/>
                  </a:lnTo>
                  <a:lnTo>
                    <a:pt x="1045" y="0"/>
                  </a:lnTo>
                  <a:lnTo>
                    <a:pt x="1013" y="44"/>
                  </a:lnTo>
                  <a:lnTo>
                    <a:pt x="804" y="373"/>
                  </a:lnTo>
                  <a:lnTo>
                    <a:pt x="668" y="621"/>
                  </a:lnTo>
                  <a:lnTo>
                    <a:pt x="572" y="813"/>
                  </a:lnTo>
                  <a:lnTo>
                    <a:pt x="473" y="1024"/>
                  </a:lnTo>
                  <a:lnTo>
                    <a:pt x="377" y="1256"/>
                  </a:lnTo>
                  <a:lnTo>
                    <a:pt x="285" y="1506"/>
                  </a:lnTo>
                  <a:lnTo>
                    <a:pt x="201" y="1772"/>
                  </a:lnTo>
                  <a:lnTo>
                    <a:pt x="129" y="2053"/>
                  </a:lnTo>
                  <a:lnTo>
                    <a:pt x="69" y="2347"/>
                  </a:lnTo>
                  <a:lnTo>
                    <a:pt x="26" y="2652"/>
                  </a:lnTo>
                  <a:lnTo>
                    <a:pt x="3" y="2968"/>
                  </a:lnTo>
                  <a:lnTo>
                    <a:pt x="0" y="3129"/>
                  </a:lnTo>
                  <a:lnTo>
                    <a:pt x="2" y="3330"/>
                  </a:lnTo>
                  <a:lnTo>
                    <a:pt x="18" y="3693"/>
                  </a:lnTo>
                  <a:lnTo>
                    <a:pt x="52" y="4019"/>
                  </a:lnTo>
                  <a:lnTo>
                    <a:pt x="99" y="4311"/>
                  </a:lnTo>
                  <a:lnTo>
                    <a:pt x="160" y="4577"/>
                  </a:lnTo>
                  <a:lnTo>
                    <a:pt x="234" y="4820"/>
                  </a:lnTo>
                  <a:lnTo>
                    <a:pt x="319" y="5047"/>
                  </a:lnTo>
                  <a:lnTo>
                    <a:pt x="415" y="5264"/>
                  </a:lnTo>
                  <a:lnTo>
                    <a:pt x="467" y="5369"/>
                  </a:lnTo>
                  <a:lnTo>
                    <a:pt x="1623" y="5369"/>
                  </a:lnTo>
                  <a:close/>
                </a:path>
              </a:pathLst>
            </a:custGeom>
            <a:solidFill>
              <a:srgbClr val="FFF5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56">
              <a:extLst>
                <a:ext uri="{FF2B5EF4-FFF2-40B4-BE49-F238E27FC236}">
                  <a16:creationId xmlns:a16="http://schemas.microsoft.com/office/drawing/2014/main" id="{45C92381-C4F9-E5AB-9CA4-8EBF1A879EF2}"/>
                </a:ext>
              </a:extLst>
            </p:cNvPr>
            <p:cNvSpPr>
              <a:spLocks/>
            </p:cNvSpPr>
            <p:nvPr/>
          </p:nvSpPr>
          <p:spPr bwMode="auto">
            <a:xfrm>
              <a:off x="5923284" y="2106235"/>
              <a:ext cx="344451" cy="65750"/>
            </a:xfrm>
            <a:custGeom>
              <a:avLst/>
              <a:gdLst>
                <a:gd name="T0" fmla="*/ 0 w 1406"/>
                <a:gd name="T1" fmla="*/ 0 h 269"/>
                <a:gd name="T2" fmla="*/ 60 w 1406"/>
                <a:gd name="T3" fmla="*/ 136 h 269"/>
                <a:gd name="T4" fmla="*/ 126 w 1406"/>
                <a:gd name="T5" fmla="*/ 269 h 269"/>
                <a:gd name="T6" fmla="*/ 1282 w 1406"/>
                <a:gd name="T7" fmla="*/ 269 h 269"/>
                <a:gd name="T8" fmla="*/ 1347 w 1406"/>
                <a:gd name="T9" fmla="*/ 136 h 269"/>
                <a:gd name="T10" fmla="*/ 1406 w 1406"/>
                <a:gd name="T11" fmla="*/ 0 h 269"/>
                <a:gd name="T12" fmla="*/ 0 w 1406"/>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1406" h="269">
                  <a:moveTo>
                    <a:pt x="0" y="0"/>
                  </a:moveTo>
                  <a:lnTo>
                    <a:pt x="60" y="136"/>
                  </a:lnTo>
                  <a:lnTo>
                    <a:pt x="126" y="269"/>
                  </a:lnTo>
                  <a:lnTo>
                    <a:pt x="1282" y="269"/>
                  </a:lnTo>
                  <a:lnTo>
                    <a:pt x="1347" y="136"/>
                  </a:lnTo>
                  <a:lnTo>
                    <a:pt x="1406" y="0"/>
                  </a:lnTo>
                  <a:lnTo>
                    <a:pt x="0" y="0"/>
                  </a:lnTo>
                  <a:close/>
                </a:path>
              </a:pathLst>
            </a:custGeom>
            <a:solidFill>
              <a:srgbClr val="0045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57">
              <a:extLst>
                <a:ext uri="{FF2B5EF4-FFF2-40B4-BE49-F238E27FC236}">
                  <a16:creationId xmlns:a16="http://schemas.microsoft.com/office/drawing/2014/main" id="{C8476C80-6289-2435-B7B2-1F649CF6D35D}"/>
                </a:ext>
              </a:extLst>
            </p:cNvPr>
            <p:cNvSpPr>
              <a:spLocks/>
            </p:cNvSpPr>
            <p:nvPr/>
          </p:nvSpPr>
          <p:spPr bwMode="auto">
            <a:xfrm>
              <a:off x="5927210" y="854046"/>
              <a:ext cx="337581" cy="322861"/>
            </a:xfrm>
            <a:custGeom>
              <a:avLst/>
              <a:gdLst>
                <a:gd name="T0" fmla="*/ 1376 w 1376"/>
                <a:gd name="T1" fmla="*/ 1313 h 1313"/>
                <a:gd name="T2" fmla="*/ 1318 w 1376"/>
                <a:gd name="T3" fmla="*/ 1165 h 1313"/>
                <a:gd name="T4" fmla="*/ 1200 w 1376"/>
                <a:gd name="T5" fmla="*/ 896 h 1313"/>
                <a:gd name="T6" fmla="*/ 1082 w 1376"/>
                <a:gd name="T7" fmla="*/ 654 h 1313"/>
                <a:gd name="T8" fmla="*/ 969 w 1376"/>
                <a:gd name="T9" fmla="*/ 447 h 1313"/>
                <a:gd name="T10" fmla="*/ 823 w 1376"/>
                <a:gd name="T11" fmla="*/ 200 h 1313"/>
                <a:gd name="T12" fmla="*/ 700 w 1376"/>
                <a:gd name="T13" fmla="*/ 17 h 1313"/>
                <a:gd name="T14" fmla="*/ 688 w 1376"/>
                <a:gd name="T15" fmla="*/ 0 h 1313"/>
                <a:gd name="T16" fmla="*/ 675 w 1376"/>
                <a:gd name="T17" fmla="*/ 17 h 1313"/>
                <a:gd name="T18" fmla="*/ 553 w 1376"/>
                <a:gd name="T19" fmla="*/ 200 h 1313"/>
                <a:gd name="T20" fmla="*/ 405 w 1376"/>
                <a:gd name="T21" fmla="*/ 447 h 1313"/>
                <a:gd name="T22" fmla="*/ 294 w 1376"/>
                <a:gd name="T23" fmla="*/ 654 h 1313"/>
                <a:gd name="T24" fmla="*/ 176 w 1376"/>
                <a:gd name="T25" fmla="*/ 896 h 1313"/>
                <a:gd name="T26" fmla="*/ 57 w 1376"/>
                <a:gd name="T27" fmla="*/ 1165 h 1313"/>
                <a:gd name="T28" fmla="*/ 0 w 1376"/>
                <a:gd name="T29" fmla="*/ 1313 h 1313"/>
                <a:gd name="T30" fmla="*/ 1376 w 1376"/>
                <a:gd name="T31" fmla="*/ 1313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76" h="1313">
                  <a:moveTo>
                    <a:pt x="1376" y="1313"/>
                  </a:moveTo>
                  <a:lnTo>
                    <a:pt x="1318" y="1165"/>
                  </a:lnTo>
                  <a:lnTo>
                    <a:pt x="1200" y="896"/>
                  </a:lnTo>
                  <a:lnTo>
                    <a:pt x="1082" y="654"/>
                  </a:lnTo>
                  <a:lnTo>
                    <a:pt x="969" y="447"/>
                  </a:lnTo>
                  <a:lnTo>
                    <a:pt x="823" y="200"/>
                  </a:lnTo>
                  <a:lnTo>
                    <a:pt x="700" y="17"/>
                  </a:lnTo>
                  <a:lnTo>
                    <a:pt x="688" y="0"/>
                  </a:lnTo>
                  <a:lnTo>
                    <a:pt x="675" y="17"/>
                  </a:lnTo>
                  <a:lnTo>
                    <a:pt x="553" y="200"/>
                  </a:lnTo>
                  <a:lnTo>
                    <a:pt x="405" y="447"/>
                  </a:lnTo>
                  <a:lnTo>
                    <a:pt x="294" y="654"/>
                  </a:lnTo>
                  <a:lnTo>
                    <a:pt x="176" y="896"/>
                  </a:lnTo>
                  <a:lnTo>
                    <a:pt x="57" y="1165"/>
                  </a:lnTo>
                  <a:lnTo>
                    <a:pt x="0" y="1313"/>
                  </a:lnTo>
                  <a:lnTo>
                    <a:pt x="1376" y="1313"/>
                  </a:lnTo>
                  <a:close/>
                </a:path>
              </a:pathLst>
            </a:custGeom>
            <a:solidFill>
              <a:srgbClr val="E041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58">
              <a:extLst>
                <a:ext uri="{FF2B5EF4-FFF2-40B4-BE49-F238E27FC236}">
                  <a16:creationId xmlns:a16="http://schemas.microsoft.com/office/drawing/2014/main" id="{638DA5F2-404D-7FC9-B1EA-1DF651E8452A}"/>
                </a:ext>
              </a:extLst>
            </p:cNvPr>
            <p:cNvSpPr>
              <a:spLocks/>
            </p:cNvSpPr>
            <p:nvPr/>
          </p:nvSpPr>
          <p:spPr bwMode="auto">
            <a:xfrm>
              <a:off x="6067541" y="1828516"/>
              <a:ext cx="56918" cy="605487"/>
            </a:xfrm>
            <a:custGeom>
              <a:avLst/>
              <a:gdLst>
                <a:gd name="T0" fmla="*/ 0 w 232"/>
                <a:gd name="T1" fmla="*/ 1234 h 2468"/>
                <a:gd name="T2" fmla="*/ 2 w 232"/>
                <a:gd name="T3" fmla="*/ 1361 h 2468"/>
                <a:gd name="T4" fmla="*/ 11 w 232"/>
                <a:gd name="T5" fmla="*/ 1602 h 2468"/>
                <a:gd name="T6" fmla="*/ 37 w 232"/>
                <a:gd name="T7" fmla="*/ 1929 h 2468"/>
                <a:gd name="T8" fmla="*/ 103 w 232"/>
                <a:gd name="T9" fmla="*/ 2399 h 2468"/>
                <a:gd name="T10" fmla="*/ 117 w 232"/>
                <a:gd name="T11" fmla="*/ 2468 h 2468"/>
                <a:gd name="T12" fmla="*/ 131 w 232"/>
                <a:gd name="T13" fmla="*/ 2399 h 2468"/>
                <a:gd name="T14" fmla="*/ 196 w 232"/>
                <a:gd name="T15" fmla="*/ 1929 h 2468"/>
                <a:gd name="T16" fmla="*/ 222 w 232"/>
                <a:gd name="T17" fmla="*/ 1602 h 2468"/>
                <a:gd name="T18" fmla="*/ 232 w 232"/>
                <a:gd name="T19" fmla="*/ 1361 h 2468"/>
                <a:gd name="T20" fmla="*/ 232 w 232"/>
                <a:gd name="T21" fmla="*/ 1234 h 2468"/>
                <a:gd name="T22" fmla="*/ 231 w 232"/>
                <a:gd name="T23" fmla="*/ 983 h 2468"/>
                <a:gd name="T24" fmla="*/ 213 w 232"/>
                <a:gd name="T25" fmla="*/ 541 h 2468"/>
                <a:gd name="T26" fmla="*/ 191 w 232"/>
                <a:gd name="T27" fmla="*/ 282 h 2468"/>
                <a:gd name="T28" fmla="*/ 173 w 232"/>
                <a:gd name="T29" fmla="*/ 148 h 2468"/>
                <a:gd name="T30" fmla="*/ 151 w 232"/>
                <a:gd name="T31" fmla="*/ 55 h 2468"/>
                <a:gd name="T32" fmla="*/ 134 w 232"/>
                <a:gd name="T33" fmla="*/ 15 h 2468"/>
                <a:gd name="T34" fmla="*/ 122 w 232"/>
                <a:gd name="T35" fmla="*/ 2 h 2468"/>
                <a:gd name="T36" fmla="*/ 117 w 232"/>
                <a:gd name="T37" fmla="*/ 0 h 2468"/>
                <a:gd name="T38" fmla="*/ 110 w 232"/>
                <a:gd name="T39" fmla="*/ 2 h 2468"/>
                <a:gd name="T40" fmla="*/ 99 w 232"/>
                <a:gd name="T41" fmla="*/ 15 h 2468"/>
                <a:gd name="T42" fmla="*/ 82 w 232"/>
                <a:gd name="T43" fmla="*/ 55 h 2468"/>
                <a:gd name="T44" fmla="*/ 61 w 232"/>
                <a:gd name="T45" fmla="*/ 148 h 2468"/>
                <a:gd name="T46" fmla="*/ 43 w 232"/>
                <a:gd name="T47" fmla="*/ 282 h 2468"/>
                <a:gd name="T48" fmla="*/ 20 w 232"/>
                <a:gd name="T49" fmla="*/ 541 h 2468"/>
                <a:gd name="T50" fmla="*/ 2 w 232"/>
                <a:gd name="T51" fmla="*/ 983 h 2468"/>
                <a:gd name="T52" fmla="*/ 0 w 232"/>
                <a:gd name="T53" fmla="*/ 1234 h 2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2" h="2468">
                  <a:moveTo>
                    <a:pt x="0" y="1234"/>
                  </a:moveTo>
                  <a:lnTo>
                    <a:pt x="2" y="1361"/>
                  </a:lnTo>
                  <a:lnTo>
                    <a:pt x="11" y="1602"/>
                  </a:lnTo>
                  <a:lnTo>
                    <a:pt x="37" y="1929"/>
                  </a:lnTo>
                  <a:lnTo>
                    <a:pt x="103" y="2399"/>
                  </a:lnTo>
                  <a:lnTo>
                    <a:pt x="117" y="2468"/>
                  </a:lnTo>
                  <a:lnTo>
                    <a:pt x="131" y="2399"/>
                  </a:lnTo>
                  <a:lnTo>
                    <a:pt x="196" y="1929"/>
                  </a:lnTo>
                  <a:lnTo>
                    <a:pt x="222" y="1602"/>
                  </a:lnTo>
                  <a:lnTo>
                    <a:pt x="232" y="1361"/>
                  </a:lnTo>
                  <a:lnTo>
                    <a:pt x="232" y="1234"/>
                  </a:lnTo>
                  <a:lnTo>
                    <a:pt x="231" y="983"/>
                  </a:lnTo>
                  <a:lnTo>
                    <a:pt x="213" y="541"/>
                  </a:lnTo>
                  <a:lnTo>
                    <a:pt x="191" y="282"/>
                  </a:lnTo>
                  <a:lnTo>
                    <a:pt x="173" y="148"/>
                  </a:lnTo>
                  <a:lnTo>
                    <a:pt x="151" y="55"/>
                  </a:lnTo>
                  <a:lnTo>
                    <a:pt x="134" y="15"/>
                  </a:lnTo>
                  <a:lnTo>
                    <a:pt x="122" y="2"/>
                  </a:lnTo>
                  <a:lnTo>
                    <a:pt x="117" y="0"/>
                  </a:lnTo>
                  <a:lnTo>
                    <a:pt x="110" y="2"/>
                  </a:lnTo>
                  <a:lnTo>
                    <a:pt x="99" y="15"/>
                  </a:lnTo>
                  <a:lnTo>
                    <a:pt x="82" y="55"/>
                  </a:lnTo>
                  <a:lnTo>
                    <a:pt x="61" y="148"/>
                  </a:lnTo>
                  <a:lnTo>
                    <a:pt x="43" y="282"/>
                  </a:lnTo>
                  <a:lnTo>
                    <a:pt x="20" y="541"/>
                  </a:lnTo>
                  <a:lnTo>
                    <a:pt x="2" y="983"/>
                  </a:lnTo>
                  <a:lnTo>
                    <a:pt x="0" y="1234"/>
                  </a:lnTo>
                  <a:close/>
                </a:path>
              </a:pathLst>
            </a:custGeom>
            <a:solidFill>
              <a:srgbClr val="0045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59">
              <a:extLst>
                <a:ext uri="{FF2B5EF4-FFF2-40B4-BE49-F238E27FC236}">
                  <a16:creationId xmlns:a16="http://schemas.microsoft.com/office/drawing/2014/main" id="{2C777187-A83F-DD2A-264A-482418E420F1}"/>
                </a:ext>
              </a:extLst>
            </p:cNvPr>
            <p:cNvSpPr>
              <a:spLocks/>
            </p:cNvSpPr>
            <p:nvPr/>
          </p:nvSpPr>
          <p:spPr bwMode="auto">
            <a:xfrm>
              <a:off x="5975295" y="1315275"/>
              <a:ext cx="241409" cy="241409"/>
            </a:xfrm>
            <a:custGeom>
              <a:avLst/>
              <a:gdLst>
                <a:gd name="T0" fmla="*/ 984 w 984"/>
                <a:gd name="T1" fmla="*/ 493 h 984"/>
                <a:gd name="T2" fmla="*/ 983 w 984"/>
                <a:gd name="T3" fmla="*/ 543 h 984"/>
                <a:gd name="T4" fmla="*/ 963 w 984"/>
                <a:gd name="T5" fmla="*/ 639 h 984"/>
                <a:gd name="T6" fmla="*/ 926 w 984"/>
                <a:gd name="T7" fmla="*/ 727 h 984"/>
                <a:gd name="T8" fmla="*/ 873 w 984"/>
                <a:gd name="T9" fmla="*/ 805 h 984"/>
                <a:gd name="T10" fmla="*/ 807 w 984"/>
                <a:gd name="T11" fmla="*/ 873 h 984"/>
                <a:gd name="T12" fmla="*/ 728 w 984"/>
                <a:gd name="T13" fmla="*/ 926 h 984"/>
                <a:gd name="T14" fmla="*/ 639 w 984"/>
                <a:gd name="T15" fmla="*/ 963 h 984"/>
                <a:gd name="T16" fmla="*/ 543 w 984"/>
                <a:gd name="T17" fmla="*/ 983 h 984"/>
                <a:gd name="T18" fmla="*/ 493 w 984"/>
                <a:gd name="T19" fmla="*/ 984 h 984"/>
                <a:gd name="T20" fmla="*/ 442 w 984"/>
                <a:gd name="T21" fmla="*/ 983 h 984"/>
                <a:gd name="T22" fmla="*/ 346 w 984"/>
                <a:gd name="T23" fmla="*/ 963 h 984"/>
                <a:gd name="T24" fmla="*/ 257 w 984"/>
                <a:gd name="T25" fmla="*/ 926 h 984"/>
                <a:gd name="T26" fmla="*/ 179 w 984"/>
                <a:gd name="T27" fmla="*/ 873 h 984"/>
                <a:gd name="T28" fmla="*/ 112 w 984"/>
                <a:gd name="T29" fmla="*/ 805 h 984"/>
                <a:gd name="T30" fmla="*/ 59 w 984"/>
                <a:gd name="T31" fmla="*/ 727 h 984"/>
                <a:gd name="T32" fmla="*/ 22 w 984"/>
                <a:gd name="T33" fmla="*/ 639 h 984"/>
                <a:gd name="T34" fmla="*/ 2 w 984"/>
                <a:gd name="T35" fmla="*/ 543 h 984"/>
                <a:gd name="T36" fmla="*/ 0 w 984"/>
                <a:gd name="T37" fmla="*/ 493 h 984"/>
                <a:gd name="T38" fmla="*/ 2 w 984"/>
                <a:gd name="T39" fmla="*/ 441 h 984"/>
                <a:gd name="T40" fmla="*/ 22 w 984"/>
                <a:gd name="T41" fmla="*/ 345 h 984"/>
                <a:gd name="T42" fmla="*/ 59 w 984"/>
                <a:gd name="T43" fmla="*/ 257 h 984"/>
                <a:gd name="T44" fmla="*/ 112 w 984"/>
                <a:gd name="T45" fmla="*/ 179 h 984"/>
                <a:gd name="T46" fmla="*/ 179 w 984"/>
                <a:gd name="T47" fmla="*/ 112 h 984"/>
                <a:gd name="T48" fmla="*/ 257 w 984"/>
                <a:gd name="T49" fmla="*/ 59 h 984"/>
                <a:gd name="T50" fmla="*/ 346 w 984"/>
                <a:gd name="T51" fmla="*/ 21 h 984"/>
                <a:gd name="T52" fmla="*/ 442 w 984"/>
                <a:gd name="T53" fmla="*/ 2 h 984"/>
                <a:gd name="T54" fmla="*/ 493 w 984"/>
                <a:gd name="T55" fmla="*/ 0 h 984"/>
                <a:gd name="T56" fmla="*/ 543 w 984"/>
                <a:gd name="T57" fmla="*/ 2 h 984"/>
                <a:gd name="T58" fmla="*/ 639 w 984"/>
                <a:gd name="T59" fmla="*/ 21 h 984"/>
                <a:gd name="T60" fmla="*/ 728 w 984"/>
                <a:gd name="T61" fmla="*/ 59 h 984"/>
                <a:gd name="T62" fmla="*/ 807 w 984"/>
                <a:gd name="T63" fmla="*/ 112 h 984"/>
                <a:gd name="T64" fmla="*/ 873 w 984"/>
                <a:gd name="T65" fmla="*/ 179 h 984"/>
                <a:gd name="T66" fmla="*/ 926 w 984"/>
                <a:gd name="T67" fmla="*/ 257 h 984"/>
                <a:gd name="T68" fmla="*/ 963 w 984"/>
                <a:gd name="T69" fmla="*/ 345 h 984"/>
                <a:gd name="T70" fmla="*/ 983 w 984"/>
                <a:gd name="T71" fmla="*/ 441 h 984"/>
                <a:gd name="T72" fmla="*/ 984 w 984"/>
                <a:gd name="T73" fmla="*/ 493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4" h="984">
                  <a:moveTo>
                    <a:pt x="984" y="493"/>
                  </a:moveTo>
                  <a:lnTo>
                    <a:pt x="983" y="543"/>
                  </a:lnTo>
                  <a:lnTo>
                    <a:pt x="963" y="639"/>
                  </a:lnTo>
                  <a:lnTo>
                    <a:pt x="926" y="727"/>
                  </a:lnTo>
                  <a:lnTo>
                    <a:pt x="873" y="805"/>
                  </a:lnTo>
                  <a:lnTo>
                    <a:pt x="807" y="873"/>
                  </a:lnTo>
                  <a:lnTo>
                    <a:pt x="728" y="926"/>
                  </a:lnTo>
                  <a:lnTo>
                    <a:pt x="639" y="963"/>
                  </a:lnTo>
                  <a:lnTo>
                    <a:pt x="543" y="983"/>
                  </a:lnTo>
                  <a:lnTo>
                    <a:pt x="493" y="984"/>
                  </a:lnTo>
                  <a:lnTo>
                    <a:pt x="442" y="983"/>
                  </a:lnTo>
                  <a:lnTo>
                    <a:pt x="346" y="963"/>
                  </a:lnTo>
                  <a:lnTo>
                    <a:pt x="257" y="926"/>
                  </a:lnTo>
                  <a:lnTo>
                    <a:pt x="179" y="873"/>
                  </a:lnTo>
                  <a:lnTo>
                    <a:pt x="112" y="805"/>
                  </a:lnTo>
                  <a:lnTo>
                    <a:pt x="59" y="727"/>
                  </a:lnTo>
                  <a:lnTo>
                    <a:pt x="22" y="639"/>
                  </a:lnTo>
                  <a:lnTo>
                    <a:pt x="2" y="543"/>
                  </a:lnTo>
                  <a:lnTo>
                    <a:pt x="0" y="493"/>
                  </a:lnTo>
                  <a:lnTo>
                    <a:pt x="2" y="441"/>
                  </a:lnTo>
                  <a:lnTo>
                    <a:pt x="22" y="345"/>
                  </a:lnTo>
                  <a:lnTo>
                    <a:pt x="59" y="257"/>
                  </a:lnTo>
                  <a:lnTo>
                    <a:pt x="112" y="179"/>
                  </a:lnTo>
                  <a:lnTo>
                    <a:pt x="179" y="112"/>
                  </a:lnTo>
                  <a:lnTo>
                    <a:pt x="257" y="59"/>
                  </a:lnTo>
                  <a:lnTo>
                    <a:pt x="346" y="21"/>
                  </a:lnTo>
                  <a:lnTo>
                    <a:pt x="442" y="2"/>
                  </a:lnTo>
                  <a:lnTo>
                    <a:pt x="493" y="0"/>
                  </a:lnTo>
                  <a:lnTo>
                    <a:pt x="543" y="2"/>
                  </a:lnTo>
                  <a:lnTo>
                    <a:pt x="639" y="21"/>
                  </a:lnTo>
                  <a:lnTo>
                    <a:pt x="728" y="59"/>
                  </a:lnTo>
                  <a:lnTo>
                    <a:pt x="807" y="112"/>
                  </a:lnTo>
                  <a:lnTo>
                    <a:pt x="873" y="179"/>
                  </a:lnTo>
                  <a:lnTo>
                    <a:pt x="926" y="257"/>
                  </a:lnTo>
                  <a:lnTo>
                    <a:pt x="963" y="345"/>
                  </a:lnTo>
                  <a:lnTo>
                    <a:pt x="983" y="441"/>
                  </a:lnTo>
                  <a:lnTo>
                    <a:pt x="984" y="493"/>
                  </a:lnTo>
                  <a:close/>
                </a:path>
              </a:pathLst>
            </a:custGeom>
            <a:solidFill>
              <a:srgbClr val="FF4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5" name="Freeform 60">
              <a:extLst>
                <a:ext uri="{FF2B5EF4-FFF2-40B4-BE49-F238E27FC236}">
                  <a16:creationId xmlns:a16="http://schemas.microsoft.com/office/drawing/2014/main" id="{CB53C8D0-B9B4-A845-CEAF-A87DCEF7C1D6}"/>
                </a:ext>
              </a:extLst>
            </p:cNvPr>
            <p:cNvSpPr>
              <a:spLocks/>
            </p:cNvSpPr>
            <p:nvPr/>
          </p:nvSpPr>
          <p:spPr bwMode="auto">
            <a:xfrm>
              <a:off x="6006698" y="1346679"/>
              <a:ext cx="177623" cy="178604"/>
            </a:xfrm>
            <a:custGeom>
              <a:avLst/>
              <a:gdLst>
                <a:gd name="T0" fmla="*/ 726 w 726"/>
                <a:gd name="T1" fmla="*/ 364 h 727"/>
                <a:gd name="T2" fmla="*/ 725 w 726"/>
                <a:gd name="T3" fmla="*/ 400 h 727"/>
                <a:gd name="T4" fmla="*/ 710 w 726"/>
                <a:gd name="T5" fmla="*/ 471 h 727"/>
                <a:gd name="T6" fmla="*/ 682 w 726"/>
                <a:gd name="T7" fmla="*/ 536 h 727"/>
                <a:gd name="T8" fmla="*/ 643 w 726"/>
                <a:gd name="T9" fmla="*/ 595 h 727"/>
                <a:gd name="T10" fmla="*/ 594 w 726"/>
                <a:gd name="T11" fmla="*/ 644 h 727"/>
                <a:gd name="T12" fmla="*/ 537 w 726"/>
                <a:gd name="T13" fmla="*/ 683 h 727"/>
                <a:gd name="T14" fmla="*/ 470 w 726"/>
                <a:gd name="T15" fmla="*/ 710 h 727"/>
                <a:gd name="T16" fmla="*/ 400 w 726"/>
                <a:gd name="T17" fmla="*/ 725 h 727"/>
                <a:gd name="T18" fmla="*/ 363 w 726"/>
                <a:gd name="T19" fmla="*/ 727 h 727"/>
                <a:gd name="T20" fmla="*/ 325 w 726"/>
                <a:gd name="T21" fmla="*/ 725 h 727"/>
                <a:gd name="T22" fmla="*/ 254 w 726"/>
                <a:gd name="T23" fmla="*/ 710 h 727"/>
                <a:gd name="T24" fmla="*/ 189 w 726"/>
                <a:gd name="T25" fmla="*/ 683 h 727"/>
                <a:gd name="T26" fmla="*/ 131 w 726"/>
                <a:gd name="T27" fmla="*/ 644 h 727"/>
                <a:gd name="T28" fmla="*/ 82 w 726"/>
                <a:gd name="T29" fmla="*/ 595 h 727"/>
                <a:gd name="T30" fmla="*/ 43 w 726"/>
                <a:gd name="T31" fmla="*/ 536 h 727"/>
                <a:gd name="T32" fmla="*/ 16 w 726"/>
                <a:gd name="T33" fmla="*/ 471 h 727"/>
                <a:gd name="T34" fmla="*/ 1 w 726"/>
                <a:gd name="T35" fmla="*/ 400 h 727"/>
                <a:gd name="T36" fmla="*/ 0 w 726"/>
                <a:gd name="T37" fmla="*/ 364 h 727"/>
                <a:gd name="T38" fmla="*/ 1 w 726"/>
                <a:gd name="T39" fmla="*/ 326 h 727"/>
                <a:gd name="T40" fmla="*/ 16 w 726"/>
                <a:gd name="T41" fmla="*/ 255 h 727"/>
                <a:gd name="T42" fmla="*/ 43 w 726"/>
                <a:gd name="T43" fmla="*/ 190 h 727"/>
                <a:gd name="T44" fmla="*/ 82 w 726"/>
                <a:gd name="T45" fmla="*/ 132 h 727"/>
                <a:gd name="T46" fmla="*/ 131 w 726"/>
                <a:gd name="T47" fmla="*/ 83 h 727"/>
                <a:gd name="T48" fmla="*/ 189 w 726"/>
                <a:gd name="T49" fmla="*/ 44 h 727"/>
                <a:gd name="T50" fmla="*/ 254 w 726"/>
                <a:gd name="T51" fmla="*/ 17 h 727"/>
                <a:gd name="T52" fmla="*/ 325 w 726"/>
                <a:gd name="T53" fmla="*/ 1 h 727"/>
                <a:gd name="T54" fmla="*/ 363 w 726"/>
                <a:gd name="T55" fmla="*/ 0 h 727"/>
                <a:gd name="T56" fmla="*/ 400 w 726"/>
                <a:gd name="T57" fmla="*/ 1 h 727"/>
                <a:gd name="T58" fmla="*/ 470 w 726"/>
                <a:gd name="T59" fmla="*/ 17 h 727"/>
                <a:gd name="T60" fmla="*/ 537 w 726"/>
                <a:gd name="T61" fmla="*/ 44 h 727"/>
                <a:gd name="T62" fmla="*/ 594 w 726"/>
                <a:gd name="T63" fmla="*/ 83 h 727"/>
                <a:gd name="T64" fmla="*/ 643 w 726"/>
                <a:gd name="T65" fmla="*/ 132 h 727"/>
                <a:gd name="T66" fmla="*/ 682 w 726"/>
                <a:gd name="T67" fmla="*/ 190 h 727"/>
                <a:gd name="T68" fmla="*/ 710 w 726"/>
                <a:gd name="T69" fmla="*/ 255 h 727"/>
                <a:gd name="T70" fmla="*/ 725 w 726"/>
                <a:gd name="T71" fmla="*/ 326 h 727"/>
                <a:gd name="T72" fmla="*/ 726 w 726"/>
                <a:gd name="T73" fmla="*/ 36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26" h="727">
                  <a:moveTo>
                    <a:pt x="726" y="364"/>
                  </a:moveTo>
                  <a:lnTo>
                    <a:pt x="725" y="400"/>
                  </a:lnTo>
                  <a:lnTo>
                    <a:pt x="710" y="471"/>
                  </a:lnTo>
                  <a:lnTo>
                    <a:pt x="682" y="536"/>
                  </a:lnTo>
                  <a:lnTo>
                    <a:pt x="643" y="595"/>
                  </a:lnTo>
                  <a:lnTo>
                    <a:pt x="594" y="644"/>
                  </a:lnTo>
                  <a:lnTo>
                    <a:pt x="537" y="683"/>
                  </a:lnTo>
                  <a:lnTo>
                    <a:pt x="470" y="710"/>
                  </a:lnTo>
                  <a:lnTo>
                    <a:pt x="400" y="725"/>
                  </a:lnTo>
                  <a:lnTo>
                    <a:pt x="363" y="727"/>
                  </a:lnTo>
                  <a:lnTo>
                    <a:pt x="325" y="725"/>
                  </a:lnTo>
                  <a:lnTo>
                    <a:pt x="254" y="710"/>
                  </a:lnTo>
                  <a:lnTo>
                    <a:pt x="189" y="683"/>
                  </a:lnTo>
                  <a:lnTo>
                    <a:pt x="131" y="644"/>
                  </a:lnTo>
                  <a:lnTo>
                    <a:pt x="82" y="595"/>
                  </a:lnTo>
                  <a:lnTo>
                    <a:pt x="43" y="536"/>
                  </a:lnTo>
                  <a:lnTo>
                    <a:pt x="16" y="471"/>
                  </a:lnTo>
                  <a:lnTo>
                    <a:pt x="1" y="400"/>
                  </a:lnTo>
                  <a:lnTo>
                    <a:pt x="0" y="364"/>
                  </a:lnTo>
                  <a:lnTo>
                    <a:pt x="1" y="326"/>
                  </a:lnTo>
                  <a:lnTo>
                    <a:pt x="16" y="255"/>
                  </a:lnTo>
                  <a:lnTo>
                    <a:pt x="43" y="190"/>
                  </a:lnTo>
                  <a:lnTo>
                    <a:pt x="82" y="132"/>
                  </a:lnTo>
                  <a:lnTo>
                    <a:pt x="131" y="83"/>
                  </a:lnTo>
                  <a:lnTo>
                    <a:pt x="189" y="44"/>
                  </a:lnTo>
                  <a:lnTo>
                    <a:pt x="254" y="17"/>
                  </a:lnTo>
                  <a:lnTo>
                    <a:pt x="325" y="1"/>
                  </a:lnTo>
                  <a:lnTo>
                    <a:pt x="363" y="0"/>
                  </a:lnTo>
                  <a:lnTo>
                    <a:pt x="400" y="1"/>
                  </a:lnTo>
                  <a:lnTo>
                    <a:pt x="470" y="17"/>
                  </a:lnTo>
                  <a:lnTo>
                    <a:pt x="537" y="44"/>
                  </a:lnTo>
                  <a:lnTo>
                    <a:pt x="594" y="83"/>
                  </a:lnTo>
                  <a:lnTo>
                    <a:pt x="643" y="132"/>
                  </a:lnTo>
                  <a:lnTo>
                    <a:pt x="682" y="190"/>
                  </a:lnTo>
                  <a:lnTo>
                    <a:pt x="710" y="255"/>
                  </a:lnTo>
                  <a:lnTo>
                    <a:pt x="725" y="326"/>
                  </a:lnTo>
                  <a:lnTo>
                    <a:pt x="726" y="364"/>
                  </a:lnTo>
                  <a:close/>
                </a:path>
              </a:pathLst>
            </a:custGeom>
            <a:solidFill>
              <a:srgbClr val="356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6" name="Freeform 61">
              <a:extLst>
                <a:ext uri="{FF2B5EF4-FFF2-40B4-BE49-F238E27FC236}">
                  <a16:creationId xmlns:a16="http://schemas.microsoft.com/office/drawing/2014/main" id="{05DC3D69-F4AE-602B-E595-C05441DB947A}"/>
                </a:ext>
              </a:extLst>
            </p:cNvPr>
            <p:cNvSpPr>
              <a:spLocks/>
            </p:cNvSpPr>
            <p:nvPr/>
          </p:nvSpPr>
          <p:spPr bwMode="auto">
            <a:xfrm>
              <a:off x="6120533" y="2171985"/>
              <a:ext cx="116780" cy="63788"/>
            </a:xfrm>
            <a:custGeom>
              <a:avLst/>
              <a:gdLst>
                <a:gd name="T0" fmla="*/ 0 w 476"/>
                <a:gd name="T1" fmla="*/ 260 h 260"/>
                <a:gd name="T2" fmla="*/ 476 w 476"/>
                <a:gd name="T3" fmla="*/ 260 h 260"/>
                <a:gd name="T4" fmla="*/ 476 w 476"/>
                <a:gd name="T5" fmla="*/ 0 h 260"/>
                <a:gd name="T6" fmla="*/ 13 w 476"/>
                <a:gd name="T7" fmla="*/ 0 h 260"/>
                <a:gd name="T8" fmla="*/ 8 w 476"/>
                <a:gd name="T9" fmla="*/ 134 h 260"/>
                <a:gd name="T10" fmla="*/ 0 w 476"/>
                <a:gd name="T11" fmla="*/ 260 h 260"/>
              </a:gdLst>
              <a:ahLst/>
              <a:cxnLst>
                <a:cxn ang="0">
                  <a:pos x="T0" y="T1"/>
                </a:cxn>
                <a:cxn ang="0">
                  <a:pos x="T2" y="T3"/>
                </a:cxn>
                <a:cxn ang="0">
                  <a:pos x="T4" y="T5"/>
                </a:cxn>
                <a:cxn ang="0">
                  <a:pos x="T6" y="T7"/>
                </a:cxn>
                <a:cxn ang="0">
                  <a:pos x="T8" y="T9"/>
                </a:cxn>
                <a:cxn ang="0">
                  <a:pos x="T10" y="T11"/>
                </a:cxn>
              </a:cxnLst>
              <a:rect l="0" t="0" r="r" b="b"/>
              <a:pathLst>
                <a:path w="476" h="260">
                  <a:moveTo>
                    <a:pt x="0" y="260"/>
                  </a:moveTo>
                  <a:lnTo>
                    <a:pt x="476" y="260"/>
                  </a:lnTo>
                  <a:lnTo>
                    <a:pt x="476" y="0"/>
                  </a:lnTo>
                  <a:lnTo>
                    <a:pt x="13" y="0"/>
                  </a:lnTo>
                  <a:lnTo>
                    <a:pt x="8" y="134"/>
                  </a:lnTo>
                  <a:lnTo>
                    <a:pt x="0" y="26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7" name="Freeform 62">
              <a:extLst>
                <a:ext uri="{FF2B5EF4-FFF2-40B4-BE49-F238E27FC236}">
                  <a16:creationId xmlns:a16="http://schemas.microsoft.com/office/drawing/2014/main" id="{49D4482C-DF33-2D08-8B6E-DE346768B6C3}"/>
                </a:ext>
              </a:extLst>
            </p:cNvPr>
            <p:cNvSpPr>
              <a:spLocks/>
            </p:cNvSpPr>
            <p:nvPr/>
          </p:nvSpPr>
          <p:spPr bwMode="auto">
            <a:xfrm>
              <a:off x="6277547" y="1828516"/>
              <a:ext cx="259074" cy="605487"/>
            </a:xfrm>
            <a:custGeom>
              <a:avLst/>
              <a:gdLst>
                <a:gd name="T0" fmla="*/ 705 w 1056"/>
                <a:gd name="T1" fmla="*/ 0 h 2468"/>
                <a:gd name="T2" fmla="*/ 692 w 1056"/>
                <a:gd name="T3" fmla="*/ 25 h 2468"/>
                <a:gd name="T4" fmla="*/ 664 w 1056"/>
                <a:gd name="T5" fmla="*/ 66 h 2468"/>
                <a:gd name="T6" fmla="*/ 613 w 1056"/>
                <a:gd name="T7" fmla="*/ 121 h 2468"/>
                <a:gd name="T8" fmla="*/ 537 w 1056"/>
                <a:gd name="T9" fmla="*/ 173 h 2468"/>
                <a:gd name="T10" fmla="*/ 455 w 1056"/>
                <a:gd name="T11" fmla="*/ 208 h 2468"/>
                <a:gd name="T12" fmla="*/ 376 w 1056"/>
                <a:gd name="T13" fmla="*/ 228 h 2468"/>
                <a:gd name="T14" fmla="*/ 307 w 1056"/>
                <a:gd name="T15" fmla="*/ 240 h 2468"/>
                <a:gd name="T16" fmla="*/ 233 w 1056"/>
                <a:gd name="T17" fmla="*/ 244 h 2468"/>
                <a:gd name="T18" fmla="*/ 223 w 1056"/>
                <a:gd name="T19" fmla="*/ 244 h 2468"/>
                <a:gd name="T20" fmla="*/ 222 w 1056"/>
                <a:gd name="T21" fmla="*/ 244 h 2468"/>
                <a:gd name="T22" fmla="*/ 202 w 1056"/>
                <a:gd name="T23" fmla="*/ 357 h 2468"/>
                <a:gd name="T24" fmla="*/ 154 w 1056"/>
                <a:gd name="T25" fmla="*/ 568 h 2468"/>
                <a:gd name="T26" fmla="*/ 99 w 1056"/>
                <a:gd name="T27" fmla="*/ 765 h 2468"/>
                <a:gd name="T28" fmla="*/ 35 w 1056"/>
                <a:gd name="T29" fmla="*/ 950 h 2468"/>
                <a:gd name="T30" fmla="*/ 0 w 1056"/>
                <a:gd name="T31" fmla="*/ 1040 h 2468"/>
                <a:gd name="T32" fmla="*/ 56 w 1056"/>
                <a:gd name="T33" fmla="*/ 1072 h 2468"/>
                <a:gd name="T34" fmla="*/ 159 w 1056"/>
                <a:gd name="T35" fmla="*/ 1150 h 2468"/>
                <a:gd name="T36" fmla="*/ 255 w 1056"/>
                <a:gd name="T37" fmla="*/ 1242 h 2468"/>
                <a:gd name="T38" fmla="*/ 343 w 1056"/>
                <a:gd name="T39" fmla="*/ 1346 h 2468"/>
                <a:gd name="T40" fmla="*/ 423 w 1056"/>
                <a:gd name="T41" fmla="*/ 1457 h 2468"/>
                <a:gd name="T42" fmla="*/ 493 w 1056"/>
                <a:gd name="T43" fmla="*/ 1575 h 2468"/>
                <a:gd name="T44" fmla="*/ 556 w 1056"/>
                <a:gd name="T45" fmla="*/ 1696 h 2468"/>
                <a:gd name="T46" fmla="*/ 613 w 1056"/>
                <a:gd name="T47" fmla="*/ 1816 h 2468"/>
                <a:gd name="T48" fmla="*/ 684 w 1056"/>
                <a:gd name="T49" fmla="*/ 1994 h 2468"/>
                <a:gd name="T50" fmla="*/ 754 w 1056"/>
                <a:gd name="T51" fmla="*/ 2205 h 2468"/>
                <a:gd name="T52" fmla="*/ 815 w 1056"/>
                <a:gd name="T53" fmla="*/ 2434 h 2468"/>
                <a:gd name="T54" fmla="*/ 822 w 1056"/>
                <a:gd name="T55" fmla="*/ 2468 h 2468"/>
                <a:gd name="T56" fmla="*/ 849 w 1056"/>
                <a:gd name="T57" fmla="*/ 2407 h 2468"/>
                <a:gd name="T58" fmla="*/ 897 w 1056"/>
                <a:gd name="T59" fmla="*/ 2285 h 2468"/>
                <a:gd name="T60" fmla="*/ 957 w 1056"/>
                <a:gd name="T61" fmla="*/ 2104 h 2468"/>
                <a:gd name="T62" fmla="*/ 1011 w 1056"/>
                <a:gd name="T63" fmla="*/ 1868 h 2468"/>
                <a:gd name="T64" fmla="*/ 1043 w 1056"/>
                <a:gd name="T65" fmla="*/ 1639 h 2468"/>
                <a:gd name="T66" fmla="*/ 1056 w 1056"/>
                <a:gd name="T67" fmla="*/ 1420 h 2468"/>
                <a:gd name="T68" fmla="*/ 1051 w 1056"/>
                <a:gd name="T69" fmla="*/ 1210 h 2468"/>
                <a:gd name="T70" fmla="*/ 1032 w 1056"/>
                <a:gd name="T71" fmla="*/ 1013 h 2468"/>
                <a:gd name="T72" fmla="*/ 1002 w 1056"/>
                <a:gd name="T73" fmla="*/ 829 h 2468"/>
                <a:gd name="T74" fmla="*/ 964 w 1056"/>
                <a:gd name="T75" fmla="*/ 659 h 2468"/>
                <a:gd name="T76" fmla="*/ 920 w 1056"/>
                <a:gd name="T77" fmla="*/ 504 h 2468"/>
                <a:gd name="T78" fmla="*/ 850 w 1056"/>
                <a:gd name="T79" fmla="*/ 305 h 2468"/>
                <a:gd name="T80" fmla="*/ 727 w 1056"/>
                <a:gd name="T81" fmla="*/ 37 h 2468"/>
                <a:gd name="T82" fmla="*/ 705 w 1056"/>
                <a:gd name="T83" fmla="*/ 0 h 2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56" h="2468">
                  <a:moveTo>
                    <a:pt x="705" y="0"/>
                  </a:moveTo>
                  <a:lnTo>
                    <a:pt x="692" y="25"/>
                  </a:lnTo>
                  <a:lnTo>
                    <a:pt x="664" y="66"/>
                  </a:lnTo>
                  <a:lnTo>
                    <a:pt x="613" y="121"/>
                  </a:lnTo>
                  <a:lnTo>
                    <a:pt x="537" y="173"/>
                  </a:lnTo>
                  <a:lnTo>
                    <a:pt x="455" y="208"/>
                  </a:lnTo>
                  <a:lnTo>
                    <a:pt x="376" y="228"/>
                  </a:lnTo>
                  <a:lnTo>
                    <a:pt x="307" y="240"/>
                  </a:lnTo>
                  <a:lnTo>
                    <a:pt x="233" y="244"/>
                  </a:lnTo>
                  <a:lnTo>
                    <a:pt x="223" y="244"/>
                  </a:lnTo>
                  <a:lnTo>
                    <a:pt x="222" y="244"/>
                  </a:lnTo>
                  <a:lnTo>
                    <a:pt x="202" y="357"/>
                  </a:lnTo>
                  <a:lnTo>
                    <a:pt x="154" y="568"/>
                  </a:lnTo>
                  <a:lnTo>
                    <a:pt x="99" y="765"/>
                  </a:lnTo>
                  <a:lnTo>
                    <a:pt x="35" y="950"/>
                  </a:lnTo>
                  <a:lnTo>
                    <a:pt x="0" y="1040"/>
                  </a:lnTo>
                  <a:lnTo>
                    <a:pt x="56" y="1072"/>
                  </a:lnTo>
                  <a:lnTo>
                    <a:pt x="159" y="1150"/>
                  </a:lnTo>
                  <a:lnTo>
                    <a:pt x="255" y="1242"/>
                  </a:lnTo>
                  <a:lnTo>
                    <a:pt x="343" y="1346"/>
                  </a:lnTo>
                  <a:lnTo>
                    <a:pt x="423" y="1457"/>
                  </a:lnTo>
                  <a:lnTo>
                    <a:pt x="493" y="1575"/>
                  </a:lnTo>
                  <a:lnTo>
                    <a:pt x="556" y="1696"/>
                  </a:lnTo>
                  <a:lnTo>
                    <a:pt x="613" y="1816"/>
                  </a:lnTo>
                  <a:lnTo>
                    <a:pt x="684" y="1994"/>
                  </a:lnTo>
                  <a:lnTo>
                    <a:pt x="754" y="2205"/>
                  </a:lnTo>
                  <a:lnTo>
                    <a:pt x="815" y="2434"/>
                  </a:lnTo>
                  <a:lnTo>
                    <a:pt x="822" y="2468"/>
                  </a:lnTo>
                  <a:lnTo>
                    <a:pt x="849" y="2407"/>
                  </a:lnTo>
                  <a:lnTo>
                    <a:pt x="897" y="2285"/>
                  </a:lnTo>
                  <a:lnTo>
                    <a:pt x="957" y="2104"/>
                  </a:lnTo>
                  <a:lnTo>
                    <a:pt x="1011" y="1868"/>
                  </a:lnTo>
                  <a:lnTo>
                    <a:pt x="1043" y="1639"/>
                  </a:lnTo>
                  <a:lnTo>
                    <a:pt x="1056" y="1420"/>
                  </a:lnTo>
                  <a:lnTo>
                    <a:pt x="1051" y="1210"/>
                  </a:lnTo>
                  <a:lnTo>
                    <a:pt x="1032" y="1013"/>
                  </a:lnTo>
                  <a:lnTo>
                    <a:pt x="1002" y="829"/>
                  </a:lnTo>
                  <a:lnTo>
                    <a:pt x="964" y="659"/>
                  </a:lnTo>
                  <a:lnTo>
                    <a:pt x="920" y="504"/>
                  </a:lnTo>
                  <a:lnTo>
                    <a:pt x="850" y="305"/>
                  </a:lnTo>
                  <a:lnTo>
                    <a:pt x="727" y="37"/>
                  </a:lnTo>
                  <a:lnTo>
                    <a:pt x="705" y="0"/>
                  </a:lnTo>
                  <a:close/>
                </a:path>
              </a:pathLst>
            </a:custGeom>
            <a:solidFill>
              <a:srgbClr val="0045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8" name="Freeform 65">
              <a:extLst>
                <a:ext uri="{FF2B5EF4-FFF2-40B4-BE49-F238E27FC236}">
                  <a16:creationId xmlns:a16="http://schemas.microsoft.com/office/drawing/2014/main" id="{E42EE45F-A740-88FF-5601-80DFBAEC452F}"/>
                </a:ext>
              </a:extLst>
            </p:cNvPr>
            <p:cNvSpPr>
              <a:spLocks/>
            </p:cNvSpPr>
            <p:nvPr/>
          </p:nvSpPr>
          <p:spPr bwMode="auto">
            <a:xfrm>
              <a:off x="6096000" y="867785"/>
              <a:ext cx="256130" cy="1238451"/>
            </a:xfrm>
            <a:custGeom>
              <a:avLst/>
              <a:gdLst>
                <a:gd name="T0" fmla="*/ 1042 w 1043"/>
                <a:gd name="T1" fmla="*/ 2933 h 5047"/>
                <a:gd name="T2" fmla="*/ 990 w 1043"/>
                <a:gd name="T3" fmla="*/ 2378 h 5047"/>
                <a:gd name="T4" fmla="*/ 881 w 1043"/>
                <a:gd name="T5" fmla="*/ 1860 h 5047"/>
                <a:gd name="T6" fmla="*/ 735 w 1043"/>
                <a:gd name="T7" fmla="*/ 1386 h 5047"/>
                <a:gd name="T8" fmla="*/ 568 w 1043"/>
                <a:gd name="T9" fmla="*/ 963 h 5047"/>
                <a:gd name="T10" fmla="*/ 352 w 1043"/>
                <a:gd name="T11" fmla="*/ 521 h 5047"/>
                <a:gd name="T12" fmla="*/ 76 w 1043"/>
                <a:gd name="T13" fmla="*/ 58 h 5047"/>
                <a:gd name="T14" fmla="*/ 83 w 1043"/>
                <a:gd name="T15" fmla="*/ 66 h 5047"/>
                <a:gd name="T16" fmla="*/ 355 w 1043"/>
                <a:gd name="T17" fmla="*/ 528 h 5047"/>
                <a:gd name="T18" fmla="*/ 546 w 1043"/>
                <a:gd name="T19" fmla="*/ 915 h 5047"/>
                <a:gd name="T20" fmla="*/ 688 w 1043"/>
                <a:gd name="T21" fmla="*/ 1260 h 5047"/>
                <a:gd name="T22" fmla="*/ 0 w 1043"/>
                <a:gd name="T23" fmla="*/ 1826 h 5047"/>
                <a:gd name="T24" fmla="*/ 146 w 1043"/>
                <a:gd name="T25" fmla="*/ 1847 h 5047"/>
                <a:gd name="T26" fmla="*/ 314 w 1043"/>
                <a:gd name="T27" fmla="*/ 1938 h 5047"/>
                <a:gd name="T28" fmla="*/ 433 w 1043"/>
                <a:gd name="T29" fmla="*/ 2083 h 5047"/>
                <a:gd name="T30" fmla="*/ 490 w 1043"/>
                <a:gd name="T31" fmla="*/ 2268 h 5047"/>
                <a:gd name="T32" fmla="*/ 490 w 1043"/>
                <a:gd name="T33" fmla="*/ 2369 h 5047"/>
                <a:gd name="T34" fmla="*/ 433 w 1043"/>
                <a:gd name="T35" fmla="*/ 2553 h 5047"/>
                <a:gd name="T36" fmla="*/ 314 w 1043"/>
                <a:gd name="T37" fmla="*/ 2699 h 5047"/>
                <a:gd name="T38" fmla="*/ 146 w 1043"/>
                <a:gd name="T39" fmla="*/ 2789 h 5047"/>
                <a:gd name="T40" fmla="*/ 0 w 1043"/>
                <a:gd name="T41" fmla="*/ 2810 h 5047"/>
                <a:gd name="T42" fmla="*/ 5 w 1043"/>
                <a:gd name="T43" fmla="*/ 3920 h 5047"/>
                <a:gd name="T44" fmla="*/ 32 w 1043"/>
                <a:gd name="T45" fmla="*/ 3968 h 5047"/>
                <a:gd name="T46" fmla="*/ 70 w 1043"/>
                <a:gd name="T47" fmla="*/ 4172 h 5047"/>
                <a:gd name="T48" fmla="*/ 111 w 1043"/>
                <a:gd name="T49" fmla="*/ 4815 h 5047"/>
                <a:gd name="T50" fmla="*/ 702 w 1043"/>
                <a:gd name="T51" fmla="*/ 5047 h 5047"/>
                <a:gd name="T52" fmla="*/ 740 w 1043"/>
                <a:gd name="T53" fmla="*/ 4958 h 5047"/>
                <a:gd name="T54" fmla="*/ 839 w 1043"/>
                <a:gd name="T55" fmla="*/ 4683 h 5047"/>
                <a:gd name="T56" fmla="*/ 942 w 1043"/>
                <a:gd name="T57" fmla="*/ 4275 h 5047"/>
                <a:gd name="T58" fmla="*/ 981 w 1043"/>
                <a:gd name="T59" fmla="*/ 4047 h 5047"/>
                <a:gd name="T60" fmla="*/ 1032 w 1043"/>
                <a:gd name="T61" fmla="*/ 3529 h 5047"/>
                <a:gd name="T62" fmla="*/ 1043 w 1043"/>
                <a:gd name="T63" fmla="*/ 3076 h 5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3" h="5047">
                  <a:moveTo>
                    <a:pt x="1043" y="3076"/>
                  </a:moveTo>
                  <a:lnTo>
                    <a:pt x="1042" y="2933"/>
                  </a:lnTo>
                  <a:lnTo>
                    <a:pt x="1024" y="2652"/>
                  </a:lnTo>
                  <a:lnTo>
                    <a:pt x="990" y="2378"/>
                  </a:lnTo>
                  <a:lnTo>
                    <a:pt x="941" y="2115"/>
                  </a:lnTo>
                  <a:lnTo>
                    <a:pt x="881" y="1860"/>
                  </a:lnTo>
                  <a:lnTo>
                    <a:pt x="813" y="1616"/>
                  </a:lnTo>
                  <a:lnTo>
                    <a:pt x="735" y="1386"/>
                  </a:lnTo>
                  <a:lnTo>
                    <a:pt x="653" y="1168"/>
                  </a:lnTo>
                  <a:lnTo>
                    <a:pt x="568" y="963"/>
                  </a:lnTo>
                  <a:lnTo>
                    <a:pt x="481" y="775"/>
                  </a:lnTo>
                  <a:lnTo>
                    <a:pt x="352" y="521"/>
                  </a:lnTo>
                  <a:lnTo>
                    <a:pt x="198" y="249"/>
                  </a:lnTo>
                  <a:lnTo>
                    <a:pt x="76" y="58"/>
                  </a:lnTo>
                  <a:lnTo>
                    <a:pt x="37" y="0"/>
                  </a:lnTo>
                  <a:lnTo>
                    <a:pt x="83" y="66"/>
                  </a:lnTo>
                  <a:lnTo>
                    <a:pt x="223" y="290"/>
                  </a:lnTo>
                  <a:lnTo>
                    <a:pt x="355" y="528"/>
                  </a:lnTo>
                  <a:lnTo>
                    <a:pt x="448" y="710"/>
                  </a:lnTo>
                  <a:lnTo>
                    <a:pt x="546" y="915"/>
                  </a:lnTo>
                  <a:lnTo>
                    <a:pt x="641" y="1139"/>
                  </a:lnTo>
                  <a:lnTo>
                    <a:pt x="688" y="1260"/>
                  </a:lnTo>
                  <a:lnTo>
                    <a:pt x="0" y="1260"/>
                  </a:lnTo>
                  <a:lnTo>
                    <a:pt x="0" y="1826"/>
                  </a:lnTo>
                  <a:lnTo>
                    <a:pt x="50" y="1828"/>
                  </a:lnTo>
                  <a:lnTo>
                    <a:pt x="146" y="1847"/>
                  </a:lnTo>
                  <a:lnTo>
                    <a:pt x="235" y="1885"/>
                  </a:lnTo>
                  <a:lnTo>
                    <a:pt x="314" y="1938"/>
                  </a:lnTo>
                  <a:lnTo>
                    <a:pt x="380" y="2005"/>
                  </a:lnTo>
                  <a:lnTo>
                    <a:pt x="433" y="2083"/>
                  </a:lnTo>
                  <a:lnTo>
                    <a:pt x="470" y="2171"/>
                  </a:lnTo>
                  <a:lnTo>
                    <a:pt x="490" y="2268"/>
                  </a:lnTo>
                  <a:lnTo>
                    <a:pt x="491" y="2319"/>
                  </a:lnTo>
                  <a:lnTo>
                    <a:pt x="490" y="2369"/>
                  </a:lnTo>
                  <a:lnTo>
                    <a:pt x="470" y="2465"/>
                  </a:lnTo>
                  <a:lnTo>
                    <a:pt x="433" y="2553"/>
                  </a:lnTo>
                  <a:lnTo>
                    <a:pt x="380" y="2631"/>
                  </a:lnTo>
                  <a:lnTo>
                    <a:pt x="314" y="2699"/>
                  </a:lnTo>
                  <a:lnTo>
                    <a:pt x="235" y="2752"/>
                  </a:lnTo>
                  <a:lnTo>
                    <a:pt x="146" y="2789"/>
                  </a:lnTo>
                  <a:lnTo>
                    <a:pt x="50" y="2809"/>
                  </a:lnTo>
                  <a:lnTo>
                    <a:pt x="0" y="2810"/>
                  </a:lnTo>
                  <a:lnTo>
                    <a:pt x="0" y="3918"/>
                  </a:lnTo>
                  <a:lnTo>
                    <a:pt x="5" y="3920"/>
                  </a:lnTo>
                  <a:lnTo>
                    <a:pt x="17" y="3931"/>
                  </a:lnTo>
                  <a:lnTo>
                    <a:pt x="32" y="3968"/>
                  </a:lnTo>
                  <a:lnTo>
                    <a:pt x="53" y="4052"/>
                  </a:lnTo>
                  <a:lnTo>
                    <a:pt x="70" y="4172"/>
                  </a:lnTo>
                  <a:lnTo>
                    <a:pt x="93" y="4408"/>
                  </a:lnTo>
                  <a:lnTo>
                    <a:pt x="111" y="4815"/>
                  </a:lnTo>
                  <a:lnTo>
                    <a:pt x="115" y="5047"/>
                  </a:lnTo>
                  <a:lnTo>
                    <a:pt x="702" y="5047"/>
                  </a:lnTo>
                  <a:lnTo>
                    <a:pt x="722" y="5003"/>
                  </a:lnTo>
                  <a:lnTo>
                    <a:pt x="740" y="4958"/>
                  </a:lnTo>
                  <a:lnTo>
                    <a:pt x="775" y="4868"/>
                  </a:lnTo>
                  <a:lnTo>
                    <a:pt x="839" y="4683"/>
                  </a:lnTo>
                  <a:lnTo>
                    <a:pt x="894" y="4486"/>
                  </a:lnTo>
                  <a:lnTo>
                    <a:pt x="942" y="4275"/>
                  </a:lnTo>
                  <a:lnTo>
                    <a:pt x="962" y="4162"/>
                  </a:lnTo>
                  <a:lnTo>
                    <a:pt x="981" y="4047"/>
                  </a:lnTo>
                  <a:lnTo>
                    <a:pt x="1011" y="3799"/>
                  </a:lnTo>
                  <a:lnTo>
                    <a:pt x="1032" y="3529"/>
                  </a:lnTo>
                  <a:lnTo>
                    <a:pt x="1043" y="3235"/>
                  </a:lnTo>
                  <a:lnTo>
                    <a:pt x="1043" y="3076"/>
                  </a:lnTo>
                  <a:close/>
                </a:path>
              </a:pathLst>
            </a:custGeom>
            <a:solidFill>
              <a:srgbClr val="EDD6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9" name="Freeform 66">
              <a:extLst>
                <a:ext uri="{FF2B5EF4-FFF2-40B4-BE49-F238E27FC236}">
                  <a16:creationId xmlns:a16="http://schemas.microsoft.com/office/drawing/2014/main" id="{96BB18AC-2F31-96E1-9565-26896CE1EF3B}"/>
                </a:ext>
              </a:extLst>
            </p:cNvPr>
            <p:cNvSpPr>
              <a:spLocks/>
            </p:cNvSpPr>
            <p:nvPr/>
          </p:nvSpPr>
          <p:spPr bwMode="auto">
            <a:xfrm>
              <a:off x="6237313" y="2140582"/>
              <a:ext cx="15701" cy="31403"/>
            </a:xfrm>
            <a:custGeom>
              <a:avLst/>
              <a:gdLst>
                <a:gd name="T0" fmla="*/ 62 w 62"/>
                <a:gd name="T1" fmla="*/ 0 h 128"/>
                <a:gd name="T2" fmla="*/ 31 w 62"/>
                <a:gd name="T3" fmla="*/ 64 h 128"/>
                <a:gd name="T4" fmla="*/ 0 w 62"/>
                <a:gd name="T5" fmla="*/ 128 h 128"/>
                <a:gd name="T6" fmla="*/ 31 w 62"/>
                <a:gd name="T7" fmla="*/ 64 h 128"/>
                <a:gd name="T8" fmla="*/ 62 w 62"/>
                <a:gd name="T9" fmla="*/ 0 h 128"/>
              </a:gdLst>
              <a:ahLst/>
              <a:cxnLst>
                <a:cxn ang="0">
                  <a:pos x="T0" y="T1"/>
                </a:cxn>
                <a:cxn ang="0">
                  <a:pos x="T2" y="T3"/>
                </a:cxn>
                <a:cxn ang="0">
                  <a:pos x="T4" y="T5"/>
                </a:cxn>
                <a:cxn ang="0">
                  <a:pos x="T6" y="T7"/>
                </a:cxn>
                <a:cxn ang="0">
                  <a:pos x="T8" y="T9"/>
                </a:cxn>
              </a:cxnLst>
              <a:rect l="0" t="0" r="r" b="b"/>
              <a:pathLst>
                <a:path w="62" h="128">
                  <a:moveTo>
                    <a:pt x="62" y="0"/>
                  </a:moveTo>
                  <a:lnTo>
                    <a:pt x="31" y="64"/>
                  </a:lnTo>
                  <a:lnTo>
                    <a:pt x="0" y="128"/>
                  </a:lnTo>
                  <a:lnTo>
                    <a:pt x="31" y="64"/>
                  </a:lnTo>
                  <a:lnTo>
                    <a:pt x="62" y="0"/>
                  </a:lnTo>
                  <a:close/>
                </a:path>
              </a:pathLst>
            </a:custGeom>
            <a:solidFill>
              <a:srgbClr val="FCFD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0" name="Freeform 68">
              <a:extLst>
                <a:ext uri="{FF2B5EF4-FFF2-40B4-BE49-F238E27FC236}">
                  <a16:creationId xmlns:a16="http://schemas.microsoft.com/office/drawing/2014/main" id="{092357E3-C591-C46F-F94E-3E90A034B445}"/>
                </a:ext>
              </a:extLst>
            </p:cNvPr>
            <p:cNvSpPr>
              <a:spLocks/>
            </p:cNvSpPr>
            <p:nvPr/>
          </p:nvSpPr>
          <p:spPr bwMode="auto">
            <a:xfrm>
              <a:off x="6253995" y="2106235"/>
              <a:ext cx="13739" cy="31403"/>
            </a:xfrm>
            <a:custGeom>
              <a:avLst/>
              <a:gdLst>
                <a:gd name="T0" fmla="*/ 58 w 58"/>
                <a:gd name="T1" fmla="*/ 0 h 131"/>
                <a:gd name="T2" fmla="*/ 30 w 58"/>
                <a:gd name="T3" fmla="*/ 66 h 131"/>
                <a:gd name="T4" fmla="*/ 0 w 58"/>
                <a:gd name="T5" fmla="*/ 131 h 131"/>
                <a:gd name="T6" fmla="*/ 30 w 58"/>
                <a:gd name="T7" fmla="*/ 66 h 131"/>
                <a:gd name="T8" fmla="*/ 58 w 58"/>
                <a:gd name="T9" fmla="*/ 0 h 131"/>
              </a:gdLst>
              <a:ahLst/>
              <a:cxnLst>
                <a:cxn ang="0">
                  <a:pos x="T0" y="T1"/>
                </a:cxn>
                <a:cxn ang="0">
                  <a:pos x="T2" y="T3"/>
                </a:cxn>
                <a:cxn ang="0">
                  <a:pos x="T4" y="T5"/>
                </a:cxn>
                <a:cxn ang="0">
                  <a:pos x="T6" y="T7"/>
                </a:cxn>
                <a:cxn ang="0">
                  <a:pos x="T8" y="T9"/>
                </a:cxn>
              </a:cxnLst>
              <a:rect l="0" t="0" r="r" b="b"/>
              <a:pathLst>
                <a:path w="58" h="131">
                  <a:moveTo>
                    <a:pt x="58" y="0"/>
                  </a:moveTo>
                  <a:lnTo>
                    <a:pt x="30" y="66"/>
                  </a:lnTo>
                  <a:lnTo>
                    <a:pt x="0" y="131"/>
                  </a:lnTo>
                  <a:lnTo>
                    <a:pt x="30" y="66"/>
                  </a:lnTo>
                  <a:lnTo>
                    <a:pt x="58" y="0"/>
                  </a:lnTo>
                  <a:close/>
                </a:path>
              </a:pathLst>
            </a:custGeom>
            <a:solidFill>
              <a:srgbClr val="FCFD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1" name="Freeform 69">
              <a:extLst>
                <a:ext uri="{FF2B5EF4-FFF2-40B4-BE49-F238E27FC236}">
                  <a16:creationId xmlns:a16="http://schemas.microsoft.com/office/drawing/2014/main" id="{35872814-9A0D-14F3-B768-8A84F9BF68F1}"/>
                </a:ext>
              </a:extLst>
            </p:cNvPr>
            <p:cNvSpPr>
              <a:spLocks/>
            </p:cNvSpPr>
            <p:nvPr/>
          </p:nvSpPr>
          <p:spPr bwMode="auto">
            <a:xfrm>
              <a:off x="6096000" y="854046"/>
              <a:ext cx="168790" cy="322861"/>
            </a:xfrm>
            <a:custGeom>
              <a:avLst/>
              <a:gdLst>
                <a:gd name="T0" fmla="*/ 37 w 688"/>
                <a:gd name="T1" fmla="*/ 53 h 1313"/>
                <a:gd name="T2" fmla="*/ 37 w 688"/>
                <a:gd name="T3" fmla="*/ 53 h 1313"/>
                <a:gd name="T4" fmla="*/ 37 w 688"/>
                <a:gd name="T5" fmla="*/ 53 h 1313"/>
                <a:gd name="T6" fmla="*/ 27 w 688"/>
                <a:gd name="T7" fmla="*/ 39 h 1313"/>
                <a:gd name="T8" fmla="*/ 19 w 688"/>
                <a:gd name="T9" fmla="*/ 27 h 1313"/>
                <a:gd name="T10" fmla="*/ 17 w 688"/>
                <a:gd name="T11" fmla="*/ 23 h 1313"/>
                <a:gd name="T12" fmla="*/ 14 w 688"/>
                <a:gd name="T13" fmla="*/ 21 h 1313"/>
                <a:gd name="T14" fmla="*/ 12 w 688"/>
                <a:gd name="T15" fmla="*/ 17 h 1313"/>
                <a:gd name="T16" fmla="*/ 9 w 688"/>
                <a:gd name="T17" fmla="*/ 14 h 1313"/>
                <a:gd name="T18" fmla="*/ 6 w 688"/>
                <a:gd name="T19" fmla="*/ 9 h 1313"/>
                <a:gd name="T20" fmla="*/ 4 w 688"/>
                <a:gd name="T21" fmla="*/ 5 h 1313"/>
                <a:gd name="T22" fmla="*/ 3 w 688"/>
                <a:gd name="T23" fmla="*/ 4 h 1313"/>
                <a:gd name="T24" fmla="*/ 1 w 688"/>
                <a:gd name="T25" fmla="*/ 3 h 1313"/>
                <a:gd name="T26" fmla="*/ 0 w 688"/>
                <a:gd name="T27" fmla="*/ 0 h 1313"/>
                <a:gd name="T28" fmla="*/ 0 w 688"/>
                <a:gd name="T29" fmla="*/ 0 h 1313"/>
                <a:gd name="T30" fmla="*/ 0 w 688"/>
                <a:gd name="T31" fmla="*/ 1313 h 1313"/>
                <a:gd name="T32" fmla="*/ 688 w 688"/>
                <a:gd name="T33" fmla="*/ 1313 h 1313"/>
                <a:gd name="T34" fmla="*/ 641 w 688"/>
                <a:gd name="T35" fmla="*/ 1192 h 1313"/>
                <a:gd name="T36" fmla="*/ 546 w 688"/>
                <a:gd name="T37" fmla="*/ 968 h 1313"/>
                <a:gd name="T38" fmla="*/ 448 w 688"/>
                <a:gd name="T39" fmla="*/ 763 h 1313"/>
                <a:gd name="T40" fmla="*/ 355 w 688"/>
                <a:gd name="T41" fmla="*/ 581 h 1313"/>
                <a:gd name="T42" fmla="*/ 223 w 688"/>
                <a:gd name="T43" fmla="*/ 343 h 1313"/>
                <a:gd name="T44" fmla="*/ 83 w 688"/>
                <a:gd name="T45" fmla="*/ 119 h 1313"/>
                <a:gd name="T46" fmla="*/ 37 w 688"/>
                <a:gd name="T47" fmla="*/ 53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88" h="1313">
                  <a:moveTo>
                    <a:pt x="37" y="53"/>
                  </a:moveTo>
                  <a:lnTo>
                    <a:pt x="37" y="53"/>
                  </a:lnTo>
                  <a:lnTo>
                    <a:pt x="37" y="53"/>
                  </a:lnTo>
                  <a:lnTo>
                    <a:pt x="27" y="39"/>
                  </a:lnTo>
                  <a:lnTo>
                    <a:pt x="19" y="27"/>
                  </a:lnTo>
                  <a:lnTo>
                    <a:pt x="17" y="23"/>
                  </a:lnTo>
                  <a:lnTo>
                    <a:pt x="14" y="21"/>
                  </a:lnTo>
                  <a:lnTo>
                    <a:pt x="12" y="17"/>
                  </a:lnTo>
                  <a:lnTo>
                    <a:pt x="9" y="14"/>
                  </a:lnTo>
                  <a:lnTo>
                    <a:pt x="6" y="9"/>
                  </a:lnTo>
                  <a:lnTo>
                    <a:pt x="4" y="5"/>
                  </a:lnTo>
                  <a:lnTo>
                    <a:pt x="3" y="4"/>
                  </a:lnTo>
                  <a:lnTo>
                    <a:pt x="1" y="3"/>
                  </a:lnTo>
                  <a:lnTo>
                    <a:pt x="0" y="0"/>
                  </a:lnTo>
                  <a:lnTo>
                    <a:pt x="0" y="0"/>
                  </a:lnTo>
                  <a:lnTo>
                    <a:pt x="0" y="1313"/>
                  </a:lnTo>
                  <a:lnTo>
                    <a:pt x="688" y="1313"/>
                  </a:lnTo>
                  <a:lnTo>
                    <a:pt x="641" y="1192"/>
                  </a:lnTo>
                  <a:lnTo>
                    <a:pt x="546" y="968"/>
                  </a:lnTo>
                  <a:lnTo>
                    <a:pt x="448" y="763"/>
                  </a:lnTo>
                  <a:lnTo>
                    <a:pt x="355" y="581"/>
                  </a:lnTo>
                  <a:lnTo>
                    <a:pt x="223" y="343"/>
                  </a:lnTo>
                  <a:lnTo>
                    <a:pt x="83" y="119"/>
                  </a:lnTo>
                  <a:lnTo>
                    <a:pt x="37" y="53"/>
                  </a:lnTo>
                  <a:close/>
                </a:path>
              </a:pathLst>
            </a:custGeom>
            <a:solidFill>
              <a:srgbClr val="C93C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Freeform 70">
              <a:extLst>
                <a:ext uri="{FF2B5EF4-FFF2-40B4-BE49-F238E27FC236}">
                  <a16:creationId xmlns:a16="http://schemas.microsoft.com/office/drawing/2014/main" id="{B8182CA7-82D7-F0FD-B112-7036DE4E159E}"/>
                </a:ext>
              </a:extLst>
            </p:cNvPr>
            <p:cNvSpPr>
              <a:spLocks/>
            </p:cNvSpPr>
            <p:nvPr/>
          </p:nvSpPr>
          <p:spPr bwMode="auto">
            <a:xfrm>
              <a:off x="6096000" y="1828516"/>
              <a:ext cx="171735" cy="605487"/>
            </a:xfrm>
            <a:custGeom>
              <a:avLst/>
              <a:gdLst>
                <a:gd name="T0" fmla="*/ 0 w 702"/>
                <a:gd name="T1" fmla="*/ 0 h 2468"/>
                <a:gd name="T2" fmla="*/ 0 w 702"/>
                <a:gd name="T3" fmla="*/ 1129 h 2468"/>
                <a:gd name="T4" fmla="*/ 0 w 702"/>
                <a:gd name="T5" fmla="*/ 1398 h 2468"/>
                <a:gd name="T6" fmla="*/ 0 w 702"/>
                <a:gd name="T7" fmla="*/ 1658 h 2468"/>
                <a:gd name="T8" fmla="*/ 0 w 702"/>
                <a:gd name="T9" fmla="*/ 2468 h 2468"/>
                <a:gd name="T10" fmla="*/ 9 w 702"/>
                <a:gd name="T11" fmla="*/ 2427 h 2468"/>
                <a:gd name="T12" fmla="*/ 56 w 702"/>
                <a:gd name="T13" fmla="*/ 2126 h 2468"/>
                <a:gd name="T14" fmla="*/ 88 w 702"/>
                <a:gd name="T15" fmla="*/ 1832 h 2468"/>
                <a:gd name="T16" fmla="*/ 101 w 702"/>
                <a:gd name="T17" fmla="*/ 1658 h 2468"/>
                <a:gd name="T18" fmla="*/ 109 w 702"/>
                <a:gd name="T19" fmla="*/ 1532 h 2468"/>
                <a:gd name="T20" fmla="*/ 114 w 702"/>
                <a:gd name="T21" fmla="*/ 1398 h 2468"/>
                <a:gd name="T22" fmla="*/ 577 w 702"/>
                <a:gd name="T23" fmla="*/ 1398 h 2468"/>
                <a:gd name="T24" fmla="*/ 578 w 702"/>
                <a:gd name="T25" fmla="*/ 1398 h 2468"/>
                <a:gd name="T26" fmla="*/ 609 w 702"/>
                <a:gd name="T27" fmla="*/ 1334 h 2468"/>
                <a:gd name="T28" fmla="*/ 640 w 702"/>
                <a:gd name="T29" fmla="*/ 1270 h 2468"/>
                <a:gd name="T30" fmla="*/ 641 w 702"/>
                <a:gd name="T31" fmla="*/ 1265 h 2468"/>
                <a:gd name="T32" fmla="*/ 644 w 702"/>
                <a:gd name="T33" fmla="*/ 1260 h 2468"/>
                <a:gd name="T34" fmla="*/ 674 w 702"/>
                <a:gd name="T35" fmla="*/ 1195 h 2468"/>
                <a:gd name="T36" fmla="*/ 702 w 702"/>
                <a:gd name="T37" fmla="*/ 1129 h 2468"/>
                <a:gd name="T38" fmla="*/ 702 w 702"/>
                <a:gd name="T39" fmla="*/ 1129 h 2468"/>
                <a:gd name="T40" fmla="*/ 702 w 702"/>
                <a:gd name="T41" fmla="*/ 1129 h 2468"/>
                <a:gd name="T42" fmla="*/ 115 w 702"/>
                <a:gd name="T43" fmla="*/ 1129 h 2468"/>
                <a:gd name="T44" fmla="*/ 111 w 702"/>
                <a:gd name="T45" fmla="*/ 897 h 2468"/>
                <a:gd name="T46" fmla="*/ 93 w 702"/>
                <a:gd name="T47" fmla="*/ 490 h 2468"/>
                <a:gd name="T48" fmla="*/ 70 w 702"/>
                <a:gd name="T49" fmla="*/ 254 h 2468"/>
                <a:gd name="T50" fmla="*/ 53 w 702"/>
                <a:gd name="T51" fmla="*/ 134 h 2468"/>
                <a:gd name="T52" fmla="*/ 32 w 702"/>
                <a:gd name="T53" fmla="*/ 50 h 2468"/>
                <a:gd name="T54" fmla="*/ 17 w 702"/>
                <a:gd name="T55" fmla="*/ 13 h 2468"/>
                <a:gd name="T56" fmla="*/ 5 w 702"/>
                <a:gd name="T57" fmla="*/ 2 h 2468"/>
                <a:gd name="T58" fmla="*/ 0 w 702"/>
                <a:gd name="T59" fmla="*/ 0 h 2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02" h="2468">
                  <a:moveTo>
                    <a:pt x="0" y="0"/>
                  </a:moveTo>
                  <a:lnTo>
                    <a:pt x="0" y="1129"/>
                  </a:lnTo>
                  <a:lnTo>
                    <a:pt x="0" y="1398"/>
                  </a:lnTo>
                  <a:lnTo>
                    <a:pt x="0" y="1658"/>
                  </a:lnTo>
                  <a:lnTo>
                    <a:pt x="0" y="2468"/>
                  </a:lnTo>
                  <a:lnTo>
                    <a:pt x="9" y="2427"/>
                  </a:lnTo>
                  <a:lnTo>
                    <a:pt x="56" y="2126"/>
                  </a:lnTo>
                  <a:lnTo>
                    <a:pt x="88" y="1832"/>
                  </a:lnTo>
                  <a:lnTo>
                    <a:pt x="101" y="1658"/>
                  </a:lnTo>
                  <a:lnTo>
                    <a:pt x="109" y="1532"/>
                  </a:lnTo>
                  <a:lnTo>
                    <a:pt x="114" y="1398"/>
                  </a:lnTo>
                  <a:lnTo>
                    <a:pt x="577" y="1398"/>
                  </a:lnTo>
                  <a:lnTo>
                    <a:pt x="578" y="1398"/>
                  </a:lnTo>
                  <a:lnTo>
                    <a:pt x="609" y="1334"/>
                  </a:lnTo>
                  <a:lnTo>
                    <a:pt x="640" y="1270"/>
                  </a:lnTo>
                  <a:lnTo>
                    <a:pt x="641" y="1265"/>
                  </a:lnTo>
                  <a:lnTo>
                    <a:pt x="644" y="1260"/>
                  </a:lnTo>
                  <a:lnTo>
                    <a:pt x="674" y="1195"/>
                  </a:lnTo>
                  <a:lnTo>
                    <a:pt x="702" y="1129"/>
                  </a:lnTo>
                  <a:lnTo>
                    <a:pt x="702" y="1129"/>
                  </a:lnTo>
                  <a:lnTo>
                    <a:pt x="702" y="1129"/>
                  </a:lnTo>
                  <a:lnTo>
                    <a:pt x="115" y="1129"/>
                  </a:lnTo>
                  <a:lnTo>
                    <a:pt x="111" y="897"/>
                  </a:lnTo>
                  <a:lnTo>
                    <a:pt x="93" y="490"/>
                  </a:lnTo>
                  <a:lnTo>
                    <a:pt x="70" y="254"/>
                  </a:lnTo>
                  <a:lnTo>
                    <a:pt x="53" y="134"/>
                  </a:lnTo>
                  <a:lnTo>
                    <a:pt x="32" y="50"/>
                  </a:lnTo>
                  <a:lnTo>
                    <a:pt x="17" y="13"/>
                  </a:lnTo>
                  <a:lnTo>
                    <a:pt x="5" y="2"/>
                  </a:lnTo>
                  <a:lnTo>
                    <a:pt x="0" y="0"/>
                  </a:lnTo>
                  <a:close/>
                </a:path>
              </a:pathLst>
            </a:custGeom>
            <a:solidFill>
              <a:srgbClr val="0045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Freeform 71">
              <a:extLst>
                <a:ext uri="{FF2B5EF4-FFF2-40B4-BE49-F238E27FC236}">
                  <a16:creationId xmlns:a16="http://schemas.microsoft.com/office/drawing/2014/main" id="{8D765D5C-92B3-DE6C-0429-764771EB271B}"/>
                </a:ext>
              </a:extLst>
            </p:cNvPr>
            <p:cNvSpPr>
              <a:spLocks/>
            </p:cNvSpPr>
            <p:nvPr/>
          </p:nvSpPr>
          <p:spPr bwMode="auto">
            <a:xfrm>
              <a:off x="6096000" y="1315275"/>
              <a:ext cx="120705" cy="241409"/>
            </a:xfrm>
            <a:custGeom>
              <a:avLst/>
              <a:gdLst>
                <a:gd name="T0" fmla="*/ 491 w 491"/>
                <a:gd name="T1" fmla="*/ 493 h 984"/>
                <a:gd name="T2" fmla="*/ 490 w 491"/>
                <a:gd name="T3" fmla="*/ 441 h 984"/>
                <a:gd name="T4" fmla="*/ 470 w 491"/>
                <a:gd name="T5" fmla="*/ 345 h 984"/>
                <a:gd name="T6" fmla="*/ 433 w 491"/>
                <a:gd name="T7" fmla="*/ 257 h 984"/>
                <a:gd name="T8" fmla="*/ 380 w 491"/>
                <a:gd name="T9" fmla="*/ 179 h 984"/>
                <a:gd name="T10" fmla="*/ 314 w 491"/>
                <a:gd name="T11" fmla="*/ 112 h 984"/>
                <a:gd name="T12" fmla="*/ 235 w 491"/>
                <a:gd name="T13" fmla="*/ 59 h 984"/>
                <a:gd name="T14" fmla="*/ 146 w 491"/>
                <a:gd name="T15" fmla="*/ 21 h 984"/>
                <a:gd name="T16" fmla="*/ 50 w 491"/>
                <a:gd name="T17" fmla="*/ 2 h 984"/>
                <a:gd name="T18" fmla="*/ 0 w 491"/>
                <a:gd name="T19" fmla="*/ 0 h 984"/>
                <a:gd name="T20" fmla="*/ 0 w 491"/>
                <a:gd name="T21" fmla="*/ 129 h 984"/>
                <a:gd name="T22" fmla="*/ 37 w 491"/>
                <a:gd name="T23" fmla="*/ 130 h 984"/>
                <a:gd name="T24" fmla="*/ 107 w 491"/>
                <a:gd name="T25" fmla="*/ 146 h 984"/>
                <a:gd name="T26" fmla="*/ 174 w 491"/>
                <a:gd name="T27" fmla="*/ 173 h 984"/>
                <a:gd name="T28" fmla="*/ 231 w 491"/>
                <a:gd name="T29" fmla="*/ 212 h 984"/>
                <a:gd name="T30" fmla="*/ 280 w 491"/>
                <a:gd name="T31" fmla="*/ 261 h 984"/>
                <a:gd name="T32" fmla="*/ 319 w 491"/>
                <a:gd name="T33" fmla="*/ 319 h 984"/>
                <a:gd name="T34" fmla="*/ 347 w 491"/>
                <a:gd name="T35" fmla="*/ 384 h 984"/>
                <a:gd name="T36" fmla="*/ 362 w 491"/>
                <a:gd name="T37" fmla="*/ 455 h 984"/>
                <a:gd name="T38" fmla="*/ 363 w 491"/>
                <a:gd name="T39" fmla="*/ 493 h 984"/>
                <a:gd name="T40" fmla="*/ 362 w 491"/>
                <a:gd name="T41" fmla="*/ 529 h 984"/>
                <a:gd name="T42" fmla="*/ 347 w 491"/>
                <a:gd name="T43" fmla="*/ 600 h 984"/>
                <a:gd name="T44" fmla="*/ 319 w 491"/>
                <a:gd name="T45" fmla="*/ 665 h 984"/>
                <a:gd name="T46" fmla="*/ 280 w 491"/>
                <a:gd name="T47" fmla="*/ 724 h 984"/>
                <a:gd name="T48" fmla="*/ 231 w 491"/>
                <a:gd name="T49" fmla="*/ 773 h 984"/>
                <a:gd name="T50" fmla="*/ 174 w 491"/>
                <a:gd name="T51" fmla="*/ 812 h 984"/>
                <a:gd name="T52" fmla="*/ 107 w 491"/>
                <a:gd name="T53" fmla="*/ 839 h 984"/>
                <a:gd name="T54" fmla="*/ 37 w 491"/>
                <a:gd name="T55" fmla="*/ 854 h 984"/>
                <a:gd name="T56" fmla="*/ 0 w 491"/>
                <a:gd name="T57" fmla="*/ 856 h 984"/>
                <a:gd name="T58" fmla="*/ 0 w 491"/>
                <a:gd name="T59" fmla="*/ 984 h 984"/>
                <a:gd name="T60" fmla="*/ 50 w 491"/>
                <a:gd name="T61" fmla="*/ 983 h 984"/>
                <a:gd name="T62" fmla="*/ 146 w 491"/>
                <a:gd name="T63" fmla="*/ 963 h 984"/>
                <a:gd name="T64" fmla="*/ 235 w 491"/>
                <a:gd name="T65" fmla="*/ 926 h 984"/>
                <a:gd name="T66" fmla="*/ 314 w 491"/>
                <a:gd name="T67" fmla="*/ 873 h 984"/>
                <a:gd name="T68" fmla="*/ 380 w 491"/>
                <a:gd name="T69" fmla="*/ 805 h 984"/>
                <a:gd name="T70" fmla="*/ 433 w 491"/>
                <a:gd name="T71" fmla="*/ 727 h 984"/>
                <a:gd name="T72" fmla="*/ 470 w 491"/>
                <a:gd name="T73" fmla="*/ 639 h 984"/>
                <a:gd name="T74" fmla="*/ 490 w 491"/>
                <a:gd name="T75" fmla="*/ 543 h 984"/>
                <a:gd name="T76" fmla="*/ 491 w 491"/>
                <a:gd name="T77" fmla="*/ 493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1" h="984">
                  <a:moveTo>
                    <a:pt x="491" y="493"/>
                  </a:moveTo>
                  <a:lnTo>
                    <a:pt x="490" y="441"/>
                  </a:lnTo>
                  <a:lnTo>
                    <a:pt x="470" y="345"/>
                  </a:lnTo>
                  <a:lnTo>
                    <a:pt x="433" y="257"/>
                  </a:lnTo>
                  <a:lnTo>
                    <a:pt x="380" y="179"/>
                  </a:lnTo>
                  <a:lnTo>
                    <a:pt x="314" y="112"/>
                  </a:lnTo>
                  <a:lnTo>
                    <a:pt x="235" y="59"/>
                  </a:lnTo>
                  <a:lnTo>
                    <a:pt x="146" y="21"/>
                  </a:lnTo>
                  <a:lnTo>
                    <a:pt x="50" y="2"/>
                  </a:lnTo>
                  <a:lnTo>
                    <a:pt x="0" y="0"/>
                  </a:lnTo>
                  <a:lnTo>
                    <a:pt x="0" y="129"/>
                  </a:lnTo>
                  <a:lnTo>
                    <a:pt x="37" y="130"/>
                  </a:lnTo>
                  <a:lnTo>
                    <a:pt x="107" y="146"/>
                  </a:lnTo>
                  <a:lnTo>
                    <a:pt x="174" y="173"/>
                  </a:lnTo>
                  <a:lnTo>
                    <a:pt x="231" y="212"/>
                  </a:lnTo>
                  <a:lnTo>
                    <a:pt x="280" y="261"/>
                  </a:lnTo>
                  <a:lnTo>
                    <a:pt x="319" y="319"/>
                  </a:lnTo>
                  <a:lnTo>
                    <a:pt x="347" y="384"/>
                  </a:lnTo>
                  <a:lnTo>
                    <a:pt x="362" y="455"/>
                  </a:lnTo>
                  <a:lnTo>
                    <a:pt x="363" y="493"/>
                  </a:lnTo>
                  <a:lnTo>
                    <a:pt x="362" y="529"/>
                  </a:lnTo>
                  <a:lnTo>
                    <a:pt x="347" y="600"/>
                  </a:lnTo>
                  <a:lnTo>
                    <a:pt x="319" y="665"/>
                  </a:lnTo>
                  <a:lnTo>
                    <a:pt x="280" y="724"/>
                  </a:lnTo>
                  <a:lnTo>
                    <a:pt x="231" y="773"/>
                  </a:lnTo>
                  <a:lnTo>
                    <a:pt x="174" y="812"/>
                  </a:lnTo>
                  <a:lnTo>
                    <a:pt x="107" y="839"/>
                  </a:lnTo>
                  <a:lnTo>
                    <a:pt x="37" y="854"/>
                  </a:lnTo>
                  <a:lnTo>
                    <a:pt x="0" y="856"/>
                  </a:lnTo>
                  <a:lnTo>
                    <a:pt x="0" y="984"/>
                  </a:lnTo>
                  <a:lnTo>
                    <a:pt x="50" y="983"/>
                  </a:lnTo>
                  <a:lnTo>
                    <a:pt x="146" y="963"/>
                  </a:lnTo>
                  <a:lnTo>
                    <a:pt x="235" y="926"/>
                  </a:lnTo>
                  <a:lnTo>
                    <a:pt x="314" y="873"/>
                  </a:lnTo>
                  <a:lnTo>
                    <a:pt x="380" y="805"/>
                  </a:lnTo>
                  <a:lnTo>
                    <a:pt x="433" y="727"/>
                  </a:lnTo>
                  <a:lnTo>
                    <a:pt x="470" y="639"/>
                  </a:lnTo>
                  <a:lnTo>
                    <a:pt x="490" y="543"/>
                  </a:lnTo>
                  <a:lnTo>
                    <a:pt x="491" y="493"/>
                  </a:lnTo>
                  <a:close/>
                </a:path>
              </a:pathLst>
            </a:custGeom>
            <a:solidFill>
              <a:srgbClr val="FF4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72">
              <a:extLst>
                <a:ext uri="{FF2B5EF4-FFF2-40B4-BE49-F238E27FC236}">
                  <a16:creationId xmlns:a16="http://schemas.microsoft.com/office/drawing/2014/main" id="{F217086B-BF89-1D76-EB86-14B165DC9EE0}"/>
                </a:ext>
              </a:extLst>
            </p:cNvPr>
            <p:cNvSpPr>
              <a:spLocks/>
            </p:cNvSpPr>
            <p:nvPr/>
          </p:nvSpPr>
          <p:spPr bwMode="auto">
            <a:xfrm>
              <a:off x="6096000" y="1346679"/>
              <a:ext cx="88320" cy="178604"/>
            </a:xfrm>
            <a:custGeom>
              <a:avLst/>
              <a:gdLst>
                <a:gd name="T0" fmla="*/ 363 w 363"/>
                <a:gd name="T1" fmla="*/ 364 h 727"/>
                <a:gd name="T2" fmla="*/ 362 w 363"/>
                <a:gd name="T3" fmla="*/ 326 h 727"/>
                <a:gd name="T4" fmla="*/ 347 w 363"/>
                <a:gd name="T5" fmla="*/ 255 h 727"/>
                <a:gd name="T6" fmla="*/ 319 w 363"/>
                <a:gd name="T7" fmla="*/ 190 h 727"/>
                <a:gd name="T8" fmla="*/ 280 w 363"/>
                <a:gd name="T9" fmla="*/ 132 h 727"/>
                <a:gd name="T10" fmla="*/ 231 w 363"/>
                <a:gd name="T11" fmla="*/ 83 h 727"/>
                <a:gd name="T12" fmla="*/ 174 w 363"/>
                <a:gd name="T13" fmla="*/ 44 h 727"/>
                <a:gd name="T14" fmla="*/ 107 w 363"/>
                <a:gd name="T15" fmla="*/ 17 h 727"/>
                <a:gd name="T16" fmla="*/ 37 w 363"/>
                <a:gd name="T17" fmla="*/ 1 h 727"/>
                <a:gd name="T18" fmla="*/ 0 w 363"/>
                <a:gd name="T19" fmla="*/ 0 h 727"/>
                <a:gd name="T20" fmla="*/ 0 w 363"/>
                <a:gd name="T21" fmla="*/ 727 h 727"/>
                <a:gd name="T22" fmla="*/ 37 w 363"/>
                <a:gd name="T23" fmla="*/ 725 h 727"/>
                <a:gd name="T24" fmla="*/ 107 w 363"/>
                <a:gd name="T25" fmla="*/ 710 h 727"/>
                <a:gd name="T26" fmla="*/ 174 w 363"/>
                <a:gd name="T27" fmla="*/ 683 h 727"/>
                <a:gd name="T28" fmla="*/ 231 w 363"/>
                <a:gd name="T29" fmla="*/ 644 h 727"/>
                <a:gd name="T30" fmla="*/ 280 w 363"/>
                <a:gd name="T31" fmla="*/ 595 h 727"/>
                <a:gd name="T32" fmla="*/ 319 w 363"/>
                <a:gd name="T33" fmla="*/ 536 h 727"/>
                <a:gd name="T34" fmla="*/ 347 w 363"/>
                <a:gd name="T35" fmla="*/ 471 h 727"/>
                <a:gd name="T36" fmla="*/ 362 w 363"/>
                <a:gd name="T37" fmla="*/ 400 h 727"/>
                <a:gd name="T38" fmla="*/ 363 w 363"/>
                <a:gd name="T39" fmla="*/ 36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3" h="727">
                  <a:moveTo>
                    <a:pt x="363" y="364"/>
                  </a:moveTo>
                  <a:lnTo>
                    <a:pt x="362" y="326"/>
                  </a:lnTo>
                  <a:lnTo>
                    <a:pt x="347" y="255"/>
                  </a:lnTo>
                  <a:lnTo>
                    <a:pt x="319" y="190"/>
                  </a:lnTo>
                  <a:lnTo>
                    <a:pt x="280" y="132"/>
                  </a:lnTo>
                  <a:lnTo>
                    <a:pt x="231" y="83"/>
                  </a:lnTo>
                  <a:lnTo>
                    <a:pt x="174" y="44"/>
                  </a:lnTo>
                  <a:lnTo>
                    <a:pt x="107" y="17"/>
                  </a:lnTo>
                  <a:lnTo>
                    <a:pt x="37" y="1"/>
                  </a:lnTo>
                  <a:lnTo>
                    <a:pt x="0" y="0"/>
                  </a:lnTo>
                  <a:lnTo>
                    <a:pt x="0" y="727"/>
                  </a:lnTo>
                  <a:lnTo>
                    <a:pt x="37" y="725"/>
                  </a:lnTo>
                  <a:lnTo>
                    <a:pt x="107" y="710"/>
                  </a:lnTo>
                  <a:lnTo>
                    <a:pt x="174" y="683"/>
                  </a:lnTo>
                  <a:lnTo>
                    <a:pt x="231" y="644"/>
                  </a:lnTo>
                  <a:lnTo>
                    <a:pt x="280" y="595"/>
                  </a:lnTo>
                  <a:lnTo>
                    <a:pt x="319" y="536"/>
                  </a:lnTo>
                  <a:lnTo>
                    <a:pt x="347" y="471"/>
                  </a:lnTo>
                  <a:lnTo>
                    <a:pt x="362" y="400"/>
                  </a:lnTo>
                  <a:lnTo>
                    <a:pt x="363" y="364"/>
                  </a:lnTo>
                  <a:close/>
                </a:path>
              </a:pathLst>
            </a:custGeom>
            <a:solidFill>
              <a:srgbClr val="4092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35" name="Oval 34">
            <a:extLst>
              <a:ext uri="{FF2B5EF4-FFF2-40B4-BE49-F238E27FC236}">
                <a16:creationId xmlns:a16="http://schemas.microsoft.com/office/drawing/2014/main" id="{FE5035EE-034E-9591-51D8-A2E487100B80}"/>
              </a:ext>
            </a:extLst>
          </p:cNvPr>
          <p:cNvSpPr/>
          <p:nvPr/>
        </p:nvSpPr>
        <p:spPr>
          <a:xfrm>
            <a:off x="3676175" y="4472945"/>
            <a:ext cx="994299" cy="994299"/>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a:ea typeface="+mn-ea"/>
                <a:cs typeface="+mn-cs"/>
              </a:rPr>
              <a:t>01</a:t>
            </a:r>
          </a:p>
        </p:txBody>
      </p:sp>
      <p:sp>
        <p:nvSpPr>
          <p:cNvPr id="36" name="Oval 35">
            <a:extLst>
              <a:ext uri="{FF2B5EF4-FFF2-40B4-BE49-F238E27FC236}">
                <a16:creationId xmlns:a16="http://schemas.microsoft.com/office/drawing/2014/main" id="{0FDDC7F3-5FD1-CBCE-3F8A-BD18A2617CA8}"/>
              </a:ext>
            </a:extLst>
          </p:cNvPr>
          <p:cNvSpPr/>
          <p:nvPr/>
        </p:nvSpPr>
        <p:spPr>
          <a:xfrm>
            <a:off x="4489343" y="3369240"/>
            <a:ext cx="994299" cy="994299"/>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a:ea typeface="+mn-ea"/>
                <a:cs typeface="+mn-cs"/>
              </a:rPr>
              <a:t>02</a:t>
            </a:r>
          </a:p>
        </p:txBody>
      </p:sp>
      <p:sp>
        <p:nvSpPr>
          <p:cNvPr id="37" name="Oval 36">
            <a:extLst>
              <a:ext uri="{FF2B5EF4-FFF2-40B4-BE49-F238E27FC236}">
                <a16:creationId xmlns:a16="http://schemas.microsoft.com/office/drawing/2014/main" id="{33FE1882-B10E-91BD-DB38-F8C265C51B87}"/>
              </a:ext>
            </a:extLst>
          </p:cNvPr>
          <p:cNvSpPr/>
          <p:nvPr/>
        </p:nvSpPr>
        <p:spPr>
          <a:xfrm>
            <a:off x="5513600" y="2465819"/>
            <a:ext cx="994299" cy="994299"/>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a:ea typeface="+mn-ea"/>
                <a:cs typeface="+mn-cs"/>
              </a:rPr>
              <a:t>03</a:t>
            </a:r>
          </a:p>
        </p:txBody>
      </p:sp>
      <p:sp>
        <p:nvSpPr>
          <p:cNvPr id="38" name="Oval 37">
            <a:extLst>
              <a:ext uri="{FF2B5EF4-FFF2-40B4-BE49-F238E27FC236}">
                <a16:creationId xmlns:a16="http://schemas.microsoft.com/office/drawing/2014/main" id="{20E6EB48-819C-7C6C-5461-7590EECFE690}"/>
              </a:ext>
            </a:extLst>
          </p:cNvPr>
          <p:cNvSpPr/>
          <p:nvPr/>
        </p:nvSpPr>
        <p:spPr>
          <a:xfrm>
            <a:off x="6663105" y="1649073"/>
            <a:ext cx="994299" cy="994299"/>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a:ea typeface="+mn-ea"/>
                <a:cs typeface="+mn-cs"/>
              </a:rPr>
              <a:t>04</a:t>
            </a:r>
          </a:p>
        </p:txBody>
      </p:sp>
      <p:grpSp>
        <p:nvGrpSpPr>
          <p:cNvPr id="39" name="Group 38">
            <a:extLst>
              <a:ext uri="{FF2B5EF4-FFF2-40B4-BE49-F238E27FC236}">
                <a16:creationId xmlns:a16="http://schemas.microsoft.com/office/drawing/2014/main" id="{31E16CCC-EFE3-E661-564F-7CFD5EBEC4DA}"/>
              </a:ext>
            </a:extLst>
          </p:cNvPr>
          <p:cNvGrpSpPr/>
          <p:nvPr/>
        </p:nvGrpSpPr>
        <p:grpSpPr>
          <a:xfrm>
            <a:off x="338439" y="3571313"/>
            <a:ext cx="3405579" cy="1844151"/>
            <a:chOff x="332936" y="2577912"/>
            <a:chExt cx="2926080" cy="1844151"/>
          </a:xfrm>
        </p:grpSpPr>
        <p:sp>
          <p:nvSpPr>
            <p:cNvPr id="40" name="TextBox 39">
              <a:extLst>
                <a:ext uri="{FF2B5EF4-FFF2-40B4-BE49-F238E27FC236}">
                  <a16:creationId xmlns:a16="http://schemas.microsoft.com/office/drawing/2014/main" id="{C22E0559-6A4B-9BA6-810B-01C7D58EF7F4}"/>
                </a:ext>
              </a:extLst>
            </p:cNvPr>
            <p:cNvSpPr txBox="1"/>
            <p:nvPr/>
          </p:nvSpPr>
          <p:spPr>
            <a:xfrm>
              <a:off x="332936" y="2577912"/>
              <a:ext cx="2926080" cy="830997"/>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0000"/>
                  </a:solidFill>
                  <a:effectLst/>
                  <a:uLnTx/>
                  <a:uFillTx/>
                  <a:latin typeface="Arial"/>
                  <a:ea typeface="+mn-ea"/>
                  <a:cs typeface="+mn-cs"/>
                </a:rPr>
                <a:t>Input/Output Parameters</a:t>
              </a:r>
            </a:p>
          </p:txBody>
        </p:sp>
        <p:sp>
          <p:nvSpPr>
            <p:cNvPr id="41" name="TextBox 40">
              <a:extLst>
                <a:ext uri="{FF2B5EF4-FFF2-40B4-BE49-F238E27FC236}">
                  <a16:creationId xmlns:a16="http://schemas.microsoft.com/office/drawing/2014/main" id="{BE9AC95E-1893-9BF3-177E-B829AAFA24A8}"/>
                </a:ext>
              </a:extLst>
            </p:cNvPr>
            <p:cNvSpPr txBox="1"/>
            <p:nvPr/>
          </p:nvSpPr>
          <p:spPr>
            <a:xfrm>
              <a:off x="332937" y="3406400"/>
              <a:ext cx="2711569" cy="1015663"/>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231F20">
                      <a:lumMod val="65000"/>
                      <a:lumOff val="35000"/>
                    </a:srgbClr>
                  </a:solidFill>
                  <a:effectLst/>
                  <a:uLnTx/>
                  <a:uFillTx/>
                  <a:latin typeface="Arial"/>
                  <a:ea typeface="+mn-ea"/>
                  <a:cs typeface="+mn-cs"/>
                </a:rPr>
                <a:t>Exactly what the tool needs to function and what the tool retur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1">
                <a:ln>
                  <a:noFill/>
                </a:ln>
                <a:solidFill>
                  <a:srgbClr val="231F2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1">
                  <a:ln>
                    <a:noFill/>
                  </a:ln>
                  <a:solidFill>
                    <a:srgbClr val="231F20">
                      <a:lumMod val="65000"/>
                      <a:lumOff val="35000"/>
                    </a:srgbClr>
                  </a:solidFill>
                  <a:effectLst/>
                  <a:uLnTx/>
                  <a:uFillTx/>
                  <a:latin typeface="Arial"/>
                  <a:ea typeface="+mn-ea"/>
                  <a:cs typeface="+mn-cs"/>
                </a:rPr>
                <a:t>Ex: As input you will receive the account number.</a:t>
              </a:r>
            </a:p>
          </p:txBody>
        </p:sp>
      </p:grpSp>
      <p:grpSp>
        <p:nvGrpSpPr>
          <p:cNvPr id="42" name="Group 41">
            <a:extLst>
              <a:ext uri="{FF2B5EF4-FFF2-40B4-BE49-F238E27FC236}">
                <a16:creationId xmlns:a16="http://schemas.microsoft.com/office/drawing/2014/main" id="{E4B8B180-FDAE-DD59-7389-B3F2297FFD20}"/>
              </a:ext>
            </a:extLst>
          </p:cNvPr>
          <p:cNvGrpSpPr/>
          <p:nvPr/>
        </p:nvGrpSpPr>
        <p:grpSpPr>
          <a:xfrm>
            <a:off x="2225686" y="1672815"/>
            <a:ext cx="2926080" cy="1844151"/>
            <a:chOff x="332936" y="2947244"/>
            <a:chExt cx="2926080" cy="1844151"/>
          </a:xfrm>
        </p:grpSpPr>
        <p:sp>
          <p:nvSpPr>
            <p:cNvPr id="43" name="TextBox 42">
              <a:extLst>
                <a:ext uri="{FF2B5EF4-FFF2-40B4-BE49-F238E27FC236}">
                  <a16:creationId xmlns:a16="http://schemas.microsoft.com/office/drawing/2014/main" id="{6A0F4281-8401-6FC7-C0CC-471AA45D78B0}"/>
                </a:ext>
              </a:extLst>
            </p:cNvPr>
            <p:cNvSpPr txBox="1"/>
            <p:nvPr/>
          </p:nvSpPr>
          <p:spPr>
            <a:xfrm>
              <a:off x="332936" y="2947244"/>
              <a:ext cx="2926080" cy="461665"/>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9FF75">
                      <a:lumMod val="75000"/>
                    </a:srgbClr>
                  </a:solidFill>
                  <a:effectLst/>
                  <a:uLnTx/>
                  <a:uFillTx/>
                  <a:latin typeface="Arial"/>
                  <a:ea typeface="+mn-ea"/>
                  <a:cs typeface="+mn-cs"/>
                </a:rPr>
                <a:t>Tool Identity</a:t>
              </a:r>
            </a:p>
          </p:txBody>
        </p:sp>
        <p:sp>
          <p:nvSpPr>
            <p:cNvPr id="44" name="TextBox 43">
              <a:extLst>
                <a:ext uri="{FF2B5EF4-FFF2-40B4-BE49-F238E27FC236}">
                  <a16:creationId xmlns:a16="http://schemas.microsoft.com/office/drawing/2014/main" id="{7A3A9427-AFA6-7E76-D199-CC725675AEDF}"/>
                </a:ext>
              </a:extLst>
            </p:cNvPr>
            <p:cNvSpPr txBox="1"/>
            <p:nvPr/>
          </p:nvSpPr>
          <p:spPr>
            <a:xfrm>
              <a:off x="332936" y="3406400"/>
              <a:ext cx="2926080" cy="138499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231F20">
                      <a:lumMod val="65000"/>
                      <a:lumOff val="35000"/>
                    </a:srgbClr>
                  </a:solidFill>
                  <a:effectLst/>
                  <a:uLnTx/>
                  <a:uFillTx/>
                  <a:latin typeface="Arial"/>
                  <a:ea typeface="+mn-ea"/>
                  <a:cs typeface="+mn-cs"/>
                </a:rPr>
                <a:t>A unique and descriptiove name and clear purpo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1">
                <a:ln>
                  <a:noFill/>
                </a:ln>
                <a:solidFill>
                  <a:srgbClr val="231F2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1">
                  <a:ln>
                    <a:noFill/>
                  </a:ln>
                  <a:solidFill>
                    <a:srgbClr val="231F20">
                      <a:lumMod val="65000"/>
                      <a:lumOff val="35000"/>
                    </a:srgbClr>
                  </a:solidFill>
                  <a:effectLst/>
                  <a:uLnTx/>
                  <a:uFillTx/>
                  <a:latin typeface="Arial"/>
                  <a:ea typeface="+mn-ea"/>
                  <a:cs typeface="+mn-cs"/>
                </a:rPr>
                <a:t>Ex: Instruction: Use the CheckBalance API to verify a sufficient account balance according to the account terms and conditions.</a:t>
              </a:r>
            </a:p>
          </p:txBody>
        </p:sp>
      </p:grpSp>
      <p:grpSp>
        <p:nvGrpSpPr>
          <p:cNvPr id="45" name="Group 44">
            <a:extLst>
              <a:ext uri="{FF2B5EF4-FFF2-40B4-BE49-F238E27FC236}">
                <a16:creationId xmlns:a16="http://schemas.microsoft.com/office/drawing/2014/main" id="{456A46FB-994D-D1FE-B900-F209C340F11D}"/>
              </a:ext>
            </a:extLst>
          </p:cNvPr>
          <p:cNvGrpSpPr/>
          <p:nvPr/>
        </p:nvGrpSpPr>
        <p:grpSpPr>
          <a:xfrm>
            <a:off x="7801862" y="2256382"/>
            <a:ext cx="4051697" cy="1474819"/>
            <a:chOff x="8921977" y="2947244"/>
            <a:chExt cx="2926080" cy="1474819"/>
          </a:xfrm>
        </p:grpSpPr>
        <p:sp>
          <p:nvSpPr>
            <p:cNvPr id="46" name="TextBox 45">
              <a:extLst>
                <a:ext uri="{FF2B5EF4-FFF2-40B4-BE49-F238E27FC236}">
                  <a16:creationId xmlns:a16="http://schemas.microsoft.com/office/drawing/2014/main" id="{960E3814-0F86-0DF2-86AD-31FF0F621B56}"/>
                </a:ext>
              </a:extLst>
            </p:cNvPr>
            <p:cNvSpPr txBox="1"/>
            <p:nvPr/>
          </p:nvSpPr>
          <p:spPr>
            <a:xfrm>
              <a:off x="8921977" y="2947244"/>
              <a:ext cx="2926080" cy="461665"/>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003422">
                      <a:lumMod val="75000"/>
                    </a:srgbClr>
                  </a:solidFill>
                  <a:effectLst/>
                  <a:uLnTx/>
                  <a:uFillTx/>
                  <a:latin typeface="Arial"/>
                  <a:ea typeface="+mn-ea"/>
                  <a:cs typeface="+mn-cs"/>
                </a:rPr>
                <a:t>Error Handling</a:t>
              </a:r>
            </a:p>
          </p:txBody>
        </p:sp>
        <p:sp>
          <p:nvSpPr>
            <p:cNvPr id="47" name="TextBox 46">
              <a:extLst>
                <a:ext uri="{FF2B5EF4-FFF2-40B4-BE49-F238E27FC236}">
                  <a16:creationId xmlns:a16="http://schemas.microsoft.com/office/drawing/2014/main" id="{E213E9ED-E88C-6170-6334-0AA45EEC9154}"/>
                </a:ext>
              </a:extLst>
            </p:cNvPr>
            <p:cNvSpPr txBox="1"/>
            <p:nvPr/>
          </p:nvSpPr>
          <p:spPr>
            <a:xfrm>
              <a:off x="8921977" y="3406400"/>
              <a:ext cx="2926080" cy="1015663"/>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231F20">
                      <a:lumMod val="65000"/>
                      <a:lumOff val="35000"/>
                    </a:srgbClr>
                  </a:solidFill>
                  <a:effectLst/>
                  <a:uLnTx/>
                  <a:uFillTx/>
                  <a:latin typeface="Arial"/>
                  <a:ea typeface="+mn-ea"/>
                  <a:cs typeface="+mn-cs"/>
                </a:rPr>
                <a:t>Expected failure modes and recovery procedur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1">
                <a:ln>
                  <a:noFill/>
                </a:ln>
                <a:solidFill>
                  <a:srgbClr val="231F2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1">
                  <a:ln>
                    <a:noFill/>
                  </a:ln>
                  <a:solidFill>
                    <a:srgbClr val="231F20">
                      <a:lumMod val="65000"/>
                      <a:lumOff val="35000"/>
                    </a:srgbClr>
                  </a:solidFill>
                  <a:effectLst/>
                  <a:uLnTx/>
                  <a:uFillTx/>
                  <a:latin typeface="Arial"/>
                  <a:ea typeface="+mn-ea"/>
                  <a:cs typeface="+mn-cs"/>
                </a:rPr>
                <a:t>Ex: If the CheckBalance function fails. Check the the account is still open. Otherwise proceed to the error handling agent.</a:t>
              </a:r>
            </a:p>
          </p:txBody>
        </p:sp>
      </p:grpSp>
      <p:grpSp>
        <p:nvGrpSpPr>
          <p:cNvPr id="48" name="Group 47">
            <a:extLst>
              <a:ext uri="{FF2B5EF4-FFF2-40B4-BE49-F238E27FC236}">
                <a16:creationId xmlns:a16="http://schemas.microsoft.com/office/drawing/2014/main" id="{69BDC2D7-6847-A2E6-47E4-D6F63527426C}"/>
              </a:ext>
            </a:extLst>
          </p:cNvPr>
          <p:cNvGrpSpPr/>
          <p:nvPr/>
        </p:nvGrpSpPr>
        <p:grpSpPr>
          <a:xfrm>
            <a:off x="5680720" y="3619887"/>
            <a:ext cx="2926080" cy="1844151"/>
            <a:chOff x="8921977" y="4283006"/>
            <a:chExt cx="2926080" cy="1844151"/>
          </a:xfrm>
        </p:grpSpPr>
        <p:sp>
          <p:nvSpPr>
            <p:cNvPr id="49" name="TextBox 48">
              <a:extLst>
                <a:ext uri="{FF2B5EF4-FFF2-40B4-BE49-F238E27FC236}">
                  <a16:creationId xmlns:a16="http://schemas.microsoft.com/office/drawing/2014/main" id="{E7D4D75B-A4FA-6EA2-2246-298899BA29FD}"/>
                </a:ext>
              </a:extLst>
            </p:cNvPr>
            <p:cNvSpPr txBox="1"/>
            <p:nvPr/>
          </p:nvSpPr>
          <p:spPr>
            <a:xfrm>
              <a:off x="8921977" y="4283006"/>
              <a:ext cx="2926080" cy="830997"/>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006450">
                      <a:lumMod val="75000"/>
                    </a:srgbClr>
                  </a:solidFill>
                  <a:effectLst/>
                  <a:uLnTx/>
                  <a:uFillTx/>
                  <a:latin typeface="Arial"/>
                  <a:ea typeface="+mn-ea"/>
                  <a:cs typeface="+mn-cs"/>
                </a:rPr>
                <a:t>Operational Constraints</a:t>
              </a:r>
            </a:p>
          </p:txBody>
        </p:sp>
        <p:sp>
          <p:nvSpPr>
            <p:cNvPr id="50" name="TextBox 49">
              <a:extLst>
                <a:ext uri="{FF2B5EF4-FFF2-40B4-BE49-F238E27FC236}">
                  <a16:creationId xmlns:a16="http://schemas.microsoft.com/office/drawing/2014/main" id="{1618AE7E-CDE7-ABA9-6EFF-11C63556E15E}"/>
                </a:ext>
              </a:extLst>
            </p:cNvPr>
            <p:cNvSpPr txBox="1"/>
            <p:nvPr/>
          </p:nvSpPr>
          <p:spPr>
            <a:xfrm>
              <a:off x="8921977" y="5111494"/>
              <a:ext cx="2926080" cy="1015663"/>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231F20">
                      <a:lumMod val="65000"/>
                      <a:lumOff val="35000"/>
                    </a:srgbClr>
                  </a:solidFill>
                  <a:effectLst/>
                  <a:uLnTx/>
                  <a:uFillTx/>
                  <a:latin typeface="Arial"/>
                  <a:ea typeface="+mn-ea"/>
                  <a:cs typeface="+mn-cs"/>
                </a:rPr>
                <a:t>Any limitations, requirements, and dependenc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1">
                <a:ln>
                  <a:noFill/>
                </a:ln>
                <a:solidFill>
                  <a:srgbClr val="231F2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1">
                  <a:ln>
                    <a:noFill/>
                  </a:ln>
                  <a:solidFill>
                    <a:srgbClr val="231F20">
                      <a:lumMod val="65000"/>
                      <a:lumOff val="35000"/>
                    </a:srgbClr>
                  </a:solidFill>
                  <a:effectLst/>
                  <a:uLnTx/>
                  <a:uFillTx/>
                  <a:latin typeface="Arial"/>
                  <a:ea typeface="+mn-ea"/>
                  <a:cs typeface="+mn-cs"/>
                </a:rPr>
                <a:t>Ex: Only use CheckBalance if the account is open or active.</a:t>
              </a:r>
            </a:p>
          </p:txBody>
        </p:sp>
      </p:grpSp>
      <p:pic>
        <p:nvPicPr>
          <p:cNvPr id="51" name="Graphic 50" descr="Rocket with solid fill">
            <a:extLst>
              <a:ext uri="{FF2B5EF4-FFF2-40B4-BE49-F238E27FC236}">
                <a16:creationId xmlns:a16="http://schemas.microsoft.com/office/drawing/2014/main" id="{341D5AB8-47E6-6981-1907-7FFE948ADCC8}"/>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225686" y="1598385"/>
            <a:ext cx="548640" cy="548640"/>
          </a:xfrm>
          <a:prstGeom prst="rect">
            <a:avLst/>
          </a:prstGeom>
        </p:spPr>
      </p:pic>
      <p:pic>
        <p:nvPicPr>
          <p:cNvPr id="52" name="Graphic 51" descr="Gears with solid fill">
            <a:extLst>
              <a:ext uri="{FF2B5EF4-FFF2-40B4-BE49-F238E27FC236}">
                <a16:creationId xmlns:a16="http://schemas.microsoft.com/office/drawing/2014/main" id="{C2BCEA94-9E5B-AFE6-3BFB-C872F284FA4E}"/>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8058160" y="3895032"/>
            <a:ext cx="548640" cy="548640"/>
          </a:xfrm>
          <a:prstGeom prst="rect">
            <a:avLst/>
          </a:prstGeom>
        </p:spPr>
      </p:pic>
      <p:pic>
        <p:nvPicPr>
          <p:cNvPr id="53" name="Graphic 52" descr="Bullseye with solid fill">
            <a:extLst>
              <a:ext uri="{FF2B5EF4-FFF2-40B4-BE49-F238E27FC236}">
                <a16:creationId xmlns:a16="http://schemas.microsoft.com/office/drawing/2014/main" id="{A36F94D9-C986-CDB7-FF44-4DA8DD76E2F8}"/>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0179303" y="2194070"/>
            <a:ext cx="548640" cy="548640"/>
          </a:xfrm>
          <a:prstGeom prst="rect">
            <a:avLst/>
          </a:prstGeom>
        </p:spPr>
      </p:pic>
      <p:pic>
        <p:nvPicPr>
          <p:cNvPr id="54" name="Graphic 53" descr="Clipboard Mixed with solid fill">
            <a:extLst>
              <a:ext uri="{FF2B5EF4-FFF2-40B4-BE49-F238E27FC236}">
                <a16:creationId xmlns:a16="http://schemas.microsoft.com/office/drawing/2014/main" id="{E997F89D-4AD6-051D-8518-5570DBD68DA5}"/>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38440" y="3680907"/>
            <a:ext cx="548640" cy="548640"/>
          </a:xfrm>
          <a:prstGeom prst="rect">
            <a:avLst/>
          </a:prstGeom>
        </p:spPr>
      </p:pic>
      <p:sp>
        <p:nvSpPr>
          <p:cNvPr id="4" name="Title 3">
            <a:extLst>
              <a:ext uri="{FF2B5EF4-FFF2-40B4-BE49-F238E27FC236}">
                <a16:creationId xmlns:a16="http://schemas.microsoft.com/office/drawing/2014/main" id="{A68AC7F9-3A34-89D8-06E0-4F60E2637676}"/>
              </a:ext>
            </a:extLst>
          </p:cNvPr>
          <p:cNvSpPr>
            <a:spLocks noGrp="1"/>
          </p:cNvSpPr>
          <p:nvPr>
            <p:ph type="title"/>
          </p:nvPr>
        </p:nvSpPr>
        <p:spPr/>
        <p:txBody>
          <a:bodyPr/>
          <a:lstStyle/>
          <a:p>
            <a:r>
              <a:rPr lang="en-US" dirty="0"/>
              <a:t>Four Essential Components for Tool Usage</a:t>
            </a:r>
          </a:p>
        </p:txBody>
      </p:sp>
      <p:sp>
        <p:nvSpPr>
          <p:cNvPr id="55" name="TextBox 54">
            <a:extLst>
              <a:ext uri="{FF2B5EF4-FFF2-40B4-BE49-F238E27FC236}">
                <a16:creationId xmlns:a16="http://schemas.microsoft.com/office/drawing/2014/main" id="{3D9EB4DF-B005-D527-541F-C9D49074FA2D}"/>
              </a:ext>
            </a:extLst>
          </p:cNvPr>
          <p:cNvSpPr txBox="1"/>
          <p:nvPr/>
        </p:nvSpPr>
        <p:spPr>
          <a:xfrm>
            <a:off x="144721" y="6410105"/>
            <a:ext cx="523572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F20"/>
                </a:solidFill>
                <a:effectLst/>
                <a:uLnTx/>
                <a:uFillTx/>
                <a:latin typeface="Arial"/>
                <a:ea typeface="+mn-ea"/>
                <a:cs typeface="+mn-cs"/>
              </a:rPr>
              <a:t>https://</a:t>
            </a:r>
            <a:r>
              <a:rPr kumimoji="0" lang="en-US" sz="1400" b="0" i="0" u="none" strike="noStrike" kern="1200" cap="none" spc="0" normalizeH="0" baseline="0" noProof="0" dirty="0" err="1">
                <a:ln>
                  <a:noFill/>
                </a:ln>
                <a:solidFill>
                  <a:srgbClr val="231F20"/>
                </a:solidFill>
                <a:effectLst/>
                <a:uLnTx/>
                <a:uFillTx/>
                <a:latin typeface="Arial"/>
                <a:ea typeface="+mn-ea"/>
                <a:cs typeface="+mn-cs"/>
              </a:rPr>
              <a:t>openai.com</a:t>
            </a:r>
            <a:r>
              <a:rPr kumimoji="0" lang="en-US" sz="1400" b="0" i="0" u="none" strike="noStrike" kern="1200" cap="none" spc="0" normalizeH="0" baseline="0" noProof="0" dirty="0">
                <a:ln>
                  <a:noFill/>
                </a:ln>
                <a:solidFill>
                  <a:srgbClr val="231F20"/>
                </a:solidFill>
                <a:effectLst/>
                <a:uLnTx/>
                <a:uFillTx/>
                <a:latin typeface="Arial"/>
                <a:ea typeface="+mn-ea"/>
                <a:cs typeface="+mn-cs"/>
              </a:rPr>
              <a:t>/index/function-calling-and-other-</a:t>
            </a:r>
            <a:r>
              <a:rPr kumimoji="0" lang="en-US" sz="1400" b="0" i="0" u="none" strike="noStrike" kern="1200" cap="none" spc="0" normalizeH="0" baseline="0" noProof="0" dirty="0" err="1">
                <a:ln>
                  <a:noFill/>
                </a:ln>
                <a:solidFill>
                  <a:srgbClr val="231F20"/>
                </a:solidFill>
                <a:effectLst/>
                <a:uLnTx/>
                <a:uFillTx/>
                <a:latin typeface="Arial"/>
                <a:ea typeface="+mn-ea"/>
                <a:cs typeface="+mn-cs"/>
              </a:rPr>
              <a:t>api</a:t>
            </a:r>
            <a:r>
              <a:rPr kumimoji="0" lang="en-US" sz="1400" b="0" i="0" u="none" strike="noStrike" kern="1200" cap="none" spc="0" normalizeH="0" baseline="0" noProof="0" dirty="0">
                <a:ln>
                  <a:noFill/>
                </a:ln>
                <a:solidFill>
                  <a:srgbClr val="231F20"/>
                </a:solidFill>
                <a:effectLst/>
                <a:uLnTx/>
                <a:uFillTx/>
                <a:latin typeface="Arial"/>
                <a:ea typeface="+mn-ea"/>
                <a:cs typeface="+mn-cs"/>
              </a:rPr>
              <a:t>-updates/</a:t>
            </a:r>
          </a:p>
        </p:txBody>
      </p:sp>
    </p:spTree>
    <p:extLst>
      <p:ext uri="{BB962C8B-B14F-4D97-AF65-F5344CB8AC3E}">
        <p14:creationId xmlns:p14="http://schemas.microsoft.com/office/powerpoint/2010/main" val="37967401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7113E-D612-92F5-35BB-5F58625E1268}"/>
              </a:ext>
            </a:extLst>
          </p:cNvPr>
          <p:cNvSpPr>
            <a:spLocks noGrp="1"/>
          </p:cNvSpPr>
          <p:nvPr>
            <p:ph type="title"/>
          </p:nvPr>
        </p:nvSpPr>
        <p:spPr/>
        <p:txBody>
          <a:bodyPr/>
          <a:lstStyle/>
          <a:p>
            <a:r>
              <a:rPr lang="en-US" dirty="0"/>
              <a:t>Modular Components: Enter Directed Graph Orchestration Frameworks</a:t>
            </a:r>
          </a:p>
        </p:txBody>
      </p:sp>
      <p:sp>
        <p:nvSpPr>
          <p:cNvPr id="3" name="Text Placeholder 2">
            <a:extLst>
              <a:ext uri="{FF2B5EF4-FFF2-40B4-BE49-F238E27FC236}">
                <a16:creationId xmlns:a16="http://schemas.microsoft.com/office/drawing/2014/main" id="{534CA1C3-18A2-3FC2-4EF9-591EADB1CCBB}"/>
              </a:ext>
            </a:extLst>
          </p:cNvPr>
          <p:cNvSpPr>
            <a:spLocks noGrp="1"/>
          </p:cNvSpPr>
          <p:nvPr>
            <p:ph type="body" sz="quarter" idx="10"/>
          </p:nvPr>
        </p:nvSpPr>
        <p:spPr>
          <a:xfrm>
            <a:off x="838200" y="7977359"/>
            <a:ext cx="4620962" cy="4957763"/>
          </a:xfrm>
        </p:spPr>
        <p:txBody>
          <a:bodyPr/>
          <a:lstStyle/>
          <a:p>
            <a:r>
              <a:rPr lang="en-US" dirty="0"/>
              <a:t>Tools function as modular components that can be combined to achieve complex outcomes</a:t>
            </a:r>
            <a:br>
              <a:rPr lang="en-US" dirty="0"/>
            </a:br>
            <a:endParaRPr lang="en-US" dirty="0"/>
          </a:p>
          <a:p>
            <a:r>
              <a:rPr lang="en-US" dirty="0"/>
              <a:t>MCP itself, while a protocol, can be a design pattern where AI tools are,</a:t>
            </a:r>
          </a:p>
          <a:p>
            <a:pPr lvl="1"/>
            <a:r>
              <a:rPr lang="en-US" dirty="0"/>
              <a:t>Self-contained</a:t>
            </a:r>
          </a:p>
          <a:p>
            <a:pPr lvl="1"/>
            <a:r>
              <a:rPr lang="en-US" dirty="0"/>
              <a:t>Robust</a:t>
            </a:r>
          </a:p>
          <a:p>
            <a:pPr lvl="1"/>
            <a:r>
              <a:rPr lang="en-US" dirty="0"/>
              <a:t>Describable input output </a:t>
            </a:r>
          </a:p>
          <a:p>
            <a:pPr lvl="1"/>
            <a:r>
              <a:rPr lang="en-US" dirty="0"/>
              <a:t>Discoverable and callable dynamically</a:t>
            </a:r>
          </a:p>
        </p:txBody>
      </p:sp>
      <p:grpSp>
        <p:nvGrpSpPr>
          <p:cNvPr id="139" name="Group 138">
            <a:extLst>
              <a:ext uri="{FF2B5EF4-FFF2-40B4-BE49-F238E27FC236}">
                <a16:creationId xmlns:a16="http://schemas.microsoft.com/office/drawing/2014/main" id="{04AD5D3B-A89F-A765-3A70-9B663FE8EA3B}"/>
              </a:ext>
            </a:extLst>
          </p:cNvPr>
          <p:cNvGrpSpPr>
            <a:grpSpLocks noChangeAspect="1"/>
          </p:cNvGrpSpPr>
          <p:nvPr/>
        </p:nvGrpSpPr>
        <p:grpSpPr>
          <a:xfrm>
            <a:off x="2066387" y="1856935"/>
            <a:ext cx="7797409" cy="1961223"/>
            <a:chOff x="0" y="1665997"/>
            <a:chExt cx="12192000" cy="3066561"/>
          </a:xfrm>
        </p:grpSpPr>
        <p:sp>
          <p:nvSpPr>
            <p:cNvPr id="106" name="Rectangle 105">
              <a:extLst>
                <a:ext uri="{FF2B5EF4-FFF2-40B4-BE49-F238E27FC236}">
                  <a16:creationId xmlns:a16="http://schemas.microsoft.com/office/drawing/2014/main" id="{20AE342E-13F6-950C-0F77-F0D8440E6B9C}"/>
                </a:ext>
              </a:extLst>
            </p:cNvPr>
            <p:cNvSpPr/>
            <p:nvPr/>
          </p:nvSpPr>
          <p:spPr>
            <a:xfrm>
              <a:off x="0" y="3970526"/>
              <a:ext cx="12192000" cy="107577"/>
            </a:xfrm>
            <a:prstGeom prst="rect">
              <a:avLst/>
            </a:prstGeom>
            <a:gradFill flip="none" rotWithShape="1">
              <a:gsLst>
                <a:gs pos="0">
                  <a:schemeClr val="tx1">
                    <a:lumMod val="50000"/>
                    <a:lumOff val="50000"/>
                  </a:schemeClr>
                </a:gs>
                <a:gs pos="100000">
                  <a:schemeClr val="bg2"/>
                </a:gs>
              </a:gsLst>
              <a:lin ang="10800000" scaled="1"/>
              <a:tileRect/>
            </a:gra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sz="2800">
                <a:solidFill>
                  <a:srgbClr val="FFFFFF"/>
                </a:solidFill>
              </a:endParaRPr>
            </a:p>
          </p:txBody>
        </p:sp>
        <p:sp>
          <p:nvSpPr>
            <p:cNvPr id="107" name="Shape">
              <a:extLst>
                <a:ext uri="{FF2B5EF4-FFF2-40B4-BE49-F238E27FC236}">
                  <a16:creationId xmlns:a16="http://schemas.microsoft.com/office/drawing/2014/main" id="{6E0C6985-046C-D274-0DBE-127C4C683C52}"/>
                </a:ext>
              </a:extLst>
            </p:cNvPr>
            <p:cNvSpPr/>
            <p:nvPr/>
          </p:nvSpPr>
          <p:spPr>
            <a:xfrm>
              <a:off x="838200" y="1665997"/>
              <a:ext cx="1835526" cy="2120030"/>
            </a:xfrm>
            <a:custGeom>
              <a:avLst/>
              <a:gdLst/>
              <a:ahLst/>
              <a:cxnLst>
                <a:cxn ang="0">
                  <a:pos x="wd2" y="hd2"/>
                </a:cxn>
                <a:cxn ang="5400000">
                  <a:pos x="wd2" y="hd2"/>
                </a:cxn>
                <a:cxn ang="10800000">
                  <a:pos x="wd2" y="hd2"/>
                </a:cxn>
                <a:cxn ang="16200000">
                  <a:pos x="wd2" y="hd2"/>
                </a:cxn>
              </a:cxnLst>
              <a:rect l="0" t="0" r="r" b="b"/>
              <a:pathLst>
                <a:path w="21439" h="21408" extrusionOk="0">
                  <a:moveTo>
                    <a:pt x="10284" y="7"/>
                  </a:moveTo>
                  <a:cubicBezTo>
                    <a:pt x="4706" y="205"/>
                    <a:pt x="194" y="4142"/>
                    <a:pt x="6" y="8965"/>
                  </a:cubicBezTo>
                  <a:cubicBezTo>
                    <a:pt x="-161" y="13263"/>
                    <a:pt x="3056" y="16911"/>
                    <a:pt x="7526" y="18121"/>
                  </a:cubicBezTo>
                  <a:cubicBezTo>
                    <a:pt x="8132" y="18284"/>
                    <a:pt x="8654" y="18627"/>
                    <a:pt x="9010" y="19096"/>
                  </a:cubicBezTo>
                  <a:lnTo>
                    <a:pt x="10723" y="21408"/>
                  </a:lnTo>
                  <a:lnTo>
                    <a:pt x="12436" y="19096"/>
                  </a:lnTo>
                  <a:cubicBezTo>
                    <a:pt x="12791" y="18627"/>
                    <a:pt x="13313" y="18284"/>
                    <a:pt x="13919" y="18121"/>
                  </a:cubicBezTo>
                  <a:cubicBezTo>
                    <a:pt x="18285" y="16947"/>
                    <a:pt x="21439" y="13425"/>
                    <a:pt x="21439" y="9272"/>
                  </a:cubicBezTo>
                  <a:cubicBezTo>
                    <a:pt x="21418" y="4034"/>
                    <a:pt x="16384" y="-192"/>
                    <a:pt x="10284" y="7"/>
                  </a:cubicBezTo>
                  <a:close/>
                </a:path>
              </a:pathLst>
            </a:custGeom>
            <a:solidFill>
              <a:schemeClr val="tx2"/>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solidFill>
                  <a:srgbClr val="FFFFFF"/>
                </a:solidFill>
              </a:endParaRPr>
            </a:p>
          </p:txBody>
        </p:sp>
        <p:sp>
          <p:nvSpPr>
            <p:cNvPr id="108" name="Shape">
              <a:extLst>
                <a:ext uri="{FF2B5EF4-FFF2-40B4-BE49-F238E27FC236}">
                  <a16:creationId xmlns:a16="http://schemas.microsoft.com/office/drawing/2014/main" id="{C1B43463-438F-6505-4514-4CC159D31863}"/>
                </a:ext>
              </a:extLst>
            </p:cNvPr>
            <p:cNvSpPr/>
            <p:nvPr/>
          </p:nvSpPr>
          <p:spPr>
            <a:xfrm>
              <a:off x="3008218" y="1665997"/>
              <a:ext cx="1835526" cy="2120030"/>
            </a:xfrm>
            <a:custGeom>
              <a:avLst/>
              <a:gdLst/>
              <a:ahLst/>
              <a:cxnLst>
                <a:cxn ang="0">
                  <a:pos x="wd2" y="hd2"/>
                </a:cxn>
                <a:cxn ang="5400000">
                  <a:pos x="wd2" y="hd2"/>
                </a:cxn>
                <a:cxn ang="10800000">
                  <a:pos x="wd2" y="hd2"/>
                </a:cxn>
                <a:cxn ang="16200000">
                  <a:pos x="wd2" y="hd2"/>
                </a:cxn>
              </a:cxnLst>
              <a:rect l="0" t="0" r="r" b="b"/>
              <a:pathLst>
                <a:path w="21439" h="21408" extrusionOk="0">
                  <a:moveTo>
                    <a:pt x="10284" y="7"/>
                  </a:moveTo>
                  <a:cubicBezTo>
                    <a:pt x="4706" y="205"/>
                    <a:pt x="194" y="4142"/>
                    <a:pt x="6" y="8965"/>
                  </a:cubicBezTo>
                  <a:cubicBezTo>
                    <a:pt x="-161" y="13263"/>
                    <a:pt x="3056" y="16911"/>
                    <a:pt x="7526" y="18121"/>
                  </a:cubicBezTo>
                  <a:cubicBezTo>
                    <a:pt x="8132" y="18284"/>
                    <a:pt x="8654" y="18627"/>
                    <a:pt x="9010" y="19096"/>
                  </a:cubicBezTo>
                  <a:lnTo>
                    <a:pt x="10723" y="21408"/>
                  </a:lnTo>
                  <a:lnTo>
                    <a:pt x="12436" y="19096"/>
                  </a:lnTo>
                  <a:cubicBezTo>
                    <a:pt x="12791" y="18627"/>
                    <a:pt x="13313" y="18284"/>
                    <a:pt x="13919" y="18121"/>
                  </a:cubicBezTo>
                  <a:cubicBezTo>
                    <a:pt x="18285" y="16947"/>
                    <a:pt x="21439" y="13425"/>
                    <a:pt x="21439" y="9272"/>
                  </a:cubicBezTo>
                  <a:cubicBezTo>
                    <a:pt x="21439" y="4034"/>
                    <a:pt x="16405" y="-192"/>
                    <a:pt x="10284" y="7"/>
                  </a:cubicBezTo>
                  <a:close/>
                </a:path>
              </a:pathLst>
            </a:custGeom>
            <a:solidFill>
              <a:schemeClr val="accent5"/>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solidFill>
                  <a:srgbClr val="FFFFFF"/>
                </a:solidFill>
              </a:endParaRPr>
            </a:p>
          </p:txBody>
        </p:sp>
        <p:sp>
          <p:nvSpPr>
            <p:cNvPr id="109" name="Shape">
              <a:extLst>
                <a:ext uri="{FF2B5EF4-FFF2-40B4-BE49-F238E27FC236}">
                  <a16:creationId xmlns:a16="http://schemas.microsoft.com/office/drawing/2014/main" id="{FB5890BD-54C8-96A6-C9E1-B50E94210DB7}"/>
                </a:ext>
              </a:extLst>
            </p:cNvPr>
            <p:cNvSpPr/>
            <p:nvPr/>
          </p:nvSpPr>
          <p:spPr>
            <a:xfrm>
              <a:off x="5178237" y="1665997"/>
              <a:ext cx="1835526" cy="2120030"/>
            </a:xfrm>
            <a:custGeom>
              <a:avLst/>
              <a:gdLst/>
              <a:ahLst/>
              <a:cxnLst>
                <a:cxn ang="0">
                  <a:pos x="wd2" y="hd2"/>
                </a:cxn>
                <a:cxn ang="5400000">
                  <a:pos x="wd2" y="hd2"/>
                </a:cxn>
                <a:cxn ang="10800000">
                  <a:pos x="wd2" y="hd2"/>
                </a:cxn>
                <a:cxn ang="16200000">
                  <a:pos x="wd2" y="hd2"/>
                </a:cxn>
              </a:cxnLst>
              <a:rect l="0" t="0" r="r" b="b"/>
              <a:pathLst>
                <a:path w="21439" h="21408" extrusionOk="0">
                  <a:moveTo>
                    <a:pt x="10284" y="7"/>
                  </a:moveTo>
                  <a:cubicBezTo>
                    <a:pt x="4706" y="205"/>
                    <a:pt x="194" y="4142"/>
                    <a:pt x="6" y="8965"/>
                  </a:cubicBezTo>
                  <a:cubicBezTo>
                    <a:pt x="-161" y="13263"/>
                    <a:pt x="3056" y="16911"/>
                    <a:pt x="7526" y="18121"/>
                  </a:cubicBezTo>
                  <a:cubicBezTo>
                    <a:pt x="8132" y="18284"/>
                    <a:pt x="8654" y="18627"/>
                    <a:pt x="9010" y="19096"/>
                  </a:cubicBezTo>
                  <a:lnTo>
                    <a:pt x="10723" y="21408"/>
                  </a:lnTo>
                  <a:lnTo>
                    <a:pt x="12436" y="19096"/>
                  </a:lnTo>
                  <a:cubicBezTo>
                    <a:pt x="12791" y="18627"/>
                    <a:pt x="13313" y="18284"/>
                    <a:pt x="13919" y="18121"/>
                  </a:cubicBezTo>
                  <a:cubicBezTo>
                    <a:pt x="18285" y="16947"/>
                    <a:pt x="21439" y="13425"/>
                    <a:pt x="21439" y="9272"/>
                  </a:cubicBezTo>
                  <a:cubicBezTo>
                    <a:pt x="21439" y="4034"/>
                    <a:pt x="16405" y="-192"/>
                    <a:pt x="10284" y="7"/>
                  </a:cubicBezTo>
                  <a:close/>
                </a:path>
              </a:pathLst>
            </a:custGeom>
            <a:solidFill>
              <a:schemeClr val="accent2"/>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solidFill>
                  <a:srgbClr val="FFFFFF"/>
                </a:solidFill>
              </a:endParaRPr>
            </a:p>
          </p:txBody>
        </p:sp>
        <p:sp>
          <p:nvSpPr>
            <p:cNvPr id="110" name="Shape">
              <a:extLst>
                <a:ext uri="{FF2B5EF4-FFF2-40B4-BE49-F238E27FC236}">
                  <a16:creationId xmlns:a16="http://schemas.microsoft.com/office/drawing/2014/main" id="{9A24BFFC-17F8-AECB-CBA2-FBC8C18EB9A2}"/>
                </a:ext>
              </a:extLst>
            </p:cNvPr>
            <p:cNvSpPr/>
            <p:nvPr/>
          </p:nvSpPr>
          <p:spPr>
            <a:xfrm>
              <a:off x="7348256" y="1665997"/>
              <a:ext cx="1835526" cy="2120030"/>
            </a:xfrm>
            <a:custGeom>
              <a:avLst/>
              <a:gdLst/>
              <a:ahLst/>
              <a:cxnLst>
                <a:cxn ang="0">
                  <a:pos x="wd2" y="hd2"/>
                </a:cxn>
                <a:cxn ang="5400000">
                  <a:pos x="wd2" y="hd2"/>
                </a:cxn>
                <a:cxn ang="10800000">
                  <a:pos x="wd2" y="hd2"/>
                </a:cxn>
                <a:cxn ang="16200000">
                  <a:pos x="wd2" y="hd2"/>
                </a:cxn>
              </a:cxnLst>
              <a:rect l="0" t="0" r="r" b="b"/>
              <a:pathLst>
                <a:path w="21439" h="21408" extrusionOk="0">
                  <a:moveTo>
                    <a:pt x="10284" y="7"/>
                  </a:moveTo>
                  <a:cubicBezTo>
                    <a:pt x="4706" y="205"/>
                    <a:pt x="194" y="4142"/>
                    <a:pt x="6" y="8965"/>
                  </a:cubicBezTo>
                  <a:cubicBezTo>
                    <a:pt x="-161" y="13263"/>
                    <a:pt x="3056" y="16911"/>
                    <a:pt x="7526" y="18121"/>
                  </a:cubicBezTo>
                  <a:cubicBezTo>
                    <a:pt x="8132" y="18284"/>
                    <a:pt x="8654" y="18627"/>
                    <a:pt x="9010" y="19096"/>
                  </a:cubicBezTo>
                  <a:lnTo>
                    <a:pt x="10723" y="21408"/>
                  </a:lnTo>
                  <a:lnTo>
                    <a:pt x="12436" y="19096"/>
                  </a:lnTo>
                  <a:cubicBezTo>
                    <a:pt x="12791" y="18627"/>
                    <a:pt x="13313" y="18284"/>
                    <a:pt x="13919" y="18121"/>
                  </a:cubicBezTo>
                  <a:cubicBezTo>
                    <a:pt x="18285" y="16947"/>
                    <a:pt x="21439" y="13425"/>
                    <a:pt x="21439" y="9272"/>
                  </a:cubicBezTo>
                  <a:cubicBezTo>
                    <a:pt x="21439" y="4034"/>
                    <a:pt x="16405" y="-192"/>
                    <a:pt x="10284" y="7"/>
                  </a:cubicBezTo>
                  <a:close/>
                </a:path>
              </a:pathLst>
            </a:custGeom>
            <a:solidFill>
              <a:schemeClr val="accent3"/>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solidFill>
                  <a:srgbClr val="FFFFFF"/>
                </a:solidFill>
              </a:endParaRPr>
            </a:p>
          </p:txBody>
        </p:sp>
        <p:sp>
          <p:nvSpPr>
            <p:cNvPr id="111" name="Shape">
              <a:extLst>
                <a:ext uri="{FF2B5EF4-FFF2-40B4-BE49-F238E27FC236}">
                  <a16:creationId xmlns:a16="http://schemas.microsoft.com/office/drawing/2014/main" id="{094908C0-9F99-F35C-ED5A-5F25B4763F12}"/>
                </a:ext>
              </a:extLst>
            </p:cNvPr>
            <p:cNvSpPr/>
            <p:nvPr/>
          </p:nvSpPr>
          <p:spPr>
            <a:xfrm>
              <a:off x="9518274" y="1665997"/>
              <a:ext cx="1835526" cy="2120030"/>
            </a:xfrm>
            <a:custGeom>
              <a:avLst/>
              <a:gdLst/>
              <a:ahLst/>
              <a:cxnLst>
                <a:cxn ang="0">
                  <a:pos x="wd2" y="hd2"/>
                </a:cxn>
                <a:cxn ang="5400000">
                  <a:pos x="wd2" y="hd2"/>
                </a:cxn>
                <a:cxn ang="10800000">
                  <a:pos x="wd2" y="hd2"/>
                </a:cxn>
                <a:cxn ang="16200000">
                  <a:pos x="wd2" y="hd2"/>
                </a:cxn>
              </a:cxnLst>
              <a:rect l="0" t="0" r="r" b="b"/>
              <a:pathLst>
                <a:path w="21439" h="21408" extrusionOk="0">
                  <a:moveTo>
                    <a:pt x="10284" y="7"/>
                  </a:moveTo>
                  <a:cubicBezTo>
                    <a:pt x="4706" y="205"/>
                    <a:pt x="194" y="4142"/>
                    <a:pt x="6" y="8965"/>
                  </a:cubicBezTo>
                  <a:cubicBezTo>
                    <a:pt x="-161" y="13263"/>
                    <a:pt x="3056" y="16911"/>
                    <a:pt x="7526" y="18121"/>
                  </a:cubicBezTo>
                  <a:cubicBezTo>
                    <a:pt x="8132" y="18284"/>
                    <a:pt x="8654" y="18627"/>
                    <a:pt x="9010" y="19096"/>
                  </a:cubicBezTo>
                  <a:lnTo>
                    <a:pt x="10723" y="21408"/>
                  </a:lnTo>
                  <a:lnTo>
                    <a:pt x="12436" y="19096"/>
                  </a:lnTo>
                  <a:cubicBezTo>
                    <a:pt x="12791" y="18627"/>
                    <a:pt x="13313" y="18284"/>
                    <a:pt x="13919" y="18121"/>
                  </a:cubicBezTo>
                  <a:cubicBezTo>
                    <a:pt x="18285" y="16947"/>
                    <a:pt x="21439" y="13425"/>
                    <a:pt x="21439" y="9272"/>
                  </a:cubicBezTo>
                  <a:cubicBezTo>
                    <a:pt x="21439" y="4034"/>
                    <a:pt x="16405" y="-192"/>
                    <a:pt x="10284" y="7"/>
                  </a:cubicBezTo>
                  <a:close/>
                </a:path>
              </a:pathLst>
            </a:custGeom>
            <a:solidFill>
              <a:schemeClr val="accent6"/>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solidFill>
                  <a:srgbClr val="FFFFFF"/>
                </a:solidFill>
              </a:endParaRPr>
            </a:p>
          </p:txBody>
        </p:sp>
        <p:pic>
          <p:nvPicPr>
            <p:cNvPr id="113" name="Graphic 112" descr="Open envelope with solid fill">
              <a:extLst>
                <a:ext uri="{FF2B5EF4-FFF2-40B4-BE49-F238E27FC236}">
                  <a16:creationId xmlns:a16="http://schemas.microsoft.com/office/drawing/2014/main" id="{F4CA2CBA-211C-79EE-BE3B-3268A2E9656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231357" y="2059154"/>
              <a:ext cx="1049213" cy="1049213"/>
            </a:xfrm>
            <a:prstGeom prst="rect">
              <a:avLst/>
            </a:prstGeom>
            <a:effectLst/>
          </p:spPr>
        </p:pic>
        <p:pic>
          <p:nvPicPr>
            <p:cNvPr id="117" name="Graphic 116" descr="Head with gears">
              <a:extLst>
                <a:ext uri="{FF2B5EF4-FFF2-40B4-BE49-F238E27FC236}">
                  <a16:creationId xmlns:a16="http://schemas.microsoft.com/office/drawing/2014/main" id="{388DCA30-0047-DF02-7B89-AEB5FD0A24E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01375" y="2059154"/>
              <a:ext cx="1049213" cy="1049213"/>
            </a:xfrm>
            <a:prstGeom prst="rect">
              <a:avLst/>
            </a:prstGeom>
            <a:effectLst/>
          </p:spPr>
        </p:pic>
        <p:pic>
          <p:nvPicPr>
            <p:cNvPr id="121" name="Graphic 120" descr="Meeting with solid fill">
              <a:extLst>
                <a:ext uri="{FF2B5EF4-FFF2-40B4-BE49-F238E27FC236}">
                  <a16:creationId xmlns:a16="http://schemas.microsoft.com/office/drawing/2014/main" id="{B46211C4-21BA-9114-7702-E39E487DE9D0}"/>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571394" y="2059154"/>
              <a:ext cx="1049213" cy="1049213"/>
            </a:xfrm>
            <a:prstGeom prst="rect">
              <a:avLst/>
            </a:prstGeom>
            <a:effectLst/>
          </p:spPr>
        </p:pic>
        <p:pic>
          <p:nvPicPr>
            <p:cNvPr id="125" name="Graphic 124" descr="Scales of justice with solid fill">
              <a:extLst>
                <a:ext uri="{FF2B5EF4-FFF2-40B4-BE49-F238E27FC236}">
                  <a16:creationId xmlns:a16="http://schemas.microsoft.com/office/drawing/2014/main" id="{FCF2DBD4-CDB1-DBB5-3D55-D4D2CF304D7A}"/>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7741413" y="2059154"/>
              <a:ext cx="1049213" cy="1049213"/>
            </a:xfrm>
            <a:prstGeom prst="rect">
              <a:avLst/>
            </a:prstGeom>
            <a:effectLst/>
          </p:spPr>
        </p:pic>
        <p:pic>
          <p:nvPicPr>
            <p:cNvPr id="129" name="Graphic 128" descr="Fork In Road with solid fill">
              <a:extLst>
                <a:ext uri="{FF2B5EF4-FFF2-40B4-BE49-F238E27FC236}">
                  <a16:creationId xmlns:a16="http://schemas.microsoft.com/office/drawing/2014/main" id="{72215554-F306-AB67-A8F1-2BBF5C5BCB71}"/>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9911431" y="2059154"/>
              <a:ext cx="1049213" cy="1049213"/>
            </a:xfrm>
            <a:prstGeom prst="rect">
              <a:avLst/>
            </a:prstGeom>
            <a:effectLst/>
          </p:spPr>
        </p:pic>
        <p:sp>
          <p:nvSpPr>
            <p:cNvPr id="133" name="TextBox 132">
              <a:extLst>
                <a:ext uri="{FF2B5EF4-FFF2-40B4-BE49-F238E27FC236}">
                  <a16:creationId xmlns:a16="http://schemas.microsoft.com/office/drawing/2014/main" id="{9C4CB560-E91B-6F54-E3AD-2D2382E66FD7}"/>
                </a:ext>
              </a:extLst>
            </p:cNvPr>
            <p:cNvSpPr txBox="1"/>
            <p:nvPr/>
          </p:nvSpPr>
          <p:spPr>
            <a:xfrm>
              <a:off x="1208053" y="4251319"/>
              <a:ext cx="1095820" cy="481239"/>
            </a:xfrm>
            <a:prstGeom prst="rect">
              <a:avLst/>
            </a:prstGeom>
            <a:noFill/>
          </p:spPr>
          <p:txBody>
            <a:bodyPr wrap="none" rtlCol="0" anchor="b">
              <a:spAutoFit/>
            </a:bodyPr>
            <a:lstStyle/>
            <a:p>
              <a:pPr algn="ctr"/>
              <a:r>
                <a:rPr lang="en-US" sz="1400" b="1" dirty="0">
                  <a:solidFill>
                    <a:schemeClr val="tx2"/>
                  </a:solidFill>
                </a:rPr>
                <a:t>Intake</a:t>
              </a:r>
            </a:p>
          </p:txBody>
        </p:sp>
        <p:sp>
          <p:nvSpPr>
            <p:cNvPr id="134" name="TextBox 133">
              <a:extLst>
                <a:ext uri="{FF2B5EF4-FFF2-40B4-BE49-F238E27FC236}">
                  <a16:creationId xmlns:a16="http://schemas.microsoft.com/office/drawing/2014/main" id="{A1AEA3B1-4852-8B36-EFA5-268D179A8DAD}"/>
                </a:ext>
              </a:extLst>
            </p:cNvPr>
            <p:cNvSpPr txBox="1"/>
            <p:nvPr/>
          </p:nvSpPr>
          <p:spPr>
            <a:xfrm>
              <a:off x="3245229" y="4251319"/>
              <a:ext cx="1361503" cy="481239"/>
            </a:xfrm>
            <a:prstGeom prst="rect">
              <a:avLst/>
            </a:prstGeom>
            <a:noFill/>
          </p:spPr>
          <p:txBody>
            <a:bodyPr wrap="none" rtlCol="0" anchor="b">
              <a:spAutoFit/>
            </a:bodyPr>
            <a:lstStyle/>
            <a:p>
              <a:pPr algn="ctr"/>
              <a:r>
                <a:rPr lang="en-US" sz="1400" b="1" dirty="0">
                  <a:solidFill>
                    <a:schemeClr val="accent5"/>
                  </a:solidFill>
                </a:rPr>
                <a:t>Classify</a:t>
              </a:r>
            </a:p>
          </p:txBody>
        </p:sp>
        <p:sp>
          <p:nvSpPr>
            <p:cNvPr id="135" name="TextBox 134">
              <a:extLst>
                <a:ext uri="{FF2B5EF4-FFF2-40B4-BE49-F238E27FC236}">
                  <a16:creationId xmlns:a16="http://schemas.microsoft.com/office/drawing/2014/main" id="{B96765B7-17A9-FCBE-40E0-EDFCE93CB709}"/>
                </a:ext>
              </a:extLst>
            </p:cNvPr>
            <p:cNvSpPr txBox="1"/>
            <p:nvPr/>
          </p:nvSpPr>
          <p:spPr>
            <a:xfrm>
              <a:off x="5229768" y="4251319"/>
              <a:ext cx="1732460" cy="481239"/>
            </a:xfrm>
            <a:prstGeom prst="rect">
              <a:avLst/>
            </a:prstGeom>
            <a:noFill/>
          </p:spPr>
          <p:txBody>
            <a:bodyPr wrap="none" rtlCol="0" anchor="b">
              <a:spAutoFit/>
            </a:bodyPr>
            <a:lstStyle/>
            <a:p>
              <a:pPr algn="ctr"/>
              <a:r>
                <a:rPr lang="en-US" sz="1400" b="1" dirty="0">
                  <a:solidFill>
                    <a:schemeClr val="accent2">
                      <a:lumMod val="75000"/>
                    </a:schemeClr>
                  </a:solidFill>
                </a:rPr>
                <a:t>Resolution</a:t>
              </a:r>
            </a:p>
          </p:txBody>
        </p:sp>
        <p:sp>
          <p:nvSpPr>
            <p:cNvPr id="136" name="TextBox 135">
              <a:extLst>
                <a:ext uri="{FF2B5EF4-FFF2-40B4-BE49-F238E27FC236}">
                  <a16:creationId xmlns:a16="http://schemas.microsoft.com/office/drawing/2014/main" id="{1FC2ED13-9E1F-4D4E-18D7-4290A8F6CC85}"/>
                </a:ext>
              </a:extLst>
            </p:cNvPr>
            <p:cNvSpPr txBox="1"/>
            <p:nvPr/>
          </p:nvSpPr>
          <p:spPr>
            <a:xfrm>
              <a:off x="7825887" y="4251319"/>
              <a:ext cx="880266" cy="481239"/>
            </a:xfrm>
            <a:prstGeom prst="rect">
              <a:avLst/>
            </a:prstGeom>
            <a:noFill/>
          </p:spPr>
          <p:txBody>
            <a:bodyPr wrap="none" rtlCol="0" anchor="b">
              <a:spAutoFit/>
            </a:bodyPr>
            <a:lstStyle/>
            <a:p>
              <a:pPr algn="ctr"/>
              <a:r>
                <a:rPr lang="en-US" sz="1400" b="1" dirty="0">
                  <a:solidFill>
                    <a:schemeClr val="accent3">
                      <a:lumMod val="50000"/>
                    </a:schemeClr>
                  </a:solidFill>
                </a:rPr>
                <a:t>Risk</a:t>
              </a:r>
            </a:p>
          </p:txBody>
        </p:sp>
        <p:sp>
          <p:nvSpPr>
            <p:cNvPr id="137" name="TextBox 136">
              <a:extLst>
                <a:ext uri="{FF2B5EF4-FFF2-40B4-BE49-F238E27FC236}">
                  <a16:creationId xmlns:a16="http://schemas.microsoft.com/office/drawing/2014/main" id="{F209B873-593F-9CB3-FA6D-F4C659E28FD3}"/>
                </a:ext>
              </a:extLst>
            </p:cNvPr>
            <p:cNvSpPr txBox="1"/>
            <p:nvPr/>
          </p:nvSpPr>
          <p:spPr>
            <a:xfrm>
              <a:off x="9708917" y="4251319"/>
              <a:ext cx="1454243" cy="481239"/>
            </a:xfrm>
            <a:prstGeom prst="rect">
              <a:avLst/>
            </a:prstGeom>
            <a:noFill/>
          </p:spPr>
          <p:txBody>
            <a:bodyPr wrap="none" rtlCol="0" anchor="b">
              <a:spAutoFit/>
            </a:bodyPr>
            <a:lstStyle/>
            <a:p>
              <a:pPr algn="ctr"/>
              <a:r>
                <a:rPr lang="en-US" sz="1400" b="1" dirty="0">
                  <a:solidFill>
                    <a:schemeClr val="accent6">
                      <a:lumMod val="75000"/>
                    </a:schemeClr>
                  </a:solidFill>
                </a:rPr>
                <a:t>Decision</a:t>
              </a:r>
            </a:p>
          </p:txBody>
        </p:sp>
      </p:grpSp>
      <p:sp>
        <p:nvSpPr>
          <p:cNvPr id="138" name="TextBox 137">
            <a:extLst>
              <a:ext uri="{FF2B5EF4-FFF2-40B4-BE49-F238E27FC236}">
                <a16:creationId xmlns:a16="http://schemas.microsoft.com/office/drawing/2014/main" id="{2EE359B1-AD0B-AE29-B739-569791F18047}"/>
              </a:ext>
            </a:extLst>
          </p:cNvPr>
          <p:cNvSpPr txBox="1"/>
          <p:nvPr/>
        </p:nvSpPr>
        <p:spPr>
          <a:xfrm>
            <a:off x="588157" y="1068671"/>
            <a:ext cx="2659767" cy="369332"/>
          </a:xfrm>
          <a:prstGeom prst="rect">
            <a:avLst/>
          </a:prstGeom>
          <a:noFill/>
        </p:spPr>
        <p:txBody>
          <a:bodyPr wrap="none" rtlCol="0">
            <a:spAutoFit/>
          </a:bodyPr>
          <a:lstStyle/>
          <a:p>
            <a:r>
              <a:rPr lang="en-US" dirty="0"/>
              <a:t>Agentic Message Triage</a:t>
            </a:r>
          </a:p>
        </p:txBody>
      </p:sp>
    </p:spTree>
    <p:extLst>
      <p:ext uri="{BB962C8B-B14F-4D97-AF65-F5344CB8AC3E}">
        <p14:creationId xmlns:p14="http://schemas.microsoft.com/office/powerpoint/2010/main" val="9967483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4F2021-C97F-CD46-57D8-D59E29AF7F0E}"/>
            </a:ext>
          </a:extLst>
        </p:cNvPr>
        <p:cNvGrpSpPr/>
        <p:nvPr/>
      </p:nvGrpSpPr>
      <p:grpSpPr>
        <a:xfrm>
          <a:off x="0" y="0"/>
          <a:ext cx="0" cy="0"/>
          <a:chOff x="0" y="0"/>
          <a:chExt cx="0" cy="0"/>
        </a:xfrm>
      </p:grpSpPr>
      <p:pic>
        <p:nvPicPr>
          <p:cNvPr id="10" name="Picture 9" descr="A screen shot of a computer program&#10;&#10;AI-generated content may be incorrect.">
            <a:extLst>
              <a:ext uri="{FF2B5EF4-FFF2-40B4-BE49-F238E27FC236}">
                <a16:creationId xmlns:a16="http://schemas.microsoft.com/office/drawing/2014/main" id="{A0BC6C47-E95B-BFD0-672D-09C13A8DA6F2}"/>
              </a:ext>
            </a:extLst>
          </p:cNvPr>
          <p:cNvPicPr>
            <a:picLocks noChangeAspect="1"/>
          </p:cNvPicPr>
          <p:nvPr/>
        </p:nvPicPr>
        <p:blipFill>
          <a:blip r:embed="rId2"/>
          <a:stretch>
            <a:fillRect/>
          </a:stretch>
        </p:blipFill>
        <p:spPr>
          <a:xfrm>
            <a:off x="7610230" y="1008756"/>
            <a:ext cx="4209111" cy="5329576"/>
          </a:xfrm>
          <a:prstGeom prst="rect">
            <a:avLst/>
          </a:prstGeom>
        </p:spPr>
      </p:pic>
      <p:sp>
        <p:nvSpPr>
          <p:cNvPr id="2" name="Title 1">
            <a:extLst>
              <a:ext uri="{FF2B5EF4-FFF2-40B4-BE49-F238E27FC236}">
                <a16:creationId xmlns:a16="http://schemas.microsoft.com/office/drawing/2014/main" id="{46A30B2E-7ECC-B27D-C7AB-1E5D66BB683A}"/>
              </a:ext>
            </a:extLst>
          </p:cNvPr>
          <p:cNvSpPr>
            <a:spLocks noGrp="1"/>
          </p:cNvSpPr>
          <p:nvPr>
            <p:ph type="title"/>
          </p:nvPr>
        </p:nvSpPr>
        <p:spPr/>
        <p:txBody>
          <a:bodyPr/>
          <a:lstStyle/>
          <a:p>
            <a:r>
              <a:rPr lang="en-US" dirty="0"/>
              <a:t>Modular Components: Enter Directed Graph Orchestration Frameworks</a:t>
            </a:r>
          </a:p>
        </p:txBody>
      </p:sp>
      <p:sp>
        <p:nvSpPr>
          <p:cNvPr id="3" name="Text Placeholder 2">
            <a:extLst>
              <a:ext uri="{FF2B5EF4-FFF2-40B4-BE49-F238E27FC236}">
                <a16:creationId xmlns:a16="http://schemas.microsoft.com/office/drawing/2014/main" id="{3D40AD13-DA3F-BAEB-0B8E-EEB8E9F5FEF5}"/>
              </a:ext>
            </a:extLst>
          </p:cNvPr>
          <p:cNvSpPr>
            <a:spLocks noGrp="1"/>
          </p:cNvSpPr>
          <p:nvPr>
            <p:ph type="body" sz="quarter" idx="10"/>
          </p:nvPr>
        </p:nvSpPr>
        <p:spPr>
          <a:xfrm>
            <a:off x="838200" y="7977359"/>
            <a:ext cx="4620962" cy="4957763"/>
          </a:xfrm>
        </p:spPr>
        <p:txBody>
          <a:bodyPr/>
          <a:lstStyle/>
          <a:p>
            <a:r>
              <a:rPr lang="en-US" dirty="0"/>
              <a:t>Tools function as modular components that can be combined to achieve complex outcomes</a:t>
            </a:r>
            <a:br>
              <a:rPr lang="en-US" dirty="0"/>
            </a:br>
            <a:endParaRPr lang="en-US" dirty="0"/>
          </a:p>
          <a:p>
            <a:r>
              <a:rPr lang="en-US" dirty="0"/>
              <a:t>MCP itself, while a protocol, can be a design pattern where AI tools are,</a:t>
            </a:r>
          </a:p>
          <a:p>
            <a:pPr lvl="1"/>
            <a:r>
              <a:rPr lang="en-US" dirty="0"/>
              <a:t>Self-contained</a:t>
            </a:r>
          </a:p>
          <a:p>
            <a:pPr lvl="1"/>
            <a:r>
              <a:rPr lang="en-US" dirty="0"/>
              <a:t>Robust</a:t>
            </a:r>
          </a:p>
          <a:p>
            <a:pPr lvl="1"/>
            <a:r>
              <a:rPr lang="en-US" dirty="0"/>
              <a:t>Describable input output </a:t>
            </a:r>
          </a:p>
          <a:p>
            <a:pPr lvl="1"/>
            <a:r>
              <a:rPr lang="en-US" dirty="0"/>
              <a:t>Discoverable and callable dynamically</a:t>
            </a:r>
          </a:p>
        </p:txBody>
      </p:sp>
      <p:sp>
        <p:nvSpPr>
          <p:cNvPr id="106" name="Rectangle 105">
            <a:extLst>
              <a:ext uri="{FF2B5EF4-FFF2-40B4-BE49-F238E27FC236}">
                <a16:creationId xmlns:a16="http://schemas.microsoft.com/office/drawing/2014/main" id="{D23CA350-F8BD-43CF-72F0-17EF6D26C350}"/>
              </a:ext>
            </a:extLst>
          </p:cNvPr>
          <p:cNvSpPr/>
          <p:nvPr/>
        </p:nvSpPr>
        <p:spPr>
          <a:xfrm rot="5400000">
            <a:off x="-1212677" y="4150643"/>
            <a:ext cx="5069233" cy="45719"/>
          </a:xfrm>
          <a:prstGeom prst="rect">
            <a:avLst/>
          </a:prstGeom>
          <a:gradFill flip="none" rotWithShape="1">
            <a:gsLst>
              <a:gs pos="0">
                <a:schemeClr val="tx1">
                  <a:lumMod val="50000"/>
                  <a:lumOff val="50000"/>
                </a:schemeClr>
              </a:gs>
              <a:gs pos="100000">
                <a:schemeClr val="bg2"/>
              </a:gs>
            </a:gsLst>
            <a:lin ang="10800000" scaled="1"/>
            <a:tileRect/>
          </a:gra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sz="2800">
              <a:solidFill>
                <a:srgbClr val="FFFFFF"/>
              </a:solidFill>
            </a:endParaRPr>
          </a:p>
        </p:txBody>
      </p:sp>
      <p:sp>
        <p:nvSpPr>
          <p:cNvPr id="107" name="Shape">
            <a:extLst>
              <a:ext uri="{FF2B5EF4-FFF2-40B4-BE49-F238E27FC236}">
                <a16:creationId xmlns:a16="http://schemas.microsoft.com/office/drawing/2014/main" id="{62973F71-7C2A-334F-214C-182381DE8C4F}"/>
              </a:ext>
            </a:extLst>
          </p:cNvPr>
          <p:cNvSpPr/>
          <p:nvPr/>
        </p:nvSpPr>
        <p:spPr>
          <a:xfrm rot="5400000">
            <a:off x="1490692" y="1636430"/>
            <a:ext cx="809775" cy="935289"/>
          </a:xfrm>
          <a:custGeom>
            <a:avLst/>
            <a:gdLst/>
            <a:ahLst/>
            <a:cxnLst>
              <a:cxn ang="0">
                <a:pos x="wd2" y="hd2"/>
              </a:cxn>
              <a:cxn ang="5400000">
                <a:pos x="wd2" y="hd2"/>
              </a:cxn>
              <a:cxn ang="10800000">
                <a:pos x="wd2" y="hd2"/>
              </a:cxn>
              <a:cxn ang="16200000">
                <a:pos x="wd2" y="hd2"/>
              </a:cxn>
            </a:cxnLst>
            <a:rect l="0" t="0" r="r" b="b"/>
            <a:pathLst>
              <a:path w="21439" h="21408" extrusionOk="0">
                <a:moveTo>
                  <a:pt x="10284" y="7"/>
                </a:moveTo>
                <a:cubicBezTo>
                  <a:pt x="4706" y="205"/>
                  <a:pt x="194" y="4142"/>
                  <a:pt x="6" y="8965"/>
                </a:cubicBezTo>
                <a:cubicBezTo>
                  <a:pt x="-161" y="13263"/>
                  <a:pt x="3056" y="16911"/>
                  <a:pt x="7526" y="18121"/>
                </a:cubicBezTo>
                <a:cubicBezTo>
                  <a:pt x="8132" y="18284"/>
                  <a:pt x="8654" y="18627"/>
                  <a:pt x="9010" y="19096"/>
                </a:cubicBezTo>
                <a:lnTo>
                  <a:pt x="10723" y="21408"/>
                </a:lnTo>
                <a:lnTo>
                  <a:pt x="12436" y="19096"/>
                </a:lnTo>
                <a:cubicBezTo>
                  <a:pt x="12791" y="18627"/>
                  <a:pt x="13313" y="18284"/>
                  <a:pt x="13919" y="18121"/>
                </a:cubicBezTo>
                <a:cubicBezTo>
                  <a:pt x="18285" y="16947"/>
                  <a:pt x="21439" y="13425"/>
                  <a:pt x="21439" y="9272"/>
                </a:cubicBezTo>
                <a:cubicBezTo>
                  <a:pt x="21418" y="4034"/>
                  <a:pt x="16384" y="-192"/>
                  <a:pt x="10284" y="7"/>
                </a:cubicBezTo>
                <a:close/>
              </a:path>
            </a:pathLst>
          </a:custGeom>
          <a:solidFill>
            <a:schemeClr val="tx2"/>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solidFill>
                <a:srgbClr val="FFFFFF"/>
              </a:solidFill>
            </a:endParaRPr>
          </a:p>
        </p:txBody>
      </p:sp>
      <p:sp>
        <p:nvSpPr>
          <p:cNvPr id="108" name="Shape">
            <a:extLst>
              <a:ext uri="{FF2B5EF4-FFF2-40B4-BE49-F238E27FC236}">
                <a16:creationId xmlns:a16="http://schemas.microsoft.com/office/drawing/2014/main" id="{B4E92416-647A-059F-BAD1-7F3C2BA2993A}"/>
              </a:ext>
            </a:extLst>
          </p:cNvPr>
          <p:cNvSpPr/>
          <p:nvPr/>
        </p:nvSpPr>
        <p:spPr>
          <a:xfrm rot="5400000">
            <a:off x="1490692" y="2593773"/>
            <a:ext cx="809775" cy="935289"/>
          </a:xfrm>
          <a:custGeom>
            <a:avLst/>
            <a:gdLst/>
            <a:ahLst/>
            <a:cxnLst>
              <a:cxn ang="0">
                <a:pos x="wd2" y="hd2"/>
              </a:cxn>
              <a:cxn ang="5400000">
                <a:pos x="wd2" y="hd2"/>
              </a:cxn>
              <a:cxn ang="10800000">
                <a:pos x="wd2" y="hd2"/>
              </a:cxn>
              <a:cxn ang="16200000">
                <a:pos x="wd2" y="hd2"/>
              </a:cxn>
            </a:cxnLst>
            <a:rect l="0" t="0" r="r" b="b"/>
            <a:pathLst>
              <a:path w="21439" h="21408" extrusionOk="0">
                <a:moveTo>
                  <a:pt x="10284" y="7"/>
                </a:moveTo>
                <a:cubicBezTo>
                  <a:pt x="4706" y="205"/>
                  <a:pt x="194" y="4142"/>
                  <a:pt x="6" y="8965"/>
                </a:cubicBezTo>
                <a:cubicBezTo>
                  <a:pt x="-161" y="13263"/>
                  <a:pt x="3056" y="16911"/>
                  <a:pt x="7526" y="18121"/>
                </a:cubicBezTo>
                <a:cubicBezTo>
                  <a:pt x="8132" y="18284"/>
                  <a:pt x="8654" y="18627"/>
                  <a:pt x="9010" y="19096"/>
                </a:cubicBezTo>
                <a:lnTo>
                  <a:pt x="10723" y="21408"/>
                </a:lnTo>
                <a:lnTo>
                  <a:pt x="12436" y="19096"/>
                </a:lnTo>
                <a:cubicBezTo>
                  <a:pt x="12791" y="18627"/>
                  <a:pt x="13313" y="18284"/>
                  <a:pt x="13919" y="18121"/>
                </a:cubicBezTo>
                <a:cubicBezTo>
                  <a:pt x="18285" y="16947"/>
                  <a:pt x="21439" y="13425"/>
                  <a:pt x="21439" y="9272"/>
                </a:cubicBezTo>
                <a:cubicBezTo>
                  <a:pt x="21439" y="4034"/>
                  <a:pt x="16405" y="-192"/>
                  <a:pt x="10284" y="7"/>
                </a:cubicBezTo>
                <a:close/>
              </a:path>
            </a:pathLst>
          </a:custGeom>
          <a:solidFill>
            <a:schemeClr val="accent5"/>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solidFill>
                <a:srgbClr val="FFFFFF"/>
              </a:solidFill>
            </a:endParaRPr>
          </a:p>
        </p:txBody>
      </p:sp>
      <p:sp>
        <p:nvSpPr>
          <p:cNvPr id="109" name="Shape">
            <a:extLst>
              <a:ext uri="{FF2B5EF4-FFF2-40B4-BE49-F238E27FC236}">
                <a16:creationId xmlns:a16="http://schemas.microsoft.com/office/drawing/2014/main" id="{C9A0ADDC-4B21-2CCC-1109-EB38331B3DC8}"/>
              </a:ext>
            </a:extLst>
          </p:cNvPr>
          <p:cNvSpPr/>
          <p:nvPr/>
        </p:nvSpPr>
        <p:spPr>
          <a:xfrm rot="5400000">
            <a:off x="1490692" y="3551115"/>
            <a:ext cx="809775" cy="935289"/>
          </a:xfrm>
          <a:custGeom>
            <a:avLst/>
            <a:gdLst/>
            <a:ahLst/>
            <a:cxnLst>
              <a:cxn ang="0">
                <a:pos x="wd2" y="hd2"/>
              </a:cxn>
              <a:cxn ang="5400000">
                <a:pos x="wd2" y="hd2"/>
              </a:cxn>
              <a:cxn ang="10800000">
                <a:pos x="wd2" y="hd2"/>
              </a:cxn>
              <a:cxn ang="16200000">
                <a:pos x="wd2" y="hd2"/>
              </a:cxn>
            </a:cxnLst>
            <a:rect l="0" t="0" r="r" b="b"/>
            <a:pathLst>
              <a:path w="21439" h="21408" extrusionOk="0">
                <a:moveTo>
                  <a:pt x="10284" y="7"/>
                </a:moveTo>
                <a:cubicBezTo>
                  <a:pt x="4706" y="205"/>
                  <a:pt x="194" y="4142"/>
                  <a:pt x="6" y="8965"/>
                </a:cubicBezTo>
                <a:cubicBezTo>
                  <a:pt x="-161" y="13263"/>
                  <a:pt x="3056" y="16911"/>
                  <a:pt x="7526" y="18121"/>
                </a:cubicBezTo>
                <a:cubicBezTo>
                  <a:pt x="8132" y="18284"/>
                  <a:pt x="8654" y="18627"/>
                  <a:pt x="9010" y="19096"/>
                </a:cubicBezTo>
                <a:lnTo>
                  <a:pt x="10723" y="21408"/>
                </a:lnTo>
                <a:lnTo>
                  <a:pt x="12436" y="19096"/>
                </a:lnTo>
                <a:cubicBezTo>
                  <a:pt x="12791" y="18627"/>
                  <a:pt x="13313" y="18284"/>
                  <a:pt x="13919" y="18121"/>
                </a:cubicBezTo>
                <a:cubicBezTo>
                  <a:pt x="18285" y="16947"/>
                  <a:pt x="21439" y="13425"/>
                  <a:pt x="21439" y="9272"/>
                </a:cubicBezTo>
                <a:cubicBezTo>
                  <a:pt x="21439" y="4034"/>
                  <a:pt x="16405" y="-192"/>
                  <a:pt x="10284" y="7"/>
                </a:cubicBezTo>
                <a:close/>
              </a:path>
            </a:pathLst>
          </a:custGeom>
          <a:solidFill>
            <a:schemeClr val="accent2"/>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solidFill>
                <a:srgbClr val="FFFFFF"/>
              </a:solidFill>
            </a:endParaRPr>
          </a:p>
        </p:txBody>
      </p:sp>
      <p:sp>
        <p:nvSpPr>
          <p:cNvPr id="110" name="Shape">
            <a:extLst>
              <a:ext uri="{FF2B5EF4-FFF2-40B4-BE49-F238E27FC236}">
                <a16:creationId xmlns:a16="http://schemas.microsoft.com/office/drawing/2014/main" id="{195B8DE1-E2FF-5395-5B0A-98571A8E4C57}"/>
              </a:ext>
            </a:extLst>
          </p:cNvPr>
          <p:cNvSpPr/>
          <p:nvPr/>
        </p:nvSpPr>
        <p:spPr>
          <a:xfrm rot="5400000">
            <a:off x="1490692" y="4508458"/>
            <a:ext cx="809775" cy="935289"/>
          </a:xfrm>
          <a:custGeom>
            <a:avLst/>
            <a:gdLst/>
            <a:ahLst/>
            <a:cxnLst>
              <a:cxn ang="0">
                <a:pos x="wd2" y="hd2"/>
              </a:cxn>
              <a:cxn ang="5400000">
                <a:pos x="wd2" y="hd2"/>
              </a:cxn>
              <a:cxn ang="10800000">
                <a:pos x="wd2" y="hd2"/>
              </a:cxn>
              <a:cxn ang="16200000">
                <a:pos x="wd2" y="hd2"/>
              </a:cxn>
            </a:cxnLst>
            <a:rect l="0" t="0" r="r" b="b"/>
            <a:pathLst>
              <a:path w="21439" h="21408" extrusionOk="0">
                <a:moveTo>
                  <a:pt x="10284" y="7"/>
                </a:moveTo>
                <a:cubicBezTo>
                  <a:pt x="4706" y="205"/>
                  <a:pt x="194" y="4142"/>
                  <a:pt x="6" y="8965"/>
                </a:cubicBezTo>
                <a:cubicBezTo>
                  <a:pt x="-161" y="13263"/>
                  <a:pt x="3056" y="16911"/>
                  <a:pt x="7526" y="18121"/>
                </a:cubicBezTo>
                <a:cubicBezTo>
                  <a:pt x="8132" y="18284"/>
                  <a:pt x="8654" y="18627"/>
                  <a:pt x="9010" y="19096"/>
                </a:cubicBezTo>
                <a:lnTo>
                  <a:pt x="10723" y="21408"/>
                </a:lnTo>
                <a:lnTo>
                  <a:pt x="12436" y="19096"/>
                </a:lnTo>
                <a:cubicBezTo>
                  <a:pt x="12791" y="18627"/>
                  <a:pt x="13313" y="18284"/>
                  <a:pt x="13919" y="18121"/>
                </a:cubicBezTo>
                <a:cubicBezTo>
                  <a:pt x="18285" y="16947"/>
                  <a:pt x="21439" y="13425"/>
                  <a:pt x="21439" y="9272"/>
                </a:cubicBezTo>
                <a:cubicBezTo>
                  <a:pt x="21439" y="4034"/>
                  <a:pt x="16405" y="-192"/>
                  <a:pt x="10284" y="7"/>
                </a:cubicBezTo>
                <a:close/>
              </a:path>
            </a:pathLst>
          </a:custGeom>
          <a:solidFill>
            <a:schemeClr val="accent3"/>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solidFill>
                <a:srgbClr val="FFFFFF"/>
              </a:solidFill>
            </a:endParaRPr>
          </a:p>
        </p:txBody>
      </p:sp>
      <p:sp>
        <p:nvSpPr>
          <p:cNvPr id="111" name="Shape">
            <a:extLst>
              <a:ext uri="{FF2B5EF4-FFF2-40B4-BE49-F238E27FC236}">
                <a16:creationId xmlns:a16="http://schemas.microsoft.com/office/drawing/2014/main" id="{0D1192DA-5177-E16F-7B03-1CBD92C62355}"/>
              </a:ext>
            </a:extLst>
          </p:cNvPr>
          <p:cNvSpPr/>
          <p:nvPr/>
        </p:nvSpPr>
        <p:spPr>
          <a:xfrm rot="5400000">
            <a:off x="1490692" y="5465800"/>
            <a:ext cx="809775" cy="935289"/>
          </a:xfrm>
          <a:custGeom>
            <a:avLst/>
            <a:gdLst/>
            <a:ahLst/>
            <a:cxnLst>
              <a:cxn ang="0">
                <a:pos x="wd2" y="hd2"/>
              </a:cxn>
              <a:cxn ang="5400000">
                <a:pos x="wd2" y="hd2"/>
              </a:cxn>
              <a:cxn ang="10800000">
                <a:pos x="wd2" y="hd2"/>
              </a:cxn>
              <a:cxn ang="16200000">
                <a:pos x="wd2" y="hd2"/>
              </a:cxn>
            </a:cxnLst>
            <a:rect l="0" t="0" r="r" b="b"/>
            <a:pathLst>
              <a:path w="21439" h="21408" extrusionOk="0">
                <a:moveTo>
                  <a:pt x="10284" y="7"/>
                </a:moveTo>
                <a:cubicBezTo>
                  <a:pt x="4706" y="205"/>
                  <a:pt x="194" y="4142"/>
                  <a:pt x="6" y="8965"/>
                </a:cubicBezTo>
                <a:cubicBezTo>
                  <a:pt x="-161" y="13263"/>
                  <a:pt x="3056" y="16911"/>
                  <a:pt x="7526" y="18121"/>
                </a:cubicBezTo>
                <a:cubicBezTo>
                  <a:pt x="8132" y="18284"/>
                  <a:pt x="8654" y="18627"/>
                  <a:pt x="9010" y="19096"/>
                </a:cubicBezTo>
                <a:lnTo>
                  <a:pt x="10723" y="21408"/>
                </a:lnTo>
                <a:lnTo>
                  <a:pt x="12436" y="19096"/>
                </a:lnTo>
                <a:cubicBezTo>
                  <a:pt x="12791" y="18627"/>
                  <a:pt x="13313" y="18284"/>
                  <a:pt x="13919" y="18121"/>
                </a:cubicBezTo>
                <a:cubicBezTo>
                  <a:pt x="18285" y="16947"/>
                  <a:pt x="21439" y="13425"/>
                  <a:pt x="21439" y="9272"/>
                </a:cubicBezTo>
                <a:cubicBezTo>
                  <a:pt x="21439" y="4034"/>
                  <a:pt x="16405" y="-192"/>
                  <a:pt x="10284" y="7"/>
                </a:cubicBezTo>
                <a:close/>
              </a:path>
            </a:pathLst>
          </a:custGeom>
          <a:solidFill>
            <a:schemeClr val="accent6"/>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solidFill>
                <a:srgbClr val="FFFFFF"/>
              </a:solidFill>
            </a:endParaRPr>
          </a:p>
        </p:txBody>
      </p:sp>
      <p:pic>
        <p:nvPicPr>
          <p:cNvPr id="113" name="Graphic 112" descr="Open envelope with solid fill">
            <a:extLst>
              <a:ext uri="{FF2B5EF4-FFF2-40B4-BE49-F238E27FC236}">
                <a16:creationId xmlns:a16="http://schemas.microsoft.com/office/drawing/2014/main" id="{A7769189-E9F1-BEC9-B35E-C50377331109}"/>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726897" y="1872635"/>
            <a:ext cx="462879" cy="462879"/>
          </a:xfrm>
          <a:prstGeom prst="rect">
            <a:avLst/>
          </a:prstGeom>
          <a:effectLst/>
        </p:spPr>
      </p:pic>
      <p:pic>
        <p:nvPicPr>
          <p:cNvPr id="117" name="Graphic 116" descr="Head with gears">
            <a:extLst>
              <a:ext uri="{FF2B5EF4-FFF2-40B4-BE49-F238E27FC236}">
                <a16:creationId xmlns:a16="http://schemas.microsoft.com/office/drawing/2014/main" id="{6391BE2E-9BDE-B16D-F872-46ACE618521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26897" y="2829978"/>
            <a:ext cx="462879" cy="462879"/>
          </a:xfrm>
          <a:prstGeom prst="rect">
            <a:avLst/>
          </a:prstGeom>
          <a:effectLst/>
        </p:spPr>
      </p:pic>
      <p:pic>
        <p:nvPicPr>
          <p:cNvPr id="121" name="Graphic 120" descr="Meeting with solid fill">
            <a:extLst>
              <a:ext uri="{FF2B5EF4-FFF2-40B4-BE49-F238E27FC236}">
                <a16:creationId xmlns:a16="http://schemas.microsoft.com/office/drawing/2014/main" id="{684F3380-B0CF-BE71-5DC4-8029332F01AF}"/>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726897" y="3787320"/>
            <a:ext cx="462879" cy="462879"/>
          </a:xfrm>
          <a:prstGeom prst="rect">
            <a:avLst/>
          </a:prstGeom>
          <a:effectLst/>
        </p:spPr>
      </p:pic>
      <p:pic>
        <p:nvPicPr>
          <p:cNvPr id="125" name="Graphic 124" descr="Scales of justice with solid fill">
            <a:extLst>
              <a:ext uri="{FF2B5EF4-FFF2-40B4-BE49-F238E27FC236}">
                <a16:creationId xmlns:a16="http://schemas.microsoft.com/office/drawing/2014/main" id="{F4A8FAD8-0CED-B856-1DBF-846BBE7D60E3}"/>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1726897" y="4744663"/>
            <a:ext cx="462879" cy="462879"/>
          </a:xfrm>
          <a:prstGeom prst="rect">
            <a:avLst/>
          </a:prstGeom>
          <a:effectLst/>
        </p:spPr>
      </p:pic>
      <p:pic>
        <p:nvPicPr>
          <p:cNvPr id="129" name="Graphic 128" descr="Fork In Road with solid fill">
            <a:extLst>
              <a:ext uri="{FF2B5EF4-FFF2-40B4-BE49-F238E27FC236}">
                <a16:creationId xmlns:a16="http://schemas.microsoft.com/office/drawing/2014/main" id="{FED32937-AF34-900B-CDDD-525330700547}"/>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1726897" y="5702005"/>
            <a:ext cx="462879" cy="462879"/>
          </a:xfrm>
          <a:prstGeom prst="rect">
            <a:avLst/>
          </a:prstGeom>
          <a:effectLst/>
        </p:spPr>
      </p:pic>
      <p:sp>
        <p:nvSpPr>
          <p:cNvPr id="133" name="TextBox 132">
            <a:extLst>
              <a:ext uri="{FF2B5EF4-FFF2-40B4-BE49-F238E27FC236}">
                <a16:creationId xmlns:a16="http://schemas.microsoft.com/office/drawing/2014/main" id="{D28841A9-A50E-0EE4-E602-7598ED334C15}"/>
              </a:ext>
            </a:extLst>
          </p:cNvPr>
          <p:cNvSpPr txBox="1"/>
          <p:nvPr/>
        </p:nvSpPr>
        <p:spPr>
          <a:xfrm>
            <a:off x="653524" y="2009457"/>
            <a:ext cx="483441" cy="212307"/>
          </a:xfrm>
          <a:prstGeom prst="rect">
            <a:avLst/>
          </a:prstGeom>
          <a:noFill/>
        </p:spPr>
        <p:txBody>
          <a:bodyPr wrap="none" rtlCol="0" anchor="b">
            <a:spAutoFit/>
          </a:bodyPr>
          <a:lstStyle/>
          <a:p>
            <a:pPr algn="ctr"/>
            <a:r>
              <a:rPr lang="en-US" sz="1400" b="1" dirty="0">
                <a:solidFill>
                  <a:schemeClr val="tx2"/>
                </a:solidFill>
              </a:rPr>
              <a:t>Intake</a:t>
            </a:r>
          </a:p>
        </p:txBody>
      </p:sp>
      <p:sp>
        <p:nvSpPr>
          <p:cNvPr id="134" name="TextBox 133">
            <a:extLst>
              <a:ext uri="{FF2B5EF4-FFF2-40B4-BE49-F238E27FC236}">
                <a16:creationId xmlns:a16="http://schemas.microsoft.com/office/drawing/2014/main" id="{39F996C2-9F3C-0BAD-0DE8-93B41484A459}"/>
              </a:ext>
            </a:extLst>
          </p:cNvPr>
          <p:cNvSpPr txBox="1"/>
          <p:nvPr/>
        </p:nvSpPr>
        <p:spPr>
          <a:xfrm>
            <a:off x="536314" y="2966801"/>
            <a:ext cx="600651" cy="212307"/>
          </a:xfrm>
          <a:prstGeom prst="rect">
            <a:avLst/>
          </a:prstGeom>
          <a:noFill/>
        </p:spPr>
        <p:txBody>
          <a:bodyPr wrap="none" rtlCol="0" anchor="b">
            <a:spAutoFit/>
          </a:bodyPr>
          <a:lstStyle/>
          <a:p>
            <a:pPr algn="ctr"/>
            <a:r>
              <a:rPr lang="en-US" sz="1400" b="1" dirty="0">
                <a:solidFill>
                  <a:schemeClr val="accent5"/>
                </a:solidFill>
              </a:rPr>
              <a:t>Classify</a:t>
            </a:r>
          </a:p>
        </p:txBody>
      </p:sp>
      <p:sp>
        <p:nvSpPr>
          <p:cNvPr id="135" name="TextBox 134">
            <a:extLst>
              <a:ext uri="{FF2B5EF4-FFF2-40B4-BE49-F238E27FC236}">
                <a16:creationId xmlns:a16="http://schemas.microsoft.com/office/drawing/2014/main" id="{0CF989DF-E1D4-976B-CA3D-F92DFF2136C2}"/>
              </a:ext>
            </a:extLst>
          </p:cNvPr>
          <p:cNvSpPr txBox="1"/>
          <p:nvPr/>
        </p:nvSpPr>
        <p:spPr>
          <a:xfrm>
            <a:off x="372659" y="3912605"/>
            <a:ext cx="764306" cy="212307"/>
          </a:xfrm>
          <a:prstGeom prst="rect">
            <a:avLst/>
          </a:prstGeom>
          <a:noFill/>
        </p:spPr>
        <p:txBody>
          <a:bodyPr wrap="none" rtlCol="0" anchor="b">
            <a:spAutoFit/>
          </a:bodyPr>
          <a:lstStyle/>
          <a:p>
            <a:pPr algn="ctr"/>
            <a:r>
              <a:rPr lang="en-US" sz="1400" b="1" dirty="0">
                <a:solidFill>
                  <a:schemeClr val="accent2">
                    <a:lumMod val="75000"/>
                  </a:schemeClr>
                </a:solidFill>
              </a:rPr>
              <a:t>Resolution</a:t>
            </a:r>
          </a:p>
        </p:txBody>
      </p:sp>
      <p:sp>
        <p:nvSpPr>
          <p:cNvPr id="136" name="TextBox 135">
            <a:extLst>
              <a:ext uri="{FF2B5EF4-FFF2-40B4-BE49-F238E27FC236}">
                <a16:creationId xmlns:a16="http://schemas.microsoft.com/office/drawing/2014/main" id="{DDC3CF3E-A774-B481-BF78-B675393070AA}"/>
              </a:ext>
            </a:extLst>
          </p:cNvPr>
          <p:cNvSpPr txBox="1"/>
          <p:nvPr/>
        </p:nvSpPr>
        <p:spPr>
          <a:xfrm>
            <a:off x="748620" y="4858410"/>
            <a:ext cx="388345" cy="212307"/>
          </a:xfrm>
          <a:prstGeom prst="rect">
            <a:avLst/>
          </a:prstGeom>
          <a:noFill/>
        </p:spPr>
        <p:txBody>
          <a:bodyPr wrap="none" rtlCol="0" anchor="b">
            <a:spAutoFit/>
          </a:bodyPr>
          <a:lstStyle/>
          <a:p>
            <a:pPr algn="ctr"/>
            <a:r>
              <a:rPr lang="en-US" sz="1400" b="1" dirty="0">
                <a:solidFill>
                  <a:schemeClr val="accent3">
                    <a:lumMod val="50000"/>
                  </a:schemeClr>
                </a:solidFill>
              </a:rPr>
              <a:t>Risk</a:t>
            </a:r>
          </a:p>
        </p:txBody>
      </p:sp>
      <p:sp>
        <p:nvSpPr>
          <p:cNvPr id="137" name="TextBox 136">
            <a:extLst>
              <a:ext uri="{FF2B5EF4-FFF2-40B4-BE49-F238E27FC236}">
                <a16:creationId xmlns:a16="http://schemas.microsoft.com/office/drawing/2014/main" id="{492B25D2-71D5-F7D7-2B47-AEEE9DFB6B37}"/>
              </a:ext>
            </a:extLst>
          </p:cNvPr>
          <p:cNvSpPr txBox="1"/>
          <p:nvPr/>
        </p:nvSpPr>
        <p:spPr>
          <a:xfrm>
            <a:off x="495400" y="5838828"/>
            <a:ext cx="641565" cy="212307"/>
          </a:xfrm>
          <a:prstGeom prst="rect">
            <a:avLst/>
          </a:prstGeom>
          <a:noFill/>
        </p:spPr>
        <p:txBody>
          <a:bodyPr wrap="none" rtlCol="0" anchor="b">
            <a:spAutoFit/>
          </a:bodyPr>
          <a:lstStyle/>
          <a:p>
            <a:pPr algn="ctr"/>
            <a:r>
              <a:rPr lang="en-US" sz="1400" b="1" dirty="0">
                <a:solidFill>
                  <a:schemeClr val="accent6">
                    <a:lumMod val="75000"/>
                  </a:schemeClr>
                </a:solidFill>
              </a:rPr>
              <a:t>Decision</a:t>
            </a:r>
          </a:p>
        </p:txBody>
      </p:sp>
      <p:sp>
        <p:nvSpPr>
          <p:cNvPr id="138" name="TextBox 137">
            <a:extLst>
              <a:ext uri="{FF2B5EF4-FFF2-40B4-BE49-F238E27FC236}">
                <a16:creationId xmlns:a16="http://schemas.microsoft.com/office/drawing/2014/main" id="{6E93701C-1796-53B5-3B9B-2D2E9CDB965F}"/>
              </a:ext>
            </a:extLst>
          </p:cNvPr>
          <p:cNvSpPr txBox="1"/>
          <p:nvPr/>
        </p:nvSpPr>
        <p:spPr>
          <a:xfrm>
            <a:off x="582034" y="1159092"/>
            <a:ext cx="2659767" cy="369332"/>
          </a:xfrm>
          <a:prstGeom prst="rect">
            <a:avLst/>
          </a:prstGeom>
          <a:noFill/>
        </p:spPr>
        <p:txBody>
          <a:bodyPr wrap="none" rtlCol="0">
            <a:spAutoFit/>
          </a:bodyPr>
          <a:lstStyle/>
          <a:p>
            <a:r>
              <a:rPr lang="en-US" dirty="0"/>
              <a:t>Agentic Message Triage</a:t>
            </a:r>
          </a:p>
        </p:txBody>
      </p:sp>
      <p:pic>
        <p:nvPicPr>
          <p:cNvPr id="5" name="Picture 4" descr="A diagram of a business process&#10;&#10;AI-generated content may be incorrect.">
            <a:extLst>
              <a:ext uri="{FF2B5EF4-FFF2-40B4-BE49-F238E27FC236}">
                <a16:creationId xmlns:a16="http://schemas.microsoft.com/office/drawing/2014/main" id="{33BF2630-B11B-F3C5-9857-4331C473D03F}"/>
              </a:ext>
            </a:extLst>
          </p:cNvPr>
          <p:cNvPicPr>
            <a:picLocks noChangeAspect="1"/>
          </p:cNvPicPr>
          <p:nvPr/>
        </p:nvPicPr>
        <p:blipFill>
          <a:blip r:embed="rId13"/>
          <a:stretch>
            <a:fillRect/>
          </a:stretch>
        </p:blipFill>
        <p:spPr>
          <a:xfrm>
            <a:off x="4145014" y="1745204"/>
            <a:ext cx="3248843" cy="4334801"/>
          </a:xfrm>
          <a:prstGeom prst="rect">
            <a:avLst/>
          </a:prstGeom>
        </p:spPr>
      </p:pic>
      <p:sp>
        <p:nvSpPr>
          <p:cNvPr id="6" name="TextBox 5">
            <a:extLst>
              <a:ext uri="{FF2B5EF4-FFF2-40B4-BE49-F238E27FC236}">
                <a16:creationId xmlns:a16="http://schemas.microsoft.com/office/drawing/2014/main" id="{FD450FA9-883B-5BDD-59C2-A30A8C213395}"/>
              </a:ext>
            </a:extLst>
          </p:cNvPr>
          <p:cNvSpPr txBox="1"/>
          <p:nvPr/>
        </p:nvSpPr>
        <p:spPr>
          <a:xfrm>
            <a:off x="4335764" y="1159092"/>
            <a:ext cx="2813591" cy="369332"/>
          </a:xfrm>
          <a:prstGeom prst="rect">
            <a:avLst/>
          </a:prstGeom>
          <a:noFill/>
        </p:spPr>
        <p:txBody>
          <a:bodyPr wrap="none" rtlCol="0">
            <a:spAutoFit/>
          </a:bodyPr>
          <a:lstStyle/>
          <a:p>
            <a:r>
              <a:rPr lang="en-US"/>
              <a:t>LangGraph Directed Flow</a:t>
            </a:r>
            <a:endParaRPr lang="en-US" dirty="0"/>
          </a:p>
        </p:txBody>
      </p:sp>
      <p:pic>
        <p:nvPicPr>
          <p:cNvPr id="8" name="Picture 7" descr="A screen shot of a computer program&#10;&#10;AI-generated content may be incorrect.">
            <a:extLst>
              <a:ext uri="{FF2B5EF4-FFF2-40B4-BE49-F238E27FC236}">
                <a16:creationId xmlns:a16="http://schemas.microsoft.com/office/drawing/2014/main" id="{F939ED94-7E2D-8F88-02B2-88271F485A76}"/>
              </a:ext>
            </a:extLst>
          </p:cNvPr>
          <p:cNvPicPr>
            <a:picLocks noChangeAspect="1"/>
          </p:cNvPicPr>
          <p:nvPr/>
        </p:nvPicPr>
        <p:blipFill>
          <a:blip r:embed="rId14"/>
          <a:stretch>
            <a:fillRect/>
          </a:stretch>
        </p:blipFill>
        <p:spPr>
          <a:xfrm>
            <a:off x="7583176" y="1008756"/>
            <a:ext cx="3184942" cy="5329576"/>
          </a:xfrm>
          <a:prstGeom prst="rect">
            <a:avLst/>
          </a:prstGeom>
        </p:spPr>
      </p:pic>
    </p:spTree>
    <p:extLst>
      <p:ext uri="{BB962C8B-B14F-4D97-AF65-F5344CB8AC3E}">
        <p14:creationId xmlns:p14="http://schemas.microsoft.com/office/powerpoint/2010/main" val="299911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nodeType="clickEffect">
                                  <p:stCondLst>
                                    <p:cond delay="0"/>
                                  </p:stCondLst>
                                  <p:childTnLst>
                                    <p:animEffect transition="out" filter="dissolve">
                                      <p:cBhvr>
                                        <p:cTn id="6" dur="500"/>
                                        <p:tgtEl>
                                          <p:spTgt spid="8"/>
                                        </p:tgtEl>
                                      </p:cBhvr>
                                    </p:animEffect>
                                    <p:set>
                                      <p:cBhvr>
                                        <p:cTn id="7" dur="1" fill="hold">
                                          <p:stCondLst>
                                            <p:cond delay="499"/>
                                          </p:stCondLst>
                                        </p:cTn>
                                        <p:tgtEl>
                                          <p:spTgt spid="8"/>
                                        </p:tgtEl>
                                        <p:attrNameLst>
                                          <p:attrName>style.visibility</p:attrName>
                                        </p:attrNameLst>
                                      </p:cBhvr>
                                      <p:to>
                                        <p:strVal val="hidden"/>
                                      </p:to>
                                    </p:set>
                                  </p:childTnLst>
                                </p:cTn>
                              </p:par>
                              <p:par>
                                <p:cTn id="8" presetID="1"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45F8F-7007-E90B-85B7-488509D8A5A7}"/>
              </a:ext>
            </a:extLst>
          </p:cNvPr>
          <p:cNvSpPr>
            <a:spLocks noGrp="1"/>
          </p:cNvSpPr>
          <p:nvPr>
            <p:ph type="title"/>
          </p:nvPr>
        </p:nvSpPr>
        <p:spPr/>
        <p:txBody>
          <a:bodyPr/>
          <a:lstStyle/>
          <a:p>
            <a:r>
              <a:rPr lang="en-US" dirty="0"/>
              <a:t>Using Custom Built Tools with Tool Enabled LLMs</a:t>
            </a:r>
          </a:p>
        </p:txBody>
      </p:sp>
      <p:sp>
        <p:nvSpPr>
          <p:cNvPr id="3" name="Text Placeholder 2">
            <a:extLst>
              <a:ext uri="{FF2B5EF4-FFF2-40B4-BE49-F238E27FC236}">
                <a16:creationId xmlns:a16="http://schemas.microsoft.com/office/drawing/2014/main" id="{FAA9E0E3-7BD7-E554-C0AA-621C61ADFDBE}"/>
              </a:ext>
            </a:extLst>
          </p:cNvPr>
          <p:cNvSpPr>
            <a:spLocks noGrp="1"/>
          </p:cNvSpPr>
          <p:nvPr>
            <p:ph type="body" sz="quarter" idx="10"/>
          </p:nvPr>
        </p:nvSpPr>
        <p:spPr>
          <a:xfrm>
            <a:off x="384175" y="1231900"/>
            <a:ext cx="6250541" cy="4957763"/>
          </a:xfrm>
        </p:spPr>
        <p:txBody>
          <a:bodyPr/>
          <a:lstStyle/>
          <a:p>
            <a:r>
              <a:rPr lang="en-US" dirty="0"/>
              <a:t>Class exercises:</a:t>
            </a:r>
          </a:p>
          <a:p>
            <a:pPr lvl="1"/>
            <a:r>
              <a:rPr lang="en-US" dirty="0" err="1"/>
              <a:t>IntroToAgents</a:t>
            </a:r>
            <a:r>
              <a:rPr lang="en-US" dirty="0"/>
              <a:t>/lecture/day2/exercise1.py</a:t>
            </a:r>
          </a:p>
          <a:p>
            <a:pPr lvl="1"/>
            <a:r>
              <a:rPr lang="en-US" dirty="0" err="1"/>
              <a:t>IntroToAgents</a:t>
            </a:r>
            <a:r>
              <a:rPr lang="en-US" dirty="0"/>
              <a:t>/lecture/day2/exercise2.py</a:t>
            </a:r>
          </a:p>
          <a:p>
            <a:pPr lvl="1"/>
            <a:r>
              <a:rPr lang="en-US" dirty="0" err="1"/>
              <a:t>IntroToAgents</a:t>
            </a:r>
            <a:r>
              <a:rPr lang="en-US" dirty="0"/>
              <a:t>/lecture/day2/exercise3.py</a:t>
            </a:r>
          </a:p>
          <a:p>
            <a:pPr lvl="1"/>
            <a:r>
              <a:rPr lang="en-US" dirty="0" err="1"/>
              <a:t>IntroToAgents</a:t>
            </a:r>
            <a:r>
              <a:rPr lang="en-US" dirty="0"/>
              <a:t>/lecture/day2/exercise4.py</a:t>
            </a:r>
          </a:p>
          <a:p>
            <a:pPr lvl="1"/>
            <a:r>
              <a:rPr lang="en-US" dirty="0" err="1"/>
              <a:t>IntroToAgents</a:t>
            </a:r>
            <a:r>
              <a:rPr lang="en-US" dirty="0"/>
              <a:t>/lecture/day2/exercise5.py</a:t>
            </a:r>
          </a:p>
          <a:p>
            <a:pPr lvl="1"/>
            <a:endParaRPr lang="en-US" dirty="0"/>
          </a:p>
          <a:p>
            <a:r>
              <a:rPr lang="en-US" dirty="0"/>
              <a:t>Key Technologies:</a:t>
            </a:r>
          </a:p>
          <a:p>
            <a:pPr lvl="1"/>
            <a:r>
              <a:rPr lang="en-US" dirty="0"/>
              <a:t>Bedrock</a:t>
            </a:r>
          </a:p>
          <a:p>
            <a:pPr lvl="1"/>
            <a:r>
              <a:rPr lang="en-US" dirty="0"/>
              <a:t>LangGraph</a:t>
            </a:r>
          </a:p>
          <a:p>
            <a:pPr lvl="1"/>
            <a:r>
              <a:rPr lang="en-US" dirty="0"/>
              <a:t>Python!</a:t>
            </a:r>
          </a:p>
        </p:txBody>
      </p:sp>
      <p:pic>
        <p:nvPicPr>
          <p:cNvPr id="5" name="Picture 4" descr="A screenshot of a computer program&#10;&#10;AI-generated content may be incorrect.">
            <a:extLst>
              <a:ext uri="{FF2B5EF4-FFF2-40B4-BE49-F238E27FC236}">
                <a16:creationId xmlns:a16="http://schemas.microsoft.com/office/drawing/2014/main" id="{15208242-CFB2-5079-4E3B-2E1D66936EBC}"/>
              </a:ext>
            </a:extLst>
          </p:cNvPr>
          <p:cNvPicPr>
            <a:picLocks noChangeAspect="1"/>
          </p:cNvPicPr>
          <p:nvPr/>
        </p:nvPicPr>
        <p:blipFill>
          <a:blip r:embed="rId2"/>
          <a:srcRect r="33307"/>
          <a:stretch>
            <a:fillRect/>
          </a:stretch>
        </p:blipFill>
        <p:spPr>
          <a:xfrm>
            <a:off x="7001181" y="884172"/>
            <a:ext cx="4141740" cy="4957763"/>
          </a:xfrm>
          <a:prstGeom prst="rect">
            <a:avLst/>
          </a:prstGeom>
        </p:spPr>
      </p:pic>
    </p:spTree>
    <p:extLst>
      <p:ext uri="{BB962C8B-B14F-4D97-AF65-F5344CB8AC3E}">
        <p14:creationId xmlns:p14="http://schemas.microsoft.com/office/powerpoint/2010/main" val="24991596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ADA5C-ABD6-9F9E-7090-B822BE32A2EB}"/>
              </a:ext>
            </a:extLst>
          </p:cNvPr>
          <p:cNvSpPr>
            <a:spLocks noGrp="1"/>
          </p:cNvSpPr>
          <p:nvPr>
            <p:ph type="title"/>
          </p:nvPr>
        </p:nvSpPr>
        <p:spPr/>
        <p:txBody>
          <a:bodyPr/>
          <a:lstStyle/>
          <a:p>
            <a:r>
              <a:rPr lang="en-US" dirty="0"/>
              <a:t>Expectations for Attendees</a:t>
            </a:r>
          </a:p>
        </p:txBody>
      </p:sp>
      <p:grpSp>
        <p:nvGrpSpPr>
          <p:cNvPr id="7" name="Group 6">
            <a:extLst>
              <a:ext uri="{FF2B5EF4-FFF2-40B4-BE49-F238E27FC236}">
                <a16:creationId xmlns:a16="http://schemas.microsoft.com/office/drawing/2014/main" id="{995299E4-9F93-8A4E-DF64-22BF8B12CF17}"/>
              </a:ext>
            </a:extLst>
          </p:cNvPr>
          <p:cNvGrpSpPr/>
          <p:nvPr/>
        </p:nvGrpSpPr>
        <p:grpSpPr>
          <a:xfrm>
            <a:off x="349431" y="1083247"/>
            <a:ext cx="5671660" cy="4852734"/>
            <a:chOff x="637971" y="1001402"/>
            <a:chExt cx="5671660" cy="4852734"/>
          </a:xfrm>
        </p:grpSpPr>
        <p:sp>
          <p:nvSpPr>
            <p:cNvPr id="5" name="Rectangle 4">
              <a:extLst>
                <a:ext uri="{FF2B5EF4-FFF2-40B4-BE49-F238E27FC236}">
                  <a16:creationId xmlns:a16="http://schemas.microsoft.com/office/drawing/2014/main" id="{BF475746-6989-CD31-B7BE-42B9BBE4A4F5}"/>
                </a:ext>
              </a:extLst>
            </p:cNvPr>
            <p:cNvSpPr/>
            <p:nvPr/>
          </p:nvSpPr>
          <p:spPr>
            <a:xfrm>
              <a:off x="637971" y="1208867"/>
              <a:ext cx="5671660" cy="4645269"/>
            </a:xfrm>
            <a:prstGeom prst="rect">
              <a:avLst/>
            </a:prstGeom>
            <a:noFill/>
            <a:ln w="285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B15BA0A0-4FFE-EFA3-3D35-A9BA15957518}"/>
                </a:ext>
              </a:extLst>
            </p:cNvPr>
            <p:cNvSpPr/>
            <p:nvPr/>
          </p:nvSpPr>
          <p:spPr>
            <a:xfrm>
              <a:off x="2064726" y="1001402"/>
              <a:ext cx="2818151" cy="39943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In-Person Participants</a:t>
              </a:r>
              <a:endPar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endParaRPr>
            </a:p>
          </p:txBody>
        </p:sp>
        <p:sp>
          <p:nvSpPr>
            <p:cNvPr id="14" name="Rectangle 13">
              <a:extLst>
                <a:ext uri="{FF2B5EF4-FFF2-40B4-BE49-F238E27FC236}">
                  <a16:creationId xmlns:a16="http://schemas.microsoft.com/office/drawing/2014/main" id="{138CBF9E-8C98-178C-BD66-4C04C57F88B2}"/>
                </a:ext>
              </a:extLst>
            </p:cNvPr>
            <p:cNvSpPr/>
            <p:nvPr/>
          </p:nvSpPr>
          <p:spPr>
            <a:xfrm>
              <a:off x="817113" y="1608298"/>
              <a:ext cx="5384030" cy="416482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Help keep virtual peers engaged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verbalize questions so they’re heard, repeat key discussion points</a:t>
              </a:r>
            </a:p>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Be inclusive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invite virtual peers into conversations, acknowledge their contributions and input</a:t>
              </a:r>
            </a:p>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Practice presence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be attentive during sessions</a:t>
              </a:r>
            </a:p>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Respect hybrid format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speak clearly, help maintain smooth interaction between in-person and virtual participants</a:t>
              </a:r>
            </a:p>
          </p:txBody>
        </p:sp>
      </p:grpSp>
      <p:grpSp>
        <p:nvGrpSpPr>
          <p:cNvPr id="20" name="Group 19">
            <a:extLst>
              <a:ext uri="{FF2B5EF4-FFF2-40B4-BE49-F238E27FC236}">
                <a16:creationId xmlns:a16="http://schemas.microsoft.com/office/drawing/2014/main" id="{881E1208-5D00-9427-5AEC-34CEBAA03C63}"/>
              </a:ext>
            </a:extLst>
          </p:cNvPr>
          <p:cNvGrpSpPr/>
          <p:nvPr/>
        </p:nvGrpSpPr>
        <p:grpSpPr>
          <a:xfrm>
            <a:off x="6232374" y="1083247"/>
            <a:ext cx="5671660" cy="4852734"/>
            <a:chOff x="6232374" y="939409"/>
            <a:chExt cx="5671660" cy="4852734"/>
          </a:xfrm>
        </p:grpSpPr>
        <p:grpSp>
          <p:nvGrpSpPr>
            <p:cNvPr id="8" name="Group 7">
              <a:extLst>
                <a:ext uri="{FF2B5EF4-FFF2-40B4-BE49-F238E27FC236}">
                  <a16:creationId xmlns:a16="http://schemas.microsoft.com/office/drawing/2014/main" id="{D2264927-315B-1FE4-00A5-6A6F1D57A733}"/>
                </a:ext>
              </a:extLst>
            </p:cNvPr>
            <p:cNvGrpSpPr/>
            <p:nvPr/>
          </p:nvGrpSpPr>
          <p:grpSpPr>
            <a:xfrm>
              <a:off x="6232374" y="939409"/>
              <a:ext cx="5671660" cy="4852734"/>
              <a:chOff x="637971" y="1001402"/>
              <a:chExt cx="5671660" cy="4852734"/>
            </a:xfrm>
          </p:grpSpPr>
          <p:sp>
            <p:nvSpPr>
              <p:cNvPr id="9" name="Rectangle 8">
                <a:extLst>
                  <a:ext uri="{FF2B5EF4-FFF2-40B4-BE49-F238E27FC236}">
                    <a16:creationId xmlns:a16="http://schemas.microsoft.com/office/drawing/2014/main" id="{58076C09-6819-3F81-1078-09085622BE45}"/>
                  </a:ext>
                </a:extLst>
              </p:cNvPr>
              <p:cNvSpPr/>
              <p:nvPr/>
            </p:nvSpPr>
            <p:spPr>
              <a:xfrm>
                <a:off x="637971" y="1208867"/>
                <a:ext cx="5671660" cy="4645269"/>
              </a:xfrm>
              <a:prstGeom prst="rect">
                <a:avLst/>
              </a:prstGeom>
              <a:noFill/>
              <a:ln w="285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Rectangle 9">
                <a:extLst>
                  <a:ext uri="{FF2B5EF4-FFF2-40B4-BE49-F238E27FC236}">
                    <a16:creationId xmlns:a16="http://schemas.microsoft.com/office/drawing/2014/main" id="{5B944166-61A3-C263-529D-8BE364838F43}"/>
                  </a:ext>
                </a:extLst>
              </p:cNvPr>
              <p:cNvSpPr/>
              <p:nvPr/>
            </p:nvSpPr>
            <p:spPr>
              <a:xfrm>
                <a:off x="2192824" y="1001402"/>
                <a:ext cx="2561955" cy="39943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Virtual Participants</a:t>
                </a:r>
                <a:endPar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endParaRPr>
              </a:p>
            </p:txBody>
          </p:sp>
        </p:grpSp>
        <p:sp>
          <p:nvSpPr>
            <p:cNvPr id="19" name="Rectangle 18">
              <a:extLst>
                <a:ext uri="{FF2B5EF4-FFF2-40B4-BE49-F238E27FC236}">
                  <a16:creationId xmlns:a16="http://schemas.microsoft.com/office/drawing/2014/main" id="{3D017E47-F084-9E3E-747F-7175B6FCDFA0}"/>
                </a:ext>
              </a:extLst>
            </p:cNvPr>
            <p:cNvSpPr/>
            <p:nvPr/>
          </p:nvSpPr>
          <p:spPr>
            <a:xfrm>
              <a:off x="6376189" y="1546305"/>
              <a:ext cx="5384030" cy="416482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Camera on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keeping your camera on whenever possible helps us stay connected</a:t>
              </a:r>
            </a:p>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Active participation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and engagement – contribute in discussions and group work just like you would in person</a:t>
              </a:r>
            </a:p>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Dedicated focus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treat the Academy like you’re in the room, step away from multitasking</a:t>
              </a:r>
            </a:p>
            <a:p>
              <a:pPr marL="285750" marR="0" lvl="0" indent="-285750" algn="l" defTabSz="914400" rtl="0" eaLnBrk="1" fontAlgn="auto" latinLnBrk="0" hangingPunct="1">
                <a:lnSpc>
                  <a:spcPct val="100000"/>
                </a:lnSpc>
                <a:spcBef>
                  <a:spcPts val="0"/>
                </a:spcBef>
                <a:spcAft>
                  <a:spcPts val="1200"/>
                </a:spcAft>
                <a:buClr>
                  <a:srgbClr val="00645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Ask questions </a:t>
              </a:r>
              <a:r>
                <a:rPr kumimoji="0" lang="en-US" sz="1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 use the chat, raise your hand, or speak up</a:t>
              </a:r>
            </a:p>
          </p:txBody>
        </p:sp>
      </p:grpSp>
    </p:spTree>
    <p:extLst>
      <p:ext uri="{BB962C8B-B14F-4D97-AF65-F5344CB8AC3E}">
        <p14:creationId xmlns:p14="http://schemas.microsoft.com/office/powerpoint/2010/main" val="3667350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335CB9-7299-515E-50B5-3EE9622C17F8}"/>
              </a:ext>
            </a:extLst>
          </p:cNvPr>
          <p:cNvSpPr>
            <a:spLocks noGrp="1"/>
          </p:cNvSpPr>
          <p:nvPr>
            <p:ph type="title"/>
          </p:nvPr>
        </p:nvSpPr>
        <p:spPr/>
        <p:txBody>
          <a:bodyPr/>
          <a:lstStyle/>
          <a:p>
            <a:r>
              <a:rPr lang="en-US" dirty="0"/>
              <a:t>Tools in a Broader Ecosystem RAISE Framework</a:t>
            </a:r>
          </a:p>
        </p:txBody>
      </p:sp>
      <p:grpSp>
        <p:nvGrpSpPr>
          <p:cNvPr id="69" name="Group 68">
            <a:extLst>
              <a:ext uri="{FF2B5EF4-FFF2-40B4-BE49-F238E27FC236}">
                <a16:creationId xmlns:a16="http://schemas.microsoft.com/office/drawing/2014/main" id="{18661EFA-BE81-8D20-EFC6-E34D094179CE}"/>
              </a:ext>
            </a:extLst>
          </p:cNvPr>
          <p:cNvGrpSpPr/>
          <p:nvPr/>
        </p:nvGrpSpPr>
        <p:grpSpPr>
          <a:xfrm>
            <a:off x="1476713" y="1039105"/>
            <a:ext cx="8556606" cy="3902986"/>
            <a:chOff x="384048" y="1333203"/>
            <a:chExt cx="8556606" cy="3902986"/>
          </a:xfrm>
        </p:grpSpPr>
        <p:sp>
          <p:nvSpPr>
            <p:cNvPr id="4" name="Rounded Rectangle 3">
              <a:extLst>
                <a:ext uri="{FF2B5EF4-FFF2-40B4-BE49-F238E27FC236}">
                  <a16:creationId xmlns:a16="http://schemas.microsoft.com/office/drawing/2014/main" id="{87356D24-5E54-6A6B-D038-71A3979DC1B4}"/>
                </a:ext>
              </a:extLst>
            </p:cNvPr>
            <p:cNvSpPr/>
            <p:nvPr/>
          </p:nvSpPr>
          <p:spPr>
            <a:xfrm>
              <a:off x="3380508" y="2717151"/>
              <a:ext cx="2521527" cy="831273"/>
            </a:xfrm>
            <a:prstGeom prst="roundRect">
              <a:avLst/>
            </a:prstGeom>
            <a:solidFill>
              <a:srgbClr val="A05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Controller</a:t>
              </a:r>
            </a:p>
          </p:txBody>
        </p:sp>
        <p:sp>
          <p:nvSpPr>
            <p:cNvPr id="5" name="Oval 4">
              <a:extLst>
                <a:ext uri="{FF2B5EF4-FFF2-40B4-BE49-F238E27FC236}">
                  <a16:creationId xmlns:a16="http://schemas.microsoft.com/office/drawing/2014/main" id="{EF1CDC21-F349-CA24-D94A-ADD8D77A447D}"/>
                </a:ext>
              </a:extLst>
            </p:cNvPr>
            <p:cNvSpPr/>
            <p:nvPr/>
          </p:nvSpPr>
          <p:spPr>
            <a:xfrm>
              <a:off x="384048" y="2620169"/>
              <a:ext cx="1967346" cy="1025236"/>
            </a:xfrm>
            <a:prstGeom prst="ellipse">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Dialogue</a:t>
              </a:r>
            </a:p>
          </p:txBody>
        </p:sp>
        <p:sp>
          <p:nvSpPr>
            <p:cNvPr id="6" name="Rectangle 5">
              <a:extLst>
                <a:ext uri="{FF2B5EF4-FFF2-40B4-BE49-F238E27FC236}">
                  <a16:creationId xmlns:a16="http://schemas.microsoft.com/office/drawing/2014/main" id="{97736FE9-8406-826F-F62D-52ACDC9EE397}"/>
                </a:ext>
              </a:extLst>
            </p:cNvPr>
            <p:cNvSpPr/>
            <p:nvPr/>
          </p:nvSpPr>
          <p:spPr>
            <a:xfrm>
              <a:off x="2351394" y="1338171"/>
              <a:ext cx="1551709" cy="734291"/>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LLM</a:t>
              </a:r>
            </a:p>
          </p:txBody>
        </p:sp>
        <p:sp>
          <p:nvSpPr>
            <p:cNvPr id="7" name="Rectangle 6">
              <a:extLst>
                <a:ext uri="{FF2B5EF4-FFF2-40B4-BE49-F238E27FC236}">
                  <a16:creationId xmlns:a16="http://schemas.microsoft.com/office/drawing/2014/main" id="{C4B18390-1AD6-FBC5-5887-D906FEB0FB05}"/>
                </a:ext>
              </a:extLst>
            </p:cNvPr>
            <p:cNvSpPr/>
            <p:nvPr/>
          </p:nvSpPr>
          <p:spPr>
            <a:xfrm>
              <a:off x="5305432" y="1333203"/>
              <a:ext cx="1551709" cy="734291"/>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Working Memory</a:t>
              </a:r>
            </a:p>
          </p:txBody>
        </p:sp>
        <p:sp>
          <p:nvSpPr>
            <p:cNvPr id="8" name="Rectangle 7">
              <a:extLst>
                <a:ext uri="{FF2B5EF4-FFF2-40B4-BE49-F238E27FC236}">
                  <a16:creationId xmlns:a16="http://schemas.microsoft.com/office/drawing/2014/main" id="{A8792D45-1E1D-1F9E-B4E0-342AC99D376B}"/>
                </a:ext>
              </a:extLst>
            </p:cNvPr>
            <p:cNvSpPr/>
            <p:nvPr/>
          </p:nvSpPr>
          <p:spPr>
            <a:xfrm>
              <a:off x="7032479" y="2717151"/>
              <a:ext cx="1908175" cy="734291"/>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Context</a:t>
              </a:r>
            </a:p>
          </p:txBody>
        </p:sp>
        <p:sp>
          <p:nvSpPr>
            <p:cNvPr id="9" name="Rectangle 8">
              <a:extLst>
                <a:ext uri="{FF2B5EF4-FFF2-40B4-BE49-F238E27FC236}">
                  <a16:creationId xmlns:a16="http://schemas.microsoft.com/office/drawing/2014/main" id="{CFCBB152-55FB-29C4-FF5B-5D319CD9E435}"/>
                </a:ext>
              </a:extLst>
            </p:cNvPr>
            <p:cNvSpPr/>
            <p:nvPr/>
          </p:nvSpPr>
          <p:spPr>
            <a:xfrm>
              <a:off x="3380507" y="4501898"/>
              <a:ext cx="2521527" cy="734291"/>
            </a:xfrm>
            <a:prstGeom prst="rect">
              <a:avLst/>
            </a:prstGeom>
            <a:solidFill>
              <a:schemeClr val="accent3">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Tool Pool</a:t>
              </a:r>
            </a:p>
          </p:txBody>
        </p:sp>
        <p:cxnSp>
          <p:nvCxnSpPr>
            <p:cNvPr id="11" name="Straight Arrow Connector 10">
              <a:extLst>
                <a:ext uri="{FF2B5EF4-FFF2-40B4-BE49-F238E27FC236}">
                  <a16:creationId xmlns:a16="http://schemas.microsoft.com/office/drawing/2014/main" id="{58E60CFE-64DD-34B1-8F41-B09FBDF64EA0}"/>
                </a:ext>
              </a:extLst>
            </p:cNvPr>
            <p:cNvCxnSpPr/>
            <p:nvPr/>
          </p:nvCxnSpPr>
          <p:spPr>
            <a:xfrm>
              <a:off x="2351392" y="3084296"/>
              <a:ext cx="1029113" cy="0"/>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A1E13374-9CA6-5978-BF11-886A88E4EC6F}"/>
                </a:ext>
              </a:extLst>
            </p:cNvPr>
            <p:cNvCxnSpPr/>
            <p:nvPr/>
          </p:nvCxnSpPr>
          <p:spPr>
            <a:xfrm>
              <a:off x="2351393" y="3241964"/>
              <a:ext cx="1029113" cy="0"/>
            </a:xfrm>
            <a:prstGeom prst="straightConnector1">
              <a:avLst/>
            </a:prstGeom>
            <a:ln>
              <a:headEnd type="triangle"/>
              <a:tailEnd type="non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6C045D01-622D-D77B-FCBE-09FD62952D48}"/>
                </a:ext>
              </a:extLst>
            </p:cNvPr>
            <p:cNvSpPr txBox="1"/>
            <p:nvPr/>
          </p:nvSpPr>
          <p:spPr>
            <a:xfrm>
              <a:off x="2544218" y="2807254"/>
              <a:ext cx="60305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Arial"/>
                  <a:ea typeface="+mn-ea"/>
                  <a:cs typeface="+mn-cs"/>
                </a:rPr>
                <a:t>Query</a:t>
              </a:r>
            </a:p>
          </p:txBody>
        </p:sp>
        <p:sp>
          <p:nvSpPr>
            <p:cNvPr id="14" name="TextBox 13">
              <a:extLst>
                <a:ext uri="{FF2B5EF4-FFF2-40B4-BE49-F238E27FC236}">
                  <a16:creationId xmlns:a16="http://schemas.microsoft.com/office/drawing/2014/main" id="{DE050D7A-21C2-9335-248C-03BC3ABFE711}"/>
                </a:ext>
              </a:extLst>
            </p:cNvPr>
            <p:cNvSpPr txBox="1"/>
            <p:nvPr/>
          </p:nvSpPr>
          <p:spPr>
            <a:xfrm>
              <a:off x="2408765" y="3230055"/>
              <a:ext cx="8739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Arial"/>
                  <a:ea typeface="+mn-ea"/>
                  <a:cs typeface="+mn-cs"/>
                </a:rPr>
                <a:t>Response</a:t>
              </a:r>
            </a:p>
          </p:txBody>
        </p:sp>
        <p:cxnSp>
          <p:nvCxnSpPr>
            <p:cNvPr id="15" name="Straight Arrow Connector 14">
              <a:extLst>
                <a:ext uri="{FF2B5EF4-FFF2-40B4-BE49-F238E27FC236}">
                  <a16:creationId xmlns:a16="http://schemas.microsoft.com/office/drawing/2014/main" id="{D96976FA-594A-0160-64A9-950E7CC6108A}"/>
                </a:ext>
              </a:extLst>
            </p:cNvPr>
            <p:cNvCxnSpPr/>
            <p:nvPr/>
          </p:nvCxnSpPr>
          <p:spPr>
            <a:xfrm>
              <a:off x="5954725" y="3064606"/>
              <a:ext cx="1029113" cy="0"/>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6727AE37-9DFF-A257-8359-B6AF7088E05D}"/>
                </a:ext>
              </a:extLst>
            </p:cNvPr>
            <p:cNvCxnSpPr/>
            <p:nvPr/>
          </p:nvCxnSpPr>
          <p:spPr>
            <a:xfrm>
              <a:off x="5954726" y="3222274"/>
              <a:ext cx="1029113" cy="0"/>
            </a:xfrm>
            <a:prstGeom prst="straightConnector1">
              <a:avLst/>
            </a:prstGeom>
            <a:ln>
              <a:headEnd type="triangle"/>
              <a:tailEnd type="non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4171E7E1-2E27-E293-36CD-47F38E62CCDF}"/>
                </a:ext>
              </a:extLst>
            </p:cNvPr>
            <p:cNvSpPr txBox="1"/>
            <p:nvPr/>
          </p:nvSpPr>
          <p:spPr>
            <a:xfrm>
              <a:off x="6147551" y="2787564"/>
              <a:ext cx="75533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Arial"/>
                  <a:ea typeface="+mn-ea"/>
                  <a:cs typeface="+mn-cs"/>
                </a:rPr>
                <a:t>Retrieve</a:t>
              </a:r>
            </a:p>
          </p:txBody>
        </p:sp>
        <p:sp>
          <p:nvSpPr>
            <p:cNvPr id="18" name="TextBox 17">
              <a:extLst>
                <a:ext uri="{FF2B5EF4-FFF2-40B4-BE49-F238E27FC236}">
                  <a16:creationId xmlns:a16="http://schemas.microsoft.com/office/drawing/2014/main" id="{DB8E4152-ED4B-1348-19AD-F2688D9BABAF}"/>
                </a:ext>
              </a:extLst>
            </p:cNvPr>
            <p:cNvSpPr txBox="1"/>
            <p:nvPr/>
          </p:nvSpPr>
          <p:spPr>
            <a:xfrm>
              <a:off x="6012098" y="3210365"/>
              <a:ext cx="85792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Arial"/>
                  <a:ea typeface="+mn-ea"/>
                  <a:cs typeface="+mn-cs"/>
                </a:rPr>
                <a:t>Examples</a:t>
              </a:r>
            </a:p>
          </p:txBody>
        </p:sp>
        <p:cxnSp>
          <p:nvCxnSpPr>
            <p:cNvPr id="23" name="Straight Arrow Connector 22">
              <a:extLst>
                <a:ext uri="{FF2B5EF4-FFF2-40B4-BE49-F238E27FC236}">
                  <a16:creationId xmlns:a16="http://schemas.microsoft.com/office/drawing/2014/main" id="{37D0DE06-A98D-82D7-7C33-ADE6704B3EAE}"/>
                </a:ext>
              </a:extLst>
            </p:cNvPr>
            <p:cNvCxnSpPr>
              <a:cxnSpLocks/>
            </p:cNvCxnSpPr>
            <p:nvPr/>
          </p:nvCxnSpPr>
          <p:spPr>
            <a:xfrm>
              <a:off x="4596651" y="3582971"/>
              <a:ext cx="0" cy="890762"/>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92E83179-1C18-028D-C569-6F859AA129EC}"/>
                </a:ext>
              </a:extLst>
            </p:cNvPr>
            <p:cNvCxnSpPr>
              <a:cxnSpLocks/>
            </p:cNvCxnSpPr>
            <p:nvPr/>
          </p:nvCxnSpPr>
          <p:spPr>
            <a:xfrm>
              <a:off x="4759722" y="3582971"/>
              <a:ext cx="0" cy="890762"/>
            </a:xfrm>
            <a:prstGeom prst="straightConnector1">
              <a:avLst/>
            </a:prstGeom>
            <a:ln>
              <a:headEnd type="triangle"/>
              <a:tailEnd type="non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9CD4EE25-AB28-1B4F-9A79-6F11AB60204D}"/>
                </a:ext>
              </a:extLst>
            </p:cNvPr>
            <p:cNvCxnSpPr>
              <a:cxnSpLocks/>
            </p:cNvCxnSpPr>
            <p:nvPr/>
          </p:nvCxnSpPr>
          <p:spPr>
            <a:xfrm flipH="1" flipV="1">
              <a:off x="2991796" y="2084171"/>
              <a:ext cx="1143858" cy="596685"/>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375EAF62-57B6-CCAE-D46B-1B668A682DB9}"/>
                </a:ext>
              </a:extLst>
            </p:cNvPr>
            <p:cNvCxnSpPr>
              <a:cxnSpLocks/>
              <a:endCxn id="6" idx="2"/>
            </p:cNvCxnSpPr>
            <p:nvPr/>
          </p:nvCxnSpPr>
          <p:spPr>
            <a:xfrm flipH="1" flipV="1">
              <a:off x="3127249" y="2072462"/>
              <a:ext cx="1099977" cy="573508"/>
            </a:xfrm>
            <a:prstGeom prst="straightConnector1">
              <a:avLst/>
            </a:prstGeom>
            <a:ln>
              <a:headEnd type="triangle"/>
              <a:tailEnd type="non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D89DB5DD-9BC9-1215-3EA4-675BD7EB3215}"/>
                </a:ext>
              </a:extLst>
            </p:cNvPr>
            <p:cNvCxnSpPr>
              <a:cxnSpLocks/>
            </p:cNvCxnSpPr>
            <p:nvPr/>
          </p:nvCxnSpPr>
          <p:spPr>
            <a:xfrm rot="7567030" flipH="1" flipV="1">
              <a:off x="4897416" y="2097384"/>
              <a:ext cx="1143858" cy="596685"/>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6" name="Straight Arrow Connector 45">
              <a:extLst>
                <a:ext uri="{FF2B5EF4-FFF2-40B4-BE49-F238E27FC236}">
                  <a16:creationId xmlns:a16="http://schemas.microsoft.com/office/drawing/2014/main" id="{4D6863B7-3B25-B4D4-9F9D-63846FF9D8AC}"/>
                </a:ext>
              </a:extLst>
            </p:cNvPr>
            <p:cNvCxnSpPr>
              <a:cxnSpLocks/>
            </p:cNvCxnSpPr>
            <p:nvPr/>
          </p:nvCxnSpPr>
          <p:spPr>
            <a:xfrm flipV="1">
              <a:off x="5099217" y="2187940"/>
              <a:ext cx="995643" cy="489757"/>
            </a:xfrm>
            <a:prstGeom prst="straightConnector1">
              <a:avLst/>
            </a:prstGeom>
            <a:ln>
              <a:headEnd type="triangle"/>
              <a:tailEnd type="non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E4754035-AA44-2F50-FB5E-153D67F2B23E}"/>
                </a:ext>
              </a:extLst>
            </p:cNvPr>
            <p:cNvSpPr txBox="1"/>
            <p:nvPr/>
          </p:nvSpPr>
          <p:spPr>
            <a:xfrm>
              <a:off x="3908642" y="3890829"/>
              <a:ext cx="68800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Arial"/>
                  <a:ea typeface="+mn-ea"/>
                  <a:cs typeface="+mn-cs"/>
                </a:rPr>
                <a:t>Actions</a:t>
              </a:r>
            </a:p>
          </p:txBody>
        </p:sp>
        <p:sp>
          <p:nvSpPr>
            <p:cNvPr id="50" name="TextBox 49">
              <a:extLst>
                <a:ext uri="{FF2B5EF4-FFF2-40B4-BE49-F238E27FC236}">
                  <a16:creationId xmlns:a16="http://schemas.microsoft.com/office/drawing/2014/main" id="{C36877C2-0022-65F8-43B3-695787F7237D}"/>
                </a:ext>
              </a:extLst>
            </p:cNvPr>
            <p:cNvSpPr txBox="1"/>
            <p:nvPr/>
          </p:nvSpPr>
          <p:spPr>
            <a:xfrm>
              <a:off x="4746316" y="3882893"/>
              <a:ext cx="108876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Arial"/>
                  <a:ea typeface="+mn-ea"/>
                  <a:cs typeface="+mn-cs"/>
                </a:rPr>
                <a:t>Observations</a:t>
              </a:r>
            </a:p>
          </p:txBody>
        </p:sp>
        <p:sp>
          <p:nvSpPr>
            <p:cNvPr id="51" name="TextBox 50">
              <a:extLst>
                <a:ext uri="{FF2B5EF4-FFF2-40B4-BE49-F238E27FC236}">
                  <a16:creationId xmlns:a16="http://schemas.microsoft.com/office/drawing/2014/main" id="{A3E27587-A05C-272F-4779-CC9CDA8ACB3F}"/>
                </a:ext>
              </a:extLst>
            </p:cNvPr>
            <p:cNvSpPr txBox="1"/>
            <p:nvPr/>
          </p:nvSpPr>
          <p:spPr>
            <a:xfrm>
              <a:off x="4938419" y="2087385"/>
              <a:ext cx="54098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Arial"/>
                  <a:ea typeface="+mn-ea"/>
                  <a:cs typeface="+mn-cs"/>
                </a:rPr>
                <a:t>Write</a:t>
              </a:r>
            </a:p>
          </p:txBody>
        </p:sp>
        <p:sp>
          <p:nvSpPr>
            <p:cNvPr id="52" name="TextBox 51">
              <a:extLst>
                <a:ext uri="{FF2B5EF4-FFF2-40B4-BE49-F238E27FC236}">
                  <a16:creationId xmlns:a16="http://schemas.microsoft.com/office/drawing/2014/main" id="{6C268BD1-D1B3-2AB1-D32D-30417845F927}"/>
                </a:ext>
              </a:extLst>
            </p:cNvPr>
            <p:cNvSpPr txBox="1"/>
            <p:nvPr/>
          </p:nvSpPr>
          <p:spPr>
            <a:xfrm>
              <a:off x="5806210" y="2251433"/>
              <a:ext cx="55015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Arial"/>
                  <a:ea typeface="+mn-ea"/>
                  <a:cs typeface="+mn-cs"/>
                </a:rPr>
                <a:t>Read</a:t>
              </a:r>
            </a:p>
          </p:txBody>
        </p:sp>
        <p:sp>
          <p:nvSpPr>
            <p:cNvPr id="53" name="TextBox 52">
              <a:extLst>
                <a:ext uri="{FF2B5EF4-FFF2-40B4-BE49-F238E27FC236}">
                  <a16:creationId xmlns:a16="http://schemas.microsoft.com/office/drawing/2014/main" id="{305F3D42-263F-5FF4-497F-3A0D19073E6C}"/>
                </a:ext>
              </a:extLst>
            </p:cNvPr>
            <p:cNvSpPr txBox="1"/>
            <p:nvPr/>
          </p:nvSpPr>
          <p:spPr>
            <a:xfrm>
              <a:off x="2767234" y="2246189"/>
              <a:ext cx="6799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Arial"/>
                  <a:ea typeface="+mn-ea"/>
                  <a:cs typeface="+mn-cs"/>
                </a:rPr>
                <a:t>Prompt</a:t>
              </a:r>
            </a:p>
          </p:txBody>
        </p:sp>
        <p:sp>
          <p:nvSpPr>
            <p:cNvPr id="54" name="TextBox 53">
              <a:extLst>
                <a:ext uri="{FF2B5EF4-FFF2-40B4-BE49-F238E27FC236}">
                  <a16:creationId xmlns:a16="http://schemas.microsoft.com/office/drawing/2014/main" id="{C9232C04-3978-7BA2-0F5F-38077D0EFC28}"/>
                </a:ext>
              </a:extLst>
            </p:cNvPr>
            <p:cNvSpPr txBox="1"/>
            <p:nvPr/>
          </p:nvSpPr>
          <p:spPr>
            <a:xfrm>
              <a:off x="3499627" y="2080514"/>
              <a:ext cx="58541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Arial"/>
                  <a:ea typeface="+mn-ea"/>
                  <a:cs typeface="+mn-cs"/>
                </a:rPr>
                <a:t>Parse</a:t>
              </a:r>
            </a:p>
          </p:txBody>
        </p:sp>
      </p:grpSp>
      <p:sp>
        <p:nvSpPr>
          <p:cNvPr id="55" name="Rounded Rectangle 54">
            <a:extLst>
              <a:ext uri="{FF2B5EF4-FFF2-40B4-BE49-F238E27FC236}">
                <a16:creationId xmlns:a16="http://schemas.microsoft.com/office/drawing/2014/main" id="{C6F18684-FEF6-C07D-CB19-ACFF500632DA}"/>
              </a:ext>
            </a:extLst>
          </p:cNvPr>
          <p:cNvSpPr/>
          <p:nvPr/>
        </p:nvSpPr>
        <p:spPr>
          <a:xfrm>
            <a:off x="384048" y="5329003"/>
            <a:ext cx="2607748" cy="786984"/>
          </a:xfrm>
          <a:prstGeom prst="roundRect">
            <a:avLst/>
          </a:prstGeom>
          <a:noFill/>
          <a:ln>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6" name="TextBox 55">
            <a:extLst>
              <a:ext uri="{FF2B5EF4-FFF2-40B4-BE49-F238E27FC236}">
                <a16:creationId xmlns:a16="http://schemas.microsoft.com/office/drawing/2014/main" id="{314887DA-D5A9-4046-658E-7F8D89F67D19}"/>
              </a:ext>
            </a:extLst>
          </p:cNvPr>
          <p:cNvSpPr txBox="1"/>
          <p:nvPr/>
        </p:nvSpPr>
        <p:spPr>
          <a:xfrm>
            <a:off x="384048" y="5328854"/>
            <a:ext cx="55976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Arial"/>
                <a:ea typeface="+mn-ea"/>
                <a:cs typeface="+mn-cs"/>
              </a:rPr>
              <a:t>LLMs</a:t>
            </a:r>
          </a:p>
        </p:txBody>
      </p:sp>
      <p:sp>
        <p:nvSpPr>
          <p:cNvPr id="57" name="Rounded Rectangle 56">
            <a:extLst>
              <a:ext uri="{FF2B5EF4-FFF2-40B4-BE49-F238E27FC236}">
                <a16:creationId xmlns:a16="http://schemas.microsoft.com/office/drawing/2014/main" id="{E31C7684-35C9-9725-EC58-2257EE3EF520}"/>
              </a:ext>
            </a:extLst>
          </p:cNvPr>
          <p:cNvSpPr/>
          <p:nvPr/>
        </p:nvSpPr>
        <p:spPr>
          <a:xfrm>
            <a:off x="3147268" y="5329003"/>
            <a:ext cx="2607748" cy="786984"/>
          </a:xfrm>
          <a:prstGeom prst="roundRect">
            <a:avLst/>
          </a:prstGeom>
          <a:noFill/>
          <a:ln>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8" name="TextBox 57">
            <a:extLst>
              <a:ext uri="{FF2B5EF4-FFF2-40B4-BE49-F238E27FC236}">
                <a16:creationId xmlns:a16="http://schemas.microsoft.com/office/drawing/2014/main" id="{0AA04268-7869-286E-2926-BB9F558B3E84}"/>
              </a:ext>
            </a:extLst>
          </p:cNvPr>
          <p:cNvSpPr txBox="1"/>
          <p:nvPr/>
        </p:nvSpPr>
        <p:spPr>
          <a:xfrm>
            <a:off x="3147268" y="5328854"/>
            <a:ext cx="134248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Arial"/>
                <a:ea typeface="+mn-ea"/>
                <a:cs typeface="+mn-cs"/>
              </a:rPr>
              <a:t>Working Memory</a:t>
            </a:r>
          </a:p>
        </p:txBody>
      </p:sp>
      <p:sp>
        <p:nvSpPr>
          <p:cNvPr id="61" name="Rounded Rectangle 60">
            <a:extLst>
              <a:ext uri="{FF2B5EF4-FFF2-40B4-BE49-F238E27FC236}">
                <a16:creationId xmlns:a16="http://schemas.microsoft.com/office/drawing/2014/main" id="{9E132AFE-DF05-D3F7-FEDC-8BB73B4DF104}"/>
              </a:ext>
            </a:extLst>
          </p:cNvPr>
          <p:cNvSpPr/>
          <p:nvPr/>
        </p:nvSpPr>
        <p:spPr>
          <a:xfrm>
            <a:off x="5904595" y="5328854"/>
            <a:ext cx="2607748" cy="786984"/>
          </a:xfrm>
          <a:prstGeom prst="roundRect">
            <a:avLst/>
          </a:prstGeom>
          <a:noFill/>
          <a:ln>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2" name="TextBox 61">
            <a:extLst>
              <a:ext uri="{FF2B5EF4-FFF2-40B4-BE49-F238E27FC236}">
                <a16:creationId xmlns:a16="http://schemas.microsoft.com/office/drawing/2014/main" id="{D6BBFA7D-F158-A401-B8C6-00FFCA3B587D}"/>
              </a:ext>
            </a:extLst>
          </p:cNvPr>
          <p:cNvSpPr txBox="1"/>
          <p:nvPr/>
        </p:nvSpPr>
        <p:spPr>
          <a:xfrm>
            <a:off x="5904595" y="5328705"/>
            <a:ext cx="81522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Arial"/>
                <a:ea typeface="+mn-ea"/>
                <a:cs typeface="+mn-cs"/>
              </a:rPr>
              <a:t>Tool Pool</a:t>
            </a:r>
          </a:p>
        </p:txBody>
      </p:sp>
      <p:sp>
        <p:nvSpPr>
          <p:cNvPr id="63" name="Rounded Rectangle 62">
            <a:extLst>
              <a:ext uri="{FF2B5EF4-FFF2-40B4-BE49-F238E27FC236}">
                <a16:creationId xmlns:a16="http://schemas.microsoft.com/office/drawing/2014/main" id="{ED3FAC47-5838-FAFF-E34F-00EBE2813C16}"/>
              </a:ext>
            </a:extLst>
          </p:cNvPr>
          <p:cNvSpPr/>
          <p:nvPr/>
        </p:nvSpPr>
        <p:spPr>
          <a:xfrm>
            <a:off x="8667815" y="5328854"/>
            <a:ext cx="2607748" cy="786984"/>
          </a:xfrm>
          <a:prstGeom prst="roundRect">
            <a:avLst/>
          </a:prstGeom>
          <a:noFill/>
          <a:ln>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4" name="TextBox 63">
            <a:extLst>
              <a:ext uri="{FF2B5EF4-FFF2-40B4-BE49-F238E27FC236}">
                <a16:creationId xmlns:a16="http://schemas.microsoft.com/office/drawing/2014/main" id="{855DF916-8D51-ADD4-BA51-6F0AF9C86B73}"/>
              </a:ext>
            </a:extLst>
          </p:cNvPr>
          <p:cNvSpPr txBox="1"/>
          <p:nvPr/>
        </p:nvSpPr>
        <p:spPr>
          <a:xfrm>
            <a:off x="8667815" y="5328705"/>
            <a:ext cx="7136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Arial"/>
                <a:ea typeface="+mn-ea"/>
                <a:cs typeface="+mn-cs"/>
              </a:rPr>
              <a:t>Context</a:t>
            </a:r>
          </a:p>
        </p:txBody>
      </p:sp>
      <p:sp>
        <p:nvSpPr>
          <p:cNvPr id="65" name="Rectangle 64">
            <a:extLst>
              <a:ext uri="{FF2B5EF4-FFF2-40B4-BE49-F238E27FC236}">
                <a16:creationId xmlns:a16="http://schemas.microsoft.com/office/drawing/2014/main" id="{A4CB24FC-8CB9-AF26-3A1D-3A3BDB4CD35E}"/>
              </a:ext>
            </a:extLst>
          </p:cNvPr>
          <p:cNvSpPr/>
          <p:nvPr/>
        </p:nvSpPr>
        <p:spPr>
          <a:xfrm>
            <a:off x="487180" y="5605704"/>
            <a:ext cx="2435902" cy="43533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API-based LLMs, Open-source local LLMs</a:t>
            </a:r>
          </a:p>
        </p:txBody>
      </p:sp>
      <p:sp>
        <p:nvSpPr>
          <p:cNvPr id="66" name="Rectangle 65">
            <a:extLst>
              <a:ext uri="{FF2B5EF4-FFF2-40B4-BE49-F238E27FC236}">
                <a16:creationId xmlns:a16="http://schemas.microsoft.com/office/drawing/2014/main" id="{C4EAB718-CEC0-9744-3B33-4E5644AEFD0F}"/>
              </a:ext>
            </a:extLst>
          </p:cNvPr>
          <p:cNvSpPr/>
          <p:nvPr/>
        </p:nvSpPr>
        <p:spPr>
          <a:xfrm>
            <a:off x="3233191" y="5605704"/>
            <a:ext cx="2435902" cy="435332"/>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System Prompt, Task Instruction, Conversation history, Scratchpad, Retrieved Examples, Task Trajectory</a:t>
            </a:r>
          </a:p>
        </p:txBody>
      </p:sp>
      <p:sp>
        <p:nvSpPr>
          <p:cNvPr id="67" name="Rectangle 66">
            <a:extLst>
              <a:ext uri="{FF2B5EF4-FFF2-40B4-BE49-F238E27FC236}">
                <a16:creationId xmlns:a16="http://schemas.microsoft.com/office/drawing/2014/main" id="{59ACE95C-5A6D-D18E-A5CD-F7FDCF9AEE07}"/>
              </a:ext>
            </a:extLst>
          </p:cNvPr>
          <p:cNvSpPr/>
          <p:nvPr/>
        </p:nvSpPr>
        <p:spPr>
          <a:xfrm>
            <a:off x="5993464" y="5605704"/>
            <a:ext cx="2435902" cy="435332"/>
          </a:xfrm>
          <a:prstGeom prst="rect">
            <a:avLst/>
          </a:prstGeom>
          <a:solidFill>
            <a:schemeClr val="accent3">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Database, Scripting Programming, Interpreter, Knowledge Bases, AI Tools</a:t>
            </a:r>
          </a:p>
        </p:txBody>
      </p:sp>
      <p:sp>
        <p:nvSpPr>
          <p:cNvPr id="68" name="Rectangle 67">
            <a:extLst>
              <a:ext uri="{FF2B5EF4-FFF2-40B4-BE49-F238E27FC236}">
                <a16:creationId xmlns:a16="http://schemas.microsoft.com/office/drawing/2014/main" id="{209146A4-49A3-E296-3A17-AD09DF0B5B2B}"/>
              </a:ext>
            </a:extLst>
          </p:cNvPr>
          <p:cNvSpPr/>
          <p:nvPr/>
        </p:nvSpPr>
        <p:spPr>
          <a:xfrm>
            <a:off x="8753738" y="5605704"/>
            <a:ext cx="2435902" cy="435332"/>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lt;Q1, A1&gt;, &lt;Q2, A2&gt; … &lt;QN, AN&gt;</a:t>
            </a:r>
          </a:p>
        </p:txBody>
      </p:sp>
    </p:spTree>
    <p:extLst>
      <p:ext uri="{BB962C8B-B14F-4D97-AF65-F5344CB8AC3E}">
        <p14:creationId xmlns:p14="http://schemas.microsoft.com/office/powerpoint/2010/main" val="6631258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07AF9E6-C529-2309-A0D0-D01DE669B1A0}"/>
            </a:ext>
          </a:extLst>
        </p:cNvPr>
        <p:cNvGrpSpPr/>
        <p:nvPr/>
      </p:nvGrpSpPr>
      <p:grpSpPr>
        <a:xfrm>
          <a:off x="0" y="0"/>
          <a:ext cx="0" cy="0"/>
          <a:chOff x="0" y="0"/>
          <a:chExt cx="0" cy="0"/>
        </a:xfrm>
      </p:grpSpPr>
      <p:sp>
        <p:nvSpPr>
          <p:cNvPr id="76" name="Rectangle 75">
            <a:extLst>
              <a:ext uri="{FF2B5EF4-FFF2-40B4-BE49-F238E27FC236}">
                <a16:creationId xmlns:a16="http://schemas.microsoft.com/office/drawing/2014/main" id="{4F354338-0AA8-4666-9F57-4A811170D427}"/>
              </a:ext>
            </a:extLst>
          </p:cNvPr>
          <p:cNvSpPr/>
          <p:nvPr/>
        </p:nvSpPr>
        <p:spPr>
          <a:xfrm>
            <a:off x="9892145" y="2487505"/>
            <a:ext cx="2086798" cy="3747039"/>
          </a:xfrm>
          <a:prstGeom prst="rect">
            <a:avLst/>
          </a:prstGeom>
          <a:solidFill>
            <a:schemeClr val="accent3">
              <a:lumMod val="90000"/>
              <a:alpha val="4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F1F41044-55BB-BA79-F678-45A1E5B604EA}"/>
              </a:ext>
            </a:extLst>
          </p:cNvPr>
          <p:cNvSpPr>
            <a:spLocks noGrp="1"/>
          </p:cNvSpPr>
          <p:nvPr>
            <p:ph type="title"/>
          </p:nvPr>
        </p:nvSpPr>
        <p:spPr/>
        <p:txBody>
          <a:bodyPr/>
          <a:lstStyle/>
          <a:p>
            <a:r>
              <a:rPr lang="en-US" dirty="0"/>
              <a:t>Operationalizing the RAISE Framework</a:t>
            </a:r>
          </a:p>
        </p:txBody>
      </p:sp>
      <p:grpSp>
        <p:nvGrpSpPr>
          <p:cNvPr id="69" name="Group 68">
            <a:extLst>
              <a:ext uri="{FF2B5EF4-FFF2-40B4-BE49-F238E27FC236}">
                <a16:creationId xmlns:a16="http://schemas.microsoft.com/office/drawing/2014/main" id="{B1936F73-3BDC-4F2A-ABAB-3F2B82957BB0}"/>
              </a:ext>
            </a:extLst>
          </p:cNvPr>
          <p:cNvGrpSpPr>
            <a:grpSpLocks noChangeAspect="1"/>
          </p:cNvGrpSpPr>
          <p:nvPr/>
        </p:nvGrpSpPr>
        <p:grpSpPr>
          <a:xfrm>
            <a:off x="487180" y="1586358"/>
            <a:ext cx="4039667" cy="1842642"/>
            <a:chOff x="384048" y="1333203"/>
            <a:chExt cx="8556606" cy="3902986"/>
          </a:xfrm>
        </p:grpSpPr>
        <p:sp>
          <p:nvSpPr>
            <p:cNvPr id="4" name="Rounded Rectangle 3">
              <a:extLst>
                <a:ext uri="{FF2B5EF4-FFF2-40B4-BE49-F238E27FC236}">
                  <a16:creationId xmlns:a16="http://schemas.microsoft.com/office/drawing/2014/main" id="{3A0F9292-1E28-7EB9-E5C0-8EE52B1D8072}"/>
                </a:ext>
              </a:extLst>
            </p:cNvPr>
            <p:cNvSpPr/>
            <p:nvPr/>
          </p:nvSpPr>
          <p:spPr>
            <a:xfrm>
              <a:off x="3380508" y="2717151"/>
              <a:ext cx="2521527" cy="831273"/>
            </a:xfrm>
            <a:prstGeom prst="roundRect">
              <a:avLst/>
            </a:prstGeom>
            <a:solidFill>
              <a:srgbClr val="A05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Arial"/>
                  <a:ea typeface="+mn-ea"/>
                  <a:cs typeface="+mn-cs"/>
                </a:rPr>
                <a:t>Controller</a:t>
              </a:r>
            </a:p>
          </p:txBody>
        </p:sp>
        <p:sp>
          <p:nvSpPr>
            <p:cNvPr id="5" name="Oval 4">
              <a:extLst>
                <a:ext uri="{FF2B5EF4-FFF2-40B4-BE49-F238E27FC236}">
                  <a16:creationId xmlns:a16="http://schemas.microsoft.com/office/drawing/2014/main" id="{D9179B96-3BB1-D2FB-342D-578F00242E5F}"/>
                </a:ext>
              </a:extLst>
            </p:cNvPr>
            <p:cNvSpPr/>
            <p:nvPr/>
          </p:nvSpPr>
          <p:spPr>
            <a:xfrm>
              <a:off x="384048" y="2620169"/>
              <a:ext cx="1967346" cy="1025236"/>
            </a:xfrm>
            <a:prstGeom prst="ellipse">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Dialogue</a:t>
              </a:r>
            </a:p>
          </p:txBody>
        </p:sp>
        <p:sp>
          <p:nvSpPr>
            <p:cNvPr id="6" name="Rectangle 5">
              <a:extLst>
                <a:ext uri="{FF2B5EF4-FFF2-40B4-BE49-F238E27FC236}">
                  <a16:creationId xmlns:a16="http://schemas.microsoft.com/office/drawing/2014/main" id="{E9AAC7A1-6232-3A9C-4442-544B263B5295}"/>
                </a:ext>
              </a:extLst>
            </p:cNvPr>
            <p:cNvSpPr/>
            <p:nvPr/>
          </p:nvSpPr>
          <p:spPr>
            <a:xfrm>
              <a:off x="2351394" y="1338171"/>
              <a:ext cx="1551709" cy="734291"/>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LLM</a:t>
              </a:r>
            </a:p>
          </p:txBody>
        </p:sp>
        <p:sp>
          <p:nvSpPr>
            <p:cNvPr id="7" name="Rectangle 6">
              <a:extLst>
                <a:ext uri="{FF2B5EF4-FFF2-40B4-BE49-F238E27FC236}">
                  <a16:creationId xmlns:a16="http://schemas.microsoft.com/office/drawing/2014/main" id="{B9400A52-FDB5-FED3-E6C0-3E9307935D63}"/>
                </a:ext>
              </a:extLst>
            </p:cNvPr>
            <p:cNvSpPr/>
            <p:nvPr/>
          </p:nvSpPr>
          <p:spPr>
            <a:xfrm>
              <a:off x="5305432" y="1333203"/>
              <a:ext cx="1551709" cy="734291"/>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Working Memory</a:t>
              </a:r>
            </a:p>
          </p:txBody>
        </p:sp>
        <p:sp>
          <p:nvSpPr>
            <p:cNvPr id="8" name="Rectangle 7">
              <a:extLst>
                <a:ext uri="{FF2B5EF4-FFF2-40B4-BE49-F238E27FC236}">
                  <a16:creationId xmlns:a16="http://schemas.microsoft.com/office/drawing/2014/main" id="{1FB6CBCE-27C7-C74F-2AA2-B3F20F3622A6}"/>
                </a:ext>
              </a:extLst>
            </p:cNvPr>
            <p:cNvSpPr/>
            <p:nvPr/>
          </p:nvSpPr>
          <p:spPr>
            <a:xfrm>
              <a:off x="7032479" y="2717151"/>
              <a:ext cx="1908175" cy="734291"/>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Example Pool</a:t>
              </a:r>
            </a:p>
          </p:txBody>
        </p:sp>
        <p:sp>
          <p:nvSpPr>
            <p:cNvPr id="9" name="Rectangle 8">
              <a:extLst>
                <a:ext uri="{FF2B5EF4-FFF2-40B4-BE49-F238E27FC236}">
                  <a16:creationId xmlns:a16="http://schemas.microsoft.com/office/drawing/2014/main" id="{12361D76-66AC-32E0-F501-146DC864A15E}"/>
                </a:ext>
              </a:extLst>
            </p:cNvPr>
            <p:cNvSpPr/>
            <p:nvPr/>
          </p:nvSpPr>
          <p:spPr>
            <a:xfrm>
              <a:off x="3380507" y="4501898"/>
              <a:ext cx="2521527" cy="734291"/>
            </a:xfrm>
            <a:prstGeom prst="rect">
              <a:avLst/>
            </a:prstGeom>
            <a:solidFill>
              <a:schemeClr val="accent3">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Tool Pool</a:t>
              </a:r>
            </a:p>
          </p:txBody>
        </p:sp>
        <p:cxnSp>
          <p:nvCxnSpPr>
            <p:cNvPr id="11" name="Straight Arrow Connector 10">
              <a:extLst>
                <a:ext uri="{FF2B5EF4-FFF2-40B4-BE49-F238E27FC236}">
                  <a16:creationId xmlns:a16="http://schemas.microsoft.com/office/drawing/2014/main" id="{ABBC102B-A57C-4D13-4E1B-1A722087F1D0}"/>
                </a:ext>
              </a:extLst>
            </p:cNvPr>
            <p:cNvCxnSpPr/>
            <p:nvPr/>
          </p:nvCxnSpPr>
          <p:spPr>
            <a:xfrm>
              <a:off x="2351392" y="3084296"/>
              <a:ext cx="1029113" cy="0"/>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2C7DA535-E375-633A-3ADB-8576289B0A91}"/>
                </a:ext>
              </a:extLst>
            </p:cNvPr>
            <p:cNvCxnSpPr/>
            <p:nvPr/>
          </p:nvCxnSpPr>
          <p:spPr>
            <a:xfrm>
              <a:off x="2351393" y="3241964"/>
              <a:ext cx="1029113" cy="0"/>
            </a:xfrm>
            <a:prstGeom prst="straightConnector1">
              <a:avLst/>
            </a:prstGeom>
            <a:ln>
              <a:headEnd type="triangle"/>
              <a:tailEnd type="non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1680CD95-B610-D269-7D09-AFEC9D464C41}"/>
                </a:ext>
              </a:extLst>
            </p:cNvPr>
            <p:cNvSpPr txBox="1"/>
            <p:nvPr/>
          </p:nvSpPr>
          <p:spPr>
            <a:xfrm>
              <a:off x="2419688" y="2774233"/>
              <a:ext cx="757852" cy="35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231F20"/>
                  </a:solidFill>
                  <a:effectLst/>
                  <a:uLnTx/>
                  <a:uFillTx/>
                  <a:latin typeface="Arial"/>
                  <a:ea typeface="+mn-ea"/>
                  <a:cs typeface="+mn-cs"/>
                </a:rPr>
                <a:t>Query</a:t>
              </a:r>
            </a:p>
          </p:txBody>
        </p:sp>
        <p:sp>
          <p:nvSpPr>
            <p:cNvPr id="14" name="TextBox 13">
              <a:extLst>
                <a:ext uri="{FF2B5EF4-FFF2-40B4-BE49-F238E27FC236}">
                  <a16:creationId xmlns:a16="http://schemas.microsoft.com/office/drawing/2014/main" id="{A1DD21E4-6EB1-9BA6-51C2-38A68E2477B5}"/>
                </a:ext>
              </a:extLst>
            </p:cNvPr>
            <p:cNvSpPr txBox="1"/>
            <p:nvPr/>
          </p:nvSpPr>
          <p:spPr>
            <a:xfrm>
              <a:off x="2391680" y="3177675"/>
              <a:ext cx="998926" cy="35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231F20"/>
                  </a:solidFill>
                  <a:effectLst/>
                  <a:uLnTx/>
                  <a:uFillTx/>
                  <a:latin typeface="Arial"/>
                  <a:ea typeface="+mn-ea"/>
                  <a:cs typeface="+mn-cs"/>
                </a:rPr>
                <a:t>Response</a:t>
              </a:r>
            </a:p>
          </p:txBody>
        </p:sp>
        <p:cxnSp>
          <p:nvCxnSpPr>
            <p:cNvPr id="15" name="Straight Arrow Connector 14">
              <a:extLst>
                <a:ext uri="{FF2B5EF4-FFF2-40B4-BE49-F238E27FC236}">
                  <a16:creationId xmlns:a16="http://schemas.microsoft.com/office/drawing/2014/main" id="{31C5EDFE-1C51-D7DA-598A-4421EE34073C}"/>
                </a:ext>
              </a:extLst>
            </p:cNvPr>
            <p:cNvCxnSpPr/>
            <p:nvPr/>
          </p:nvCxnSpPr>
          <p:spPr>
            <a:xfrm>
              <a:off x="5954725" y="3064606"/>
              <a:ext cx="1029113" cy="0"/>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530AA2E4-8076-66A8-1DA3-366ADB33519B}"/>
                </a:ext>
              </a:extLst>
            </p:cNvPr>
            <p:cNvCxnSpPr/>
            <p:nvPr/>
          </p:nvCxnSpPr>
          <p:spPr>
            <a:xfrm>
              <a:off x="5954726" y="3222274"/>
              <a:ext cx="1029113" cy="0"/>
            </a:xfrm>
            <a:prstGeom prst="straightConnector1">
              <a:avLst/>
            </a:prstGeom>
            <a:ln>
              <a:headEnd type="triangle"/>
              <a:tailEnd type="non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0AE584FC-23DE-FEDD-EDBA-2FEB34DF18A2}"/>
                </a:ext>
              </a:extLst>
            </p:cNvPr>
            <p:cNvSpPr txBox="1"/>
            <p:nvPr/>
          </p:nvSpPr>
          <p:spPr>
            <a:xfrm>
              <a:off x="5997074" y="2760385"/>
              <a:ext cx="893667" cy="35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231F20"/>
                  </a:solidFill>
                  <a:effectLst/>
                  <a:uLnTx/>
                  <a:uFillTx/>
                  <a:latin typeface="Arial"/>
                  <a:ea typeface="+mn-ea"/>
                  <a:cs typeface="+mn-cs"/>
                </a:rPr>
                <a:t>Retrieve</a:t>
              </a:r>
            </a:p>
          </p:txBody>
        </p:sp>
        <p:sp>
          <p:nvSpPr>
            <p:cNvPr id="18" name="TextBox 17">
              <a:extLst>
                <a:ext uri="{FF2B5EF4-FFF2-40B4-BE49-F238E27FC236}">
                  <a16:creationId xmlns:a16="http://schemas.microsoft.com/office/drawing/2014/main" id="{457CA956-2D98-A984-2F1E-CA63AD40730D}"/>
                </a:ext>
              </a:extLst>
            </p:cNvPr>
            <p:cNvSpPr txBox="1"/>
            <p:nvPr/>
          </p:nvSpPr>
          <p:spPr>
            <a:xfrm>
              <a:off x="6022814" y="3149950"/>
              <a:ext cx="985345" cy="35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231F20"/>
                  </a:solidFill>
                  <a:effectLst/>
                  <a:uLnTx/>
                  <a:uFillTx/>
                  <a:latin typeface="Arial"/>
                  <a:ea typeface="+mn-ea"/>
                  <a:cs typeface="+mn-cs"/>
                </a:rPr>
                <a:t>Examples</a:t>
              </a:r>
            </a:p>
          </p:txBody>
        </p:sp>
        <p:cxnSp>
          <p:nvCxnSpPr>
            <p:cNvPr id="23" name="Straight Arrow Connector 22">
              <a:extLst>
                <a:ext uri="{FF2B5EF4-FFF2-40B4-BE49-F238E27FC236}">
                  <a16:creationId xmlns:a16="http://schemas.microsoft.com/office/drawing/2014/main" id="{00A8C7C5-6535-2D5E-BEE1-54DE041DFD92}"/>
                </a:ext>
              </a:extLst>
            </p:cNvPr>
            <p:cNvCxnSpPr>
              <a:cxnSpLocks/>
            </p:cNvCxnSpPr>
            <p:nvPr/>
          </p:nvCxnSpPr>
          <p:spPr>
            <a:xfrm>
              <a:off x="4596651" y="3582971"/>
              <a:ext cx="0" cy="890762"/>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F1EC6D56-4008-9794-4334-A9B974BD425F}"/>
                </a:ext>
              </a:extLst>
            </p:cNvPr>
            <p:cNvCxnSpPr>
              <a:cxnSpLocks/>
            </p:cNvCxnSpPr>
            <p:nvPr/>
          </p:nvCxnSpPr>
          <p:spPr>
            <a:xfrm>
              <a:off x="4759722" y="3582971"/>
              <a:ext cx="0" cy="890762"/>
            </a:xfrm>
            <a:prstGeom prst="straightConnector1">
              <a:avLst/>
            </a:prstGeom>
            <a:ln>
              <a:headEnd type="triangle"/>
              <a:tailEnd type="non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F84EE08B-DB54-7AA9-D723-4F0A082D1570}"/>
                </a:ext>
              </a:extLst>
            </p:cNvPr>
            <p:cNvCxnSpPr>
              <a:cxnSpLocks/>
            </p:cNvCxnSpPr>
            <p:nvPr/>
          </p:nvCxnSpPr>
          <p:spPr>
            <a:xfrm flipH="1" flipV="1">
              <a:off x="2991796" y="2084171"/>
              <a:ext cx="1143858" cy="596685"/>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4524144E-0541-DA65-21D3-F8898CF49A1E}"/>
                </a:ext>
              </a:extLst>
            </p:cNvPr>
            <p:cNvCxnSpPr>
              <a:cxnSpLocks/>
            </p:cNvCxnSpPr>
            <p:nvPr/>
          </p:nvCxnSpPr>
          <p:spPr>
            <a:xfrm flipH="1" flipV="1">
              <a:off x="3310602" y="2089184"/>
              <a:ext cx="1099977" cy="573507"/>
            </a:xfrm>
            <a:prstGeom prst="straightConnector1">
              <a:avLst/>
            </a:prstGeom>
            <a:ln>
              <a:headEnd type="triangle"/>
              <a:tailEnd type="non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A8FFAA2A-9CF9-CC07-C834-FE202DDBB795}"/>
                </a:ext>
              </a:extLst>
            </p:cNvPr>
            <p:cNvCxnSpPr>
              <a:cxnSpLocks/>
            </p:cNvCxnSpPr>
            <p:nvPr/>
          </p:nvCxnSpPr>
          <p:spPr>
            <a:xfrm rot="7567030" flipH="1" flipV="1">
              <a:off x="4828108" y="2071886"/>
              <a:ext cx="1143859" cy="596684"/>
            </a:xfrm>
            <a:prstGeom prst="straightConnector1">
              <a:avLst/>
            </a:prstGeom>
            <a:ln>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6" name="Straight Arrow Connector 45">
              <a:extLst>
                <a:ext uri="{FF2B5EF4-FFF2-40B4-BE49-F238E27FC236}">
                  <a16:creationId xmlns:a16="http://schemas.microsoft.com/office/drawing/2014/main" id="{6FF1B6E8-3065-4A80-7A74-89F51C9E77D0}"/>
                </a:ext>
              </a:extLst>
            </p:cNvPr>
            <p:cNvCxnSpPr>
              <a:cxnSpLocks/>
            </p:cNvCxnSpPr>
            <p:nvPr/>
          </p:nvCxnSpPr>
          <p:spPr>
            <a:xfrm flipV="1">
              <a:off x="5099217" y="2187940"/>
              <a:ext cx="995643" cy="489757"/>
            </a:xfrm>
            <a:prstGeom prst="straightConnector1">
              <a:avLst/>
            </a:prstGeom>
            <a:ln>
              <a:headEnd type="triangle"/>
              <a:tailEnd type="non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60F3643B-971A-3657-F218-A026527AAEBB}"/>
                </a:ext>
              </a:extLst>
            </p:cNvPr>
            <p:cNvSpPr txBox="1"/>
            <p:nvPr/>
          </p:nvSpPr>
          <p:spPr>
            <a:xfrm>
              <a:off x="3842240" y="3833512"/>
              <a:ext cx="835948" cy="35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231F20"/>
                  </a:solidFill>
                  <a:effectLst/>
                  <a:uLnTx/>
                  <a:uFillTx/>
                  <a:latin typeface="Arial"/>
                  <a:ea typeface="+mn-ea"/>
                  <a:cs typeface="+mn-cs"/>
                </a:rPr>
                <a:t>Actions</a:t>
              </a:r>
            </a:p>
          </p:txBody>
        </p:sp>
        <p:sp>
          <p:nvSpPr>
            <p:cNvPr id="50" name="TextBox 49">
              <a:extLst>
                <a:ext uri="{FF2B5EF4-FFF2-40B4-BE49-F238E27FC236}">
                  <a16:creationId xmlns:a16="http://schemas.microsoft.com/office/drawing/2014/main" id="{8B2F1046-8E2F-EC84-311B-A17801C325B8}"/>
                </a:ext>
              </a:extLst>
            </p:cNvPr>
            <p:cNvSpPr txBox="1"/>
            <p:nvPr/>
          </p:nvSpPr>
          <p:spPr>
            <a:xfrm>
              <a:off x="4632211" y="3823728"/>
              <a:ext cx="1185673" cy="35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231F20"/>
                  </a:solidFill>
                  <a:effectLst/>
                  <a:uLnTx/>
                  <a:uFillTx/>
                  <a:latin typeface="Arial"/>
                  <a:ea typeface="+mn-ea"/>
                  <a:cs typeface="+mn-cs"/>
                </a:rPr>
                <a:t>Observations</a:t>
              </a:r>
            </a:p>
          </p:txBody>
        </p:sp>
        <p:sp>
          <p:nvSpPr>
            <p:cNvPr id="51" name="TextBox 50">
              <a:extLst>
                <a:ext uri="{FF2B5EF4-FFF2-40B4-BE49-F238E27FC236}">
                  <a16:creationId xmlns:a16="http://schemas.microsoft.com/office/drawing/2014/main" id="{4D12B538-1143-515D-BA2F-C76E27B1F1A7}"/>
                </a:ext>
              </a:extLst>
            </p:cNvPr>
            <p:cNvSpPr txBox="1"/>
            <p:nvPr/>
          </p:nvSpPr>
          <p:spPr>
            <a:xfrm>
              <a:off x="5020770" y="1999013"/>
              <a:ext cx="706923" cy="35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231F20"/>
                  </a:solidFill>
                  <a:effectLst/>
                  <a:uLnTx/>
                  <a:uFillTx/>
                  <a:latin typeface="Arial"/>
                  <a:ea typeface="+mn-ea"/>
                  <a:cs typeface="+mn-cs"/>
                </a:rPr>
                <a:t>Write</a:t>
              </a:r>
            </a:p>
          </p:txBody>
        </p:sp>
        <p:sp>
          <p:nvSpPr>
            <p:cNvPr id="52" name="TextBox 51">
              <a:extLst>
                <a:ext uri="{FF2B5EF4-FFF2-40B4-BE49-F238E27FC236}">
                  <a16:creationId xmlns:a16="http://schemas.microsoft.com/office/drawing/2014/main" id="{5CCDAAC8-BDD5-B41A-9381-90AB24FB5824}"/>
                </a:ext>
              </a:extLst>
            </p:cNvPr>
            <p:cNvSpPr txBox="1"/>
            <p:nvPr/>
          </p:nvSpPr>
          <p:spPr>
            <a:xfrm>
              <a:off x="5738004" y="2215445"/>
              <a:ext cx="713714" cy="35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231F20"/>
                  </a:solidFill>
                  <a:effectLst/>
                  <a:uLnTx/>
                  <a:uFillTx/>
                  <a:latin typeface="Arial"/>
                  <a:ea typeface="+mn-ea"/>
                  <a:cs typeface="+mn-cs"/>
                </a:rPr>
                <a:t>Read</a:t>
              </a:r>
            </a:p>
          </p:txBody>
        </p:sp>
        <p:sp>
          <p:nvSpPr>
            <p:cNvPr id="53" name="TextBox 52">
              <a:extLst>
                <a:ext uri="{FF2B5EF4-FFF2-40B4-BE49-F238E27FC236}">
                  <a16:creationId xmlns:a16="http://schemas.microsoft.com/office/drawing/2014/main" id="{86FC40AE-9DB3-2C84-3E12-7D8D433A1CC3}"/>
                </a:ext>
              </a:extLst>
            </p:cNvPr>
            <p:cNvSpPr txBox="1"/>
            <p:nvPr/>
          </p:nvSpPr>
          <p:spPr>
            <a:xfrm>
              <a:off x="2708964" y="2274027"/>
              <a:ext cx="825759" cy="35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231F20"/>
                  </a:solidFill>
                  <a:effectLst/>
                  <a:uLnTx/>
                  <a:uFillTx/>
                  <a:latin typeface="Arial"/>
                  <a:ea typeface="+mn-ea"/>
                  <a:cs typeface="+mn-cs"/>
                </a:rPr>
                <a:t>Prompt</a:t>
              </a:r>
            </a:p>
          </p:txBody>
        </p:sp>
        <p:sp>
          <p:nvSpPr>
            <p:cNvPr id="54" name="TextBox 53">
              <a:extLst>
                <a:ext uri="{FF2B5EF4-FFF2-40B4-BE49-F238E27FC236}">
                  <a16:creationId xmlns:a16="http://schemas.microsoft.com/office/drawing/2014/main" id="{67AB63A4-928A-EAA9-81D5-808EB42EB5B3}"/>
                </a:ext>
              </a:extLst>
            </p:cNvPr>
            <p:cNvSpPr txBox="1"/>
            <p:nvPr/>
          </p:nvSpPr>
          <p:spPr>
            <a:xfrm>
              <a:off x="3543831" y="2011368"/>
              <a:ext cx="744270" cy="35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231F20"/>
                  </a:solidFill>
                  <a:effectLst/>
                  <a:uLnTx/>
                  <a:uFillTx/>
                  <a:latin typeface="Arial"/>
                  <a:ea typeface="+mn-ea"/>
                  <a:cs typeface="+mn-cs"/>
                </a:rPr>
                <a:t>Parse</a:t>
              </a:r>
            </a:p>
          </p:txBody>
        </p:sp>
      </p:grpSp>
      <p:sp>
        <p:nvSpPr>
          <p:cNvPr id="3" name="Rounded Rectangle 2">
            <a:extLst>
              <a:ext uri="{FF2B5EF4-FFF2-40B4-BE49-F238E27FC236}">
                <a16:creationId xmlns:a16="http://schemas.microsoft.com/office/drawing/2014/main" id="{BA61D170-5F32-F36D-5ACA-BCBA66B4EAFC}"/>
              </a:ext>
            </a:extLst>
          </p:cNvPr>
          <p:cNvSpPr/>
          <p:nvPr/>
        </p:nvSpPr>
        <p:spPr>
          <a:xfrm>
            <a:off x="325535" y="1407188"/>
            <a:ext cx="4329592" cy="2219436"/>
          </a:xfrm>
          <a:prstGeom prst="roundRect">
            <a:avLst/>
          </a:prstGeom>
          <a:noFill/>
          <a:ln>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Rounded Rectangle 9">
            <a:extLst>
              <a:ext uri="{FF2B5EF4-FFF2-40B4-BE49-F238E27FC236}">
                <a16:creationId xmlns:a16="http://schemas.microsoft.com/office/drawing/2014/main" id="{D49D65A7-B1B0-A75F-1868-2D91C56AB096}"/>
              </a:ext>
            </a:extLst>
          </p:cNvPr>
          <p:cNvSpPr/>
          <p:nvPr/>
        </p:nvSpPr>
        <p:spPr>
          <a:xfrm>
            <a:off x="4786044" y="1407188"/>
            <a:ext cx="7192899" cy="4827356"/>
          </a:xfrm>
          <a:prstGeom prst="roundRect">
            <a:avLst/>
          </a:prstGeom>
          <a:noFill/>
          <a:ln>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3B2DFCDC-0B36-DFF6-447B-2758CBF015CF}"/>
              </a:ext>
            </a:extLst>
          </p:cNvPr>
          <p:cNvSpPr/>
          <p:nvPr/>
        </p:nvSpPr>
        <p:spPr>
          <a:xfrm>
            <a:off x="5248573" y="1604004"/>
            <a:ext cx="5807354" cy="4659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Task Plan</a:t>
            </a:r>
          </a:p>
        </p:txBody>
      </p:sp>
      <p:sp>
        <p:nvSpPr>
          <p:cNvPr id="28" name="Rectangle 27">
            <a:extLst>
              <a:ext uri="{FF2B5EF4-FFF2-40B4-BE49-F238E27FC236}">
                <a16:creationId xmlns:a16="http://schemas.microsoft.com/office/drawing/2014/main" id="{AFEE542F-A8A3-8722-4CDA-FB2584CAC347}"/>
              </a:ext>
            </a:extLst>
          </p:cNvPr>
          <p:cNvSpPr/>
          <p:nvPr/>
        </p:nvSpPr>
        <p:spPr>
          <a:xfrm>
            <a:off x="4956444" y="2566160"/>
            <a:ext cx="1774021" cy="67378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Generate Response</a:t>
            </a:r>
          </a:p>
        </p:txBody>
      </p:sp>
      <p:sp>
        <p:nvSpPr>
          <p:cNvPr id="29" name="Rectangle 28">
            <a:extLst>
              <a:ext uri="{FF2B5EF4-FFF2-40B4-BE49-F238E27FC236}">
                <a16:creationId xmlns:a16="http://schemas.microsoft.com/office/drawing/2014/main" id="{3BA75FD5-F116-F316-DECF-1F84CE70143E}"/>
              </a:ext>
            </a:extLst>
          </p:cNvPr>
          <p:cNvSpPr/>
          <p:nvPr/>
        </p:nvSpPr>
        <p:spPr>
          <a:xfrm>
            <a:off x="7345090" y="2581878"/>
            <a:ext cx="2062071" cy="673788"/>
          </a:xfrm>
          <a:prstGeom prst="rect">
            <a:avLst/>
          </a:prstGeom>
          <a:solidFill>
            <a:srgbClr val="A05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Use Tools</a:t>
            </a:r>
          </a:p>
        </p:txBody>
      </p:sp>
      <p:sp>
        <p:nvSpPr>
          <p:cNvPr id="30" name="Rectangle 29">
            <a:extLst>
              <a:ext uri="{FF2B5EF4-FFF2-40B4-BE49-F238E27FC236}">
                <a16:creationId xmlns:a16="http://schemas.microsoft.com/office/drawing/2014/main" id="{52759A33-DE97-8875-1CE5-6AA403A082DB}"/>
              </a:ext>
            </a:extLst>
          </p:cNvPr>
          <p:cNvSpPr/>
          <p:nvPr/>
        </p:nvSpPr>
        <p:spPr>
          <a:xfrm>
            <a:off x="10109616" y="5269835"/>
            <a:ext cx="1539343" cy="673788"/>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Context</a:t>
            </a:r>
          </a:p>
        </p:txBody>
      </p:sp>
      <p:sp>
        <p:nvSpPr>
          <p:cNvPr id="31" name="Rectangle 30">
            <a:extLst>
              <a:ext uri="{FF2B5EF4-FFF2-40B4-BE49-F238E27FC236}">
                <a16:creationId xmlns:a16="http://schemas.microsoft.com/office/drawing/2014/main" id="{2725AD82-FBA9-86E8-D6D8-D1D0688EF145}"/>
              </a:ext>
            </a:extLst>
          </p:cNvPr>
          <p:cNvSpPr/>
          <p:nvPr/>
        </p:nvSpPr>
        <p:spPr>
          <a:xfrm>
            <a:off x="10109617" y="4409925"/>
            <a:ext cx="1539344" cy="673788"/>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Examples</a:t>
            </a:r>
          </a:p>
        </p:txBody>
      </p:sp>
      <p:sp>
        <p:nvSpPr>
          <p:cNvPr id="32" name="Rectangle 31">
            <a:extLst>
              <a:ext uri="{FF2B5EF4-FFF2-40B4-BE49-F238E27FC236}">
                <a16:creationId xmlns:a16="http://schemas.microsoft.com/office/drawing/2014/main" id="{0FA4022A-0DD0-CC07-A9D4-4F2D556DDA2B}"/>
              </a:ext>
            </a:extLst>
          </p:cNvPr>
          <p:cNvSpPr/>
          <p:nvPr/>
        </p:nvSpPr>
        <p:spPr>
          <a:xfrm>
            <a:off x="10109616" y="3549066"/>
            <a:ext cx="1539345" cy="673788"/>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Scratchpad</a:t>
            </a:r>
          </a:p>
        </p:txBody>
      </p:sp>
      <p:sp>
        <p:nvSpPr>
          <p:cNvPr id="33" name="Rectangle 32">
            <a:extLst>
              <a:ext uri="{FF2B5EF4-FFF2-40B4-BE49-F238E27FC236}">
                <a16:creationId xmlns:a16="http://schemas.microsoft.com/office/drawing/2014/main" id="{BE76E266-3530-EBBA-DD7E-36BB93A98419}"/>
              </a:ext>
            </a:extLst>
          </p:cNvPr>
          <p:cNvSpPr/>
          <p:nvPr/>
        </p:nvSpPr>
        <p:spPr>
          <a:xfrm>
            <a:off x="10109617" y="2689156"/>
            <a:ext cx="1539342" cy="673788"/>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System Prompt</a:t>
            </a:r>
          </a:p>
        </p:txBody>
      </p:sp>
      <p:sp>
        <p:nvSpPr>
          <p:cNvPr id="36" name="Rectangle 35">
            <a:extLst>
              <a:ext uri="{FF2B5EF4-FFF2-40B4-BE49-F238E27FC236}">
                <a16:creationId xmlns:a16="http://schemas.microsoft.com/office/drawing/2014/main" id="{4121E002-8DD3-A0AD-7599-B5444E6D9C0F}"/>
              </a:ext>
            </a:extLst>
          </p:cNvPr>
          <p:cNvSpPr/>
          <p:nvPr/>
        </p:nvSpPr>
        <p:spPr>
          <a:xfrm>
            <a:off x="7345090" y="3885960"/>
            <a:ext cx="1539346" cy="673788"/>
          </a:xfrm>
          <a:prstGeom prst="rect">
            <a:avLst/>
          </a:prstGeom>
          <a:solidFill>
            <a:srgbClr val="A05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Retrieved Examples</a:t>
            </a:r>
          </a:p>
        </p:txBody>
      </p:sp>
      <p:sp>
        <p:nvSpPr>
          <p:cNvPr id="37" name="Rectangle 36">
            <a:extLst>
              <a:ext uri="{FF2B5EF4-FFF2-40B4-BE49-F238E27FC236}">
                <a16:creationId xmlns:a16="http://schemas.microsoft.com/office/drawing/2014/main" id="{0C22287E-CA76-18BC-1FC1-C07C44C7499E}"/>
              </a:ext>
            </a:extLst>
          </p:cNvPr>
          <p:cNvSpPr/>
          <p:nvPr/>
        </p:nvSpPr>
        <p:spPr>
          <a:xfrm>
            <a:off x="7345090" y="4746819"/>
            <a:ext cx="1539346" cy="673788"/>
          </a:xfrm>
          <a:prstGeom prst="rect">
            <a:avLst/>
          </a:prstGeom>
          <a:solidFill>
            <a:srgbClr val="A05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Get External Reaction</a:t>
            </a:r>
          </a:p>
        </p:txBody>
      </p:sp>
      <p:cxnSp>
        <p:nvCxnSpPr>
          <p:cNvPr id="39" name="Straight Arrow Connector 38">
            <a:extLst>
              <a:ext uri="{FF2B5EF4-FFF2-40B4-BE49-F238E27FC236}">
                <a16:creationId xmlns:a16="http://schemas.microsoft.com/office/drawing/2014/main" id="{532CE62D-32B0-EAA5-654C-D65A0F6DA1C1}"/>
              </a:ext>
            </a:extLst>
          </p:cNvPr>
          <p:cNvCxnSpPr>
            <a:cxnSpLocks/>
            <a:stCxn id="37" idx="3"/>
            <a:endCxn id="30" idx="1"/>
          </p:cNvCxnSpPr>
          <p:nvPr/>
        </p:nvCxnSpPr>
        <p:spPr>
          <a:xfrm>
            <a:off x="8884436" y="5083713"/>
            <a:ext cx="1225180" cy="523016"/>
          </a:xfrm>
          <a:prstGeom prst="straightConnector1">
            <a:avLst/>
          </a:prstGeom>
          <a:ln>
            <a:solidFill>
              <a:schemeClr val="tx1"/>
            </a:solidFill>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1" name="Straight Arrow Connector 40">
            <a:extLst>
              <a:ext uri="{FF2B5EF4-FFF2-40B4-BE49-F238E27FC236}">
                <a16:creationId xmlns:a16="http://schemas.microsoft.com/office/drawing/2014/main" id="{B2535264-60A2-CC3F-2D1C-F734A9FF3425}"/>
              </a:ext>
            </a:extLst>
          </p:cNvPr>
          <p:cNvCxnSpPr>
            <a:cxnSpLocks/>
            <a:stCxn id="36" idx="3"/>
            <a:endCxn id="31" idx="1"/>
          </p:cNvCxnSpPr>
          <p:nvPr/>
        </p:nvCxnSpPr>
        <p:spPr>
          <a:xfrm>
            <a:off x="8884436" y="4222854"/>
            <a:ext cx="1225181" cy="523965"/>
          </a:xfrm>
          <a:prstGeom prst="straightConnector1">
            <a:avLst/>
          </a:prstGeom>
          <a:ln>
            <a:solidFill>
              <a:schemeClr val="tx1"/>
            </a:solidFill>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7" name="Straight Arrow Connector 46">
            <a:extLst>
              <a:ext uri="{FF2B5EF4-FFF2-40B4-BE49-F238E27FC236}">
                <a16:creationId xmlns:a16="http://schemas.microsoft.com/office/drawing/2014/main" id="{2653B59E-FE73-F7CC-285F-CDE444BA5DE9}"/>
              </a:ext>
            </a:extLst>
          </p:cNvPr>
          <p:cNvCxnSpPr>
            <a:stCxn id="29" idx="2"/>
            <a:endCxn id="32" idx="1"/>
          </p:cNvCxnSpPr>
          <p:nvPr/>
        </p:nvCxnSpPr>
        <p:spPr>
          <a:xfrm>
            <a:off x="8376126" y="3255666"/>
            <a:ext cx="1733490" cy="630294"/>
          </a:xfrm>
          <a:prstGeom prst="straightConnector1">
            <a:avLst/>
          </a:prstGeom>
          <a:ln>
            <a:solidFill>
              <a:schemeClr val="tx1"/>
            </a:solidFill>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71" name="Curved Connector 70">
            <a:extLst>
              <a:ext uri="{FF2B5EF4-FFF2-40B4-BE49-F238E27FC236}">
                <a16:creationId xmlns:a16="http://schemas.microsoft.com/office/drawing/2014/main" id="{5808F961-2715-3D85-1E8F-BA45A0B597C8}"/>
              </a:ext>
            </a:extLst>
          </p:cNvPr>
          <p:cNvCxnSpPr>
            <a:stCxn id="30" idx="3"/>
            <a:endCxn id="32" idx="3"/>
          </p:cNvCxnSpPr>
          <p:nvPr/>
        </p:nvCxnSpPr>
        <p:spPr>
          <a:xfrm flipV="1">
            <a:off x="11648959" y="3885960"/>
            <a:ext cx="2" cy="1720769"/>
          </a:xfrm>
          <a:prstGeom prst="curvedConnector3">
            <a:avLst>
              <a:gd name="adj1" fmla="val 11430100000"/>
            </a:avLst>
          </a:prstGeom>
          <a:ln>
            <a:solidFill>
              <a:schemeClr val="tx1"/>
            </a:solidFill>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73" name="Straight Arrow Connector 72">
            <a:extLst>
              <a:ext uri="{FF2B5EF4-FFF2-40B4-BE49-F238E27FC236}">
                <a16:creationId xmlns:a16="http://schemas.microsoft.com/office/drawing/2014/main" id="{5ADDE42D-EB37-88C2-6538-331C85F730D8}"/>
              </a:ext>
            </a:extLst>
          </p:cNvPr>
          <p:cNvCxnSpPr>
            <a:stCxn id="27" idx="2"/>
            <a:endCxn id="29" idx="0"/>
          </p:cNvCxnSpPr>
          <p:nvPr/>
        </p:nvCxnSpPr>
        <p:spPr>
          <a:xfrm>
            <a:off x="8152250" y="2069971"/>
            <a:ext cx="223876" cy="511907"/>
          </a:xfrm>
          <a:prstGeom prst="straightConnector1">
            <a:avLst/>
          </a:prstGeom>
          <a:ln>
            <a:solidFill>
              <a:schemeClr val="tx1"/>
            </a:solidFill>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75" name="Straight Arrow Connector 74">
            <a:extLst>
              <a:ext uri="{FF2B5EF4-FFF2-40B4-BE49-F238E27FC236}">
                <a16:creationId xmlns:a16="http://schemas.microsoft.com/office/drawing/2014/main" id="{5F31DB75-57CB-6AF7-42F1-66C0A9ABE449}"/>
              </a:ext>
            </a:extLst>
          </p:cNvPr>
          <p:cNvCxnSpPr>
            <a:stCxn id="27" idx="2"/>
            <a:endCxn id="28" idx="0"/>
          </p:cNvCxnSpPr>
          <p:nvPr/>
        </p:nvCxnSpPr>
        <p:spPr>
          <a:xfrm flipH="1">
            <a:off x="5843455" y="2069971"/>
            <a:ext cx="2308795" cy="496189"/>
          </a:xfrm>
          <a:prstGeom prst="straightConnector1">
            <a:avLst/>
          </a:prstGeom>
          <a:ln>
            <a:solidFill>
              <a:schemeClr val="tx1"/>
            </a:solidFill>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78" name="Straight Arrow Connector 77">
            <a:extLst>
              <a:ext uri="{FF2B5EF4-FFF2-40B4-BE49-F238E27FC236}">
                <a16:creationId xmlns:a16="http://schemas.microsoft.com/office/drawing/2014/main" id="{AC13BD48-5CDD-15A7-44AB-05751B459089}"/>
              </a:ext>
            </a:extLst>
          </p:cNvPr>
          <p:cNvCxnSpPr>
            <a:stCxn id="37" idx="0"/>
            <a:endCxn id="36" idx="2"/>
          </p:cNvCxnSpPr>
          <p:nvPr/>
        </p:nvCxnSpPr>
        <p:spPr>
          <a:xfrm flipV="1">
            <a:off x="8114763" y="4559748"/>
            <a:ext cx="0" cy="187071"/>
          </a:xfrm>
          <a:prstGeom prst="straightConnector1">
            <a:avLst/>
          </a:prstGeom>
          <a:ln>
            <a:solidFill>
              <a:schemeClr val="tx1"/>
            </a:solidFill>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80" name="Straight Arrow Connector 79">
            <a:extLst>
              <a:ext uri="{FF2B5EF4-FFF2-40B4-BE49-F238E27FC236}">
                <a16:creationId xmlns:a16="http://schemas.microsoft.com/office/drawing/2014/main" id="{963482ED-625D-0DFF-4C79-B40397338EA4}"/>
              </a:ext>
            </a:extLst>
          </p:cNvPr>
          <p:cNvCxnSpPr>
            <a:stCxn id="28" idx="2"/>
            <a:endCxn id="37" idx="1"/>
          </p:cNvCxnSpPr>
          <p:nvPr/>
        </p:nvCxnSpPr>
        <p:spPr>
          <a:xfrm>
            <a:off x="5843455" y="3239948"/>
            <a:ext cx="1501635" cy="1843765"/>
          </a:xfrm>
          <a:prstGeom prst="straightConnector1">
            <a:avLst/>
          </a:prstGeom>
          <a:ln>
            <a:solidFill>
              <a:schemeClr val="tx1"/>
            </a:solidFill>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82" name="Straight Arrow Connector 81">
            <a:extLst>
              <a:ext uri="{FF2B5EF4-FFF2-40B4-BE49-F238E27FC236}">
                <a16:creationId xmlns:a16="http://schemas.microsoft.com/office/drawing/2014/main" id="{29010BCE-8523-02BF-EED9-8CA99253F313}"/>
              </a:ext>
            </a:extLst>
          </p:cNvPr>
          <p:cNvCxnSpPr>
            <a:stCxn id="76" idx="0"/>
            <a:endCxn id="27" idx="2"/>
          </p:cNvCxnSpPr>
          <p:nvPr/>
        </p:nvCxnSpPr>
        <p:spPr>
          <a:xfrm flipH="1" flipV="1">
            <a:off x="8152250" y="2069971"/>
            <a:ext cx="2783294" cy="417534"/>
          </a:xfrm>
          <a:prstGeom prst="straightConnector1">
            <a:avLst/>
          </a:prstGeom>
          <a:ln>
            <a:solidFill>
              <a:schemeClr val="tx1"/>
            </a:solidFill>
            <a:tailEnd type="triangle"/>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83" name="TextBox 82">
            <a:extLst>
              <a:ext uri="{FF2B5EF4-FFF2-40B4-BE49-F238E27FC236}">
                <a16:creationId xmlns:a16="http://schemas.microsoft.com/office/drawing/2014/main" id="{E6F44383-2B29-3F4E-F73F-12CE35320E3F}"/>
              </a:ext>
            </a:extLst>
          </p:cNvPr>
          <p:cNvSpPr txBox="1"/>
          <p:nvPr/>
        </p:nvSpPr>
        <p:spPr>
          <a:xfrm>
            <a:off x="9892145" y="1030750"/>
            <a:ext cx="153118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31F20"/>
                </a:solidFill>
                <a:effectLst/>
                <a:uLnTx/>
                <a:uFillTx/>
                <a:latin typeface="Arial"/>
                <a:ea typeface="+mn-ea"/>
                <a:cs typeface="+mn-cs"/>
              </a:rPr>
              <a:t>Agentic Loop</a:t>
            </a:r>
          </a:p>
        </p:txBody>
      </p:sp>
      <p:sp>
        <p:nvSpPr>
          <p:cNvPr id="85" name="Rectangle 84">
            <a:extLst>
              <a:ext uri="{FF2B5EF4-FFF2-40B4-BE49-F238E27FC236}">
                <a16:creationId xmlns:a16="http://schemas.microsoft.com/office/drawing/2014/main" id="{30F40626-1099-4FB3-8E6C-17B8401A5665}"/>
              </a:ext>
            </a:extLst>
          </p:cNvPr>
          <p:cNvSpPr/>
          <p:nvPr/>
        </p:nvSpPr>
        <p:spPr>
          <a:xfrm>
            <a:off x="325535" y="3885960"/>
            <a:ext cx="6617951" cy="2884661"/>
          </a:xfrm>
          <a:prstGeom prst="rect">
            <a:avLst/>
          </a:prstGeom>
          <a:solidFill>
            <a:schemeClr val="bg1">
              <a:lumMod val="85000"/>
              <a:alpha val="90087"/>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4" name="TextBox 83">
            <a:extLst>
              <a:ext uri="{FF2B5EF4-FFF2-40B4-BE49-F238E27FC236}">
                <a16:creationId xmlns:a16="http://schemas.microsoft.com/office/drawing/2014/main" id="{C82E9405-1FA4-44A4-D8E2-AD284EBDF4AF}"/>
              </a:ext>
            </a:extLst>
          </p:cNvPr>
          <p:cNvSpPr txBox="1"/>
          <p:nvPr/>
        </p:nvSpPr>
        <p:spPr>
          <a:xfrm>
            <a:off x="361976" y="3964394"/>
            <a:ext cx="6581509" cy="286232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31F20"/>
                </a:solidFill>
                <a:effectLst/>
                <a:uLnTx/>
                <a:uFillTx/>
                <a:latin typeface="Arial"/>
                <a:ea typeface="+mn-ea"/>
                <a:cs typeface="+mn-cs"/>
              </a:rPr>
              <a:t>RAISE is built on </a:t>
            </a:r>
            <a:r>
              <a:rPr kumimoji="0" lang="en-US" sz="1800" b="0" i="0" u="none" strike="noStrike" kern="1200" cap="none" spc="0" normalizeH="0" baseline="0" noProof="0" dirty="0" err="1">
                <a:ln>
                  <a:noFill/>
                </a:ln>
                <a:solidFill>
                  <a:srgbClr val="231F20"/>
                </a:solidFill>
                <a:effectLst/>
                <a:uLnTx/>
                <a:uFillTx/>
                <a:latin typeface="Arial"/>
                <a:ea typeface="+mn-ea"/>
                <a:cs typeface="+mn-cs"/>
              </a:rPr>
              <a:t>ReAct</a:t>
            </a:r>
            <a:r>
              <a:rPr kumimoji="0" lang="en-US" sz="1800" b="0" i="0" u="none" strike="noStrike" kern="1200" cap="none" spc="0" normalizeH="0" baseline="0" noProof="0" dirty="0">
                <a:ln>
                  <a:noFill/>
                </a:ln>
                <a:solidFill>
                  <a:srgbClr val="231F20"/>
                </a:solidFill>
                <a:effectLst/>
                <a:uLnTx/>
                <a:uFillTx/>
                <a:latin typeface="Arial"/>
                <a:ea typeface="+mn-ea"/>
                <a:cs typeface="+mn-cs"/>
              </a:rPr>
              <a:t> metho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err="1">
                <a:ln>
                  <a:noFill/>
                </a:ln>
                <a:solidFill>
                  <a:srgbClr val="231F20"/>
                </a:solidFill>
                <a:effectLst/>
                <a:uLnTx/>
                <a:uFillTx/>
                <a:latin typeface="Arial"/>
                <a:ea typeface="+mn-ea"/>
                <a:cs typeface="+mn-cs"/>
              </a:rPr>
              <a:t>ReAct</a:t>
            </a:r>
            <a:endParaRPr kumimoji="0" lang="en-US" sz="1800" b="0" i="0" u="none" strike="noStrike" kern="1200" cap="none" spc="0" normalizeH="0" baseline="0" noProof="0" dirty="0">
              <a:ln>
                <a:noFill/>
              </a:ln>
              <a:solidFill>
                <a:srgbClr val="231F20"/>
              </a:solidFill>
              <a:effectLst/>
              <a:uLnTx/>
              <a:uFillTx/>
              <a:latin typeface="Arial"/>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31F20"/>
                </a:solidFill>
                <a:effectLst/>
                <a:uLnTx/>
                <a:uFillTx/>
                <a:latin typeface="Arial"/>
                <a:ea typeface="+mn-ea"/>
                <a:cs typeface="+mn-cs"/>
              </a:rPr>
              <a:t>Agent first writes a thought about the given task</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31F20"/>
                </a:solidFill>
                <a:effectLst/>
                <a:uLnTx/>
                <a:uFillTx/>
                <a:latin typeface="Arial"/>
                <a:ea typeface="+mn-ea"/>
                <a:cs typeface="+mn-cs"/>
              </a:rPr>
              <a:t>Then the agent performs the action on that though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31F20"/>
                </a:solidFill>
                <a:effectLst/>
                <a:uLnTx/>
                <a:uFillTx/>
                <a:latin typeface="Arial"/>
                <a:ea typeface="+mn-ea"/>
                <a:cs typeface="+mn-cs"/>
              </a:rPr>
              <a:t>The output is observe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31F20"/>
                </a:solidFill>
                <a:effectLst/>
                <a:uLnTx/>
                <a:uFillTx/>
                <a:latin typeface="Arial"/>
                <a:ea typeface="+mn-ea"/>
                <a:cs typeface="+mn-cs"/>
              </a:rPr>
              <a:t>This cycle is repeated until the task is completed.</a:t>
            </a:r>
            <a:br>
              <a:rPr kumimoji="0" lang="en-US" sz="1800" b="0" i="0" u="none" strike="noStrike" kern="1200" cap="none" spc="0" normalizeH="0" baseline="0" noProof="0" dirty="0">
                <a:ln>
                  <a:noFill/>
                </a:ln>
                <a:solidFill>
                  <a:srgbClr val="231F20"/>
                </a:solidFill>
                <a:effectLst/>
                <a:uLnTx/>
                <a:uFillTx/>
                <a:latin typeface="Arial"/>
                <a:ea typeface="+mn-ea"/>
                <a:cs typeface="+mn-cs"/>
              </a:rPr>
            </a:br>
            <a:endParaRPr kumimoji="0" lang="en-US" sz="1800" b="0" i="0" u="none" strike="noStrike" kern="1200" cap="none" spc="0" normalizeH="0" baseline="0" noProof="0" dirty="0">
              <a:ln>
                <a:noFill/>
              </a:ln>
              <a:solidFill>
                <a:srgbClr val="231F2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31F20"/>
                </a:solidFill>
                <a:effectLst/>
                <a:uLnTx/>
                <a:uFillTx/>
                <a:latin typeface="Arial"/>
                <a:ea typeface="+mn-ea"/>
                <a:cs typeface="+mn-cs"/>
              </a:rPr>
              <a:t>RAISE adds memory mechanism that mirrors human short-term and long term memory.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31F20"/>
                </a:solidFill>
                <a:effectLst/>
                <a:uLnTx/>
                <a:uFillTx/>
                <a:latin typeface="Arial"/>
                <a:ea typeface="+mn-ea"/>
                <a:cs typeface="+mn-cs"/>
              </a:rPr>
              <a:t>Scratchpad + Datasets</a:t>
            </a:r>
          </a:p>
        </p:txBody>
      </p:sp>
    </p:spTree>
    <p:extLst>
      <p:ext uri="{BB962C8B-B14F-4D97-AF65-F5344CB8AC3E}">
        <p14:creationId xmlns:p14="http://schemas.microsoft.com/office/powerpoint/2010/main" val="1534573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C0D99-ACAE-BF4C-C7DD-BF1064455C97}"/>
              </a:ext>
            </a:extLst>
          </p:cNvPr>
          <p:cNvSpPr>
            <a:spLocks noGrp="1"/>
          </p:cNvSpPr>
          <p:nvPr>
            <p:ph type="title"/>
          </p:nvPr>
        </p:nvSpPr>
        <p:spPr/>
        <p:txBody>
          <a:bodyPr/>
          <a:lstStyle/>
          <a:p>
            <a:r>
              <a:rPr lang="en-US" dirty="0"/>
              <a:t>Find the tool internal monologue in your code</a:t>
            </a:r>
          </a:p>
        </p:txBody>
      </p:sp>
      <p:sp>
        <p:nvSpPr>
          <p:cNvPr id="3" name="Text Placeholder 2">
            <a:extLst>
              <a:ext uri="{FF2B5EF4-FFF2-40B4-BE49-F238E27FC236}">
                <a16:creationId xmlns:a16="http://schemas.microsoft.com/office/drawing/2014/main" id="{08ACE64F-800F-7BCE-630E-FF7AD488B743}"/>
              </a:ext>
            </a:extLst>
          </p:cNvPr>
          <p:cNvSpPr>
            <a:spLocks noGrp="1"/>
          </p:cNvSpPr>
          <p:nvPr>
            <p:ph type="body" sz="quarter" idx="10"/>
          </p:nvPr>
        </p:nvSpPr>
        <p:spPr/>
        <p:txBody>
          <a:bodyPr/>
          <a:lstStyle/>
          <a:p>
            <a:r>
              <a:rPr lang="en-US" dirty="0"/>
              <a:t>Run and examine the log.</a:t>
            </a:r>
          </a:p>
          <a:p>
            <a:r>
              <a:rPr lang="en-US" dirty="0"/>
              <a:t>Can you find the internal monologue?</a:t>
            </a:r>
            <a:br>
              <a:rPr lang="en-US" dirty="0"/>
            </a:br>
            <a:endParaRPr lang="en-US" dirty="0"/>
          </a:p>
          <a:p>
            <a:pPr marL="0" indent="0">
              <a:buNone/>
            </a:pPr>
            <a:r>
              <a:rPr lang="en-US" dirty="0"/>
              <a:t>Key Takeaway: This language foundation is what enables AI agents to be flexible and adaptable with tools that </a:t>
            </a:r>
          </a:p>
        </p:txBody>
      </p:sp>
    </p:spTree>
    <p:extLst>
      <p:ext uri="{BB962C8B-B14F-4D97-AF65-F5344CB8AC3E}">
        <p14:creationId xmlns:p14="http://schemas.microsoft.com/office/powerpoint/2010/main" val="1589394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A32A6-0436-8962-2FB6-C0FBDE2159D3}"/>
              </a:ext>
            </a:extLst>
          </p:cNvPr>
          <p:cNvSpPr>
            <a:spLocks noGrp="1"/>
          </p:cNvSpPr>
          <p:nvPr>
            <p:ph type="title"/>
          </p:nvPr>
        </p:nvSpPr>
        <p:spPr/>
        <p:txBody>
          <a:bodyPr/>
          <a:lstStyle/>
          <a:p>
            <a:r>
              <a:rPr lang="en-US" dirty="0"/>
              <a:t>Bridge Tooling</a:t>
            </a:r>
          </a:p>
        </p:txBody>
      </p:sp>
      <p:sp>
        <p:nvSpPr>
          <p:cNvPr id="3" name="Text Placeholder 2">
            <a:extLst>
              <a:ext uri="{FF2B5EF4-FFF2-40B4-BE49-F238E27FC236}">
                <a16:creationId xmlns:a16="http://schemas.microsoft.com/office/drawing/2014/main" id="{79513B0D-D86F-D796-7ACE-7E4928B77938}"/>
              </a:ext>
            </a:extLst>
          </p:cNvPr>
          <p:cNvSpPr>
            <a:spLocks noGrp="1"/>
          </p:cNvSpPr>
          <p:nvPr>
            <p:ph type="body" sz="quarter" idx="10"/>
          </p:nvPr>
        </p:nvSpPr>
        <p:spPr>
          <a:xfrm>
            <a:off x="384048" y="950118"/>
            <a:ext cx="11595100" cy="4957763"/>
          </a:xfrm>
        </p:spPr>
        <p:txBody>
          <a:bodyPr/>
          <a:lstStyle/>
          <a:p>
            <a:r>
              <a:rPr lang="en-US" dirty="0"/>
              <a:t>How can a system trained primarily on text, a figurative pattern matter for language, control tools and execute real world action?</a:t>
            </a:r>
          </a:p>
          <a:p>
            <a:r>
              <a:rPr lang="en-US" dirty="0"/>
              <a:t>There is an implicit understanding of the action space that is around a particular act.</a:t>
            </a:r>
          </a:p>
          <a:p>
            <a:pPr lvl="1"/>
            <a:r>
              <a:rPr lang="en-US" dirty="0"/>
              <a:t>Example: Write a hello world function and run it.</a:t>
            </a:r>
          </a:p>
          <a:p>
            <a:pPr lvl="2"/>
            <a:r>
              <a:rPr lang="en-US" dirty="0"/>
              <a:t>First I need to open an editor.</a:t>
            </a:r>
          </a:p>
          <a:p>
            <a:pPr lvl="2"/>
            <a:r>
              <a:rPr lang="en-US" dirty="0"/>
              <a:t>Then I need to write my hello world function</a:t>
            </a:r>
          </a:p>
          <a:p>
            <a:pPr lvl="2"/>
            <a:r>
              <a:rPr lang="en-US" dirty="0"/>
              <a:t>Save the file.</a:t>
            </a:r>
          </a:p>
          <a:p>
            <a:pPr lvl="2"/>
            <a:r>
              <a:rPr lang="en-US" dirty="0"/>
              <a:t>Use python command line to run the file. (this is the magical step)</a:t>
            </a:r>
          </a:p>
          <a:p>
            <a:pPr lvl="2"/>
            <a:r>
              <a:rPr lang="en-US" dirty="0"/>
              <a:t>Success</a:t>
            </a:r>
          </a:p>
          <a:p>
            <a:r>
              <a:rPr lang="en-US" dirty="0"/>
              <a:t>The breakthrough occurred when researchers found models could actually manage real tool operation.</a:t>
            </a:r>
          </a:p>
          <a:p>
            <a:r>
              <a:rPr lang="en-US" b="1" i="1" u="sng" dirty="0"/>
              <a:t>The coolest part? The model was never explicitly trained to use tools!</a:t>
            </a:r>
          </a:p>
          <a:p>
            <a:pPr marL="457192" lvl="1" indent="0">
              <a:buNone/>
            </a:pPr>
            <a:endParaRPr lang="en-US" b="1" i="1" u="sng" dirty="0"/>
          </a:p>
        </p:txBody>
      </p:sp>
      <p:sp>
        <p:nvSpPr>
          <p:cNvPr id="4" name="TextBox 3">
            <a:extLst>
              <a:ext uri="{FF2B5EF4-FFF2-40B4-BE49-F238E27FC236}">
                <a16:creationId xmlns:a16="http://schemas.microsoft.com/office/drawing/2014/main" id="{AFB6E7A0-2DDF-FE94-AE62-A71152BF3360}"/>
              </a:ext>
            </a:extLst>
          </p:cNvPr>
          <p:cNvSpPr txBox="1"/>
          <p:nvPr/>
        </p:nvSpPr>
        <p:spPr>
          <a:xfrm>
            <a:off x="384048" y="6289286"/>
            <a:ext cx="341202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31F20"/>
                </a:solidFill>
                <a:effectLst/>
                <a:uLnTx/>
                <a:uFillTx/>
                <a:latin typeface="Arial"/>
                <a:ea typeface="+mn-ea"/>
                <a:cs typeface="+mn-cs"/>
              </a:rPr>
              <a:t>https://</a:t>
            </a:r>
            <a:r>
              <a:rPr kumimoji="0" lang="en-US" sz="1800" b="0" i="0" u="none" strike="noStrike" kern="1200" cap="none" spc="0" normalizeH="0" baseline="0" noProof="0" dirty="0" err="1">
                <a:ln>
                  <a:noFill/>
                </a:ln>
                <a:solidFill>
                  <a:srgbClr val="231F20"/>
                </a:solidFill>
                <a:effectLst/>
                <a:uLnTx/>
                <a:uFillTx/>
                <a:latin typeface="Arial"/>
                <a:ea typeface="+mn-ea"/>
                <a:cs typeface="+mn-cs"/>
              </a:rPr>
              <a:t>arxiv.org</a:t>
            </a:r>
            <a:r>
              <a:rPr kumimoji="0" lang="en-US" sz="1800" b="0" i="0" u="none" strike="noStrike" kern="1200" cap="none" spc="0" normalizeH="0" baseline="0" noProof="0" dirty="0">
                <a:ln>
                  <a:noFill/>
                </a:ln>
                <a:solidFill>
                  <a:srgbClr val="231F20"/>
                </a:solidFill>
                <a:effectLst/>
                <a:uLnTx/>
                <a:uFillTx/>
                <a:latin typeface="Arial"/>
                <a:ea typeface="+mn-ea"/>
                <a:cs typeface="+mn-cs"/>
              </a:rPr>
              <a:t>/pdf/2302.04761</a:t>
            </a:r>
          </a:p>
        </p:txBody>
      </p:sp>
      <p:sp>
        <p:nvSpPr>
          <p:cNvPr id="5" name="TextBox 4">
            <a:extLst>
              <a:ext uri="{FF2B5EF4-FFF2-40B4-BE49-F238E27FC236}">
                <a16:creationId xmlns:a16="http://schemas.microsoft.com/office/drawing/2014/main" id="{B11AFA17-1B07-D421-EC6E-2AB280C1FD7A}"/>
              </a:ext>
            </a:extLst>
          </p:cNvPr>
          <p:cNvSpPr txBox="1"/>
          <p:nvPr/>
        </p:nvSpPr>
        <p:spPr>
          <a:xfrm>
            <a:off x="9353434" y="5907881"/>
            <a:ext cx="2454518" cy="369332"/>
          </a:xfrm>
          <a:prstGeom prst="rect">
            <a:avLst/>
          </a:prstGeom>
          <a:noFill/>
        </p:spPr>
        <p:txBody>
          <a:bodyPr wrap="none" rtlCol="0">
            <a:spAutoFit/>
          </a:bodyPr>
          <a:lstStyle/>
          <a:p>
            <a:r>
              <a:rPr lang="en-US" i="1" dirty="0"/>
              <a:t>Spoiler: Now they are!</a:t>
            </a:r>
          </a:p>
        </p:txBody>
      </p:sp>
    </p:spTree>
    <p:extLst>
      <p:ext uri="{BB962C8B-B14F-4D97-AF65-F5344CB8AC3E}">
        <p14:creationId xmlns:p14="http://schemas.microsoft.com/office/powerpoint/2010/main" val="21454213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765065-A88A-186B-3EE2-9BD4D4D8B9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F098E7F-44E4-5FD8-298F-C8492C564B1C}"/>
              </a:ext>
            </a:extLst>
          </p:cNvPr>
          <p:cNvSpPr>
            <a:spLocks noGrp="1"/>
          </p:cNvSpPr>
          <p:nvPr>
            <p:ph type="title"/>
          </p:nvPr>
        </p:nvSpPr>
        <p:spPr/>
        <p:txBody>
          <a:bodyPr/>
          <a:lstStyle/>
          <a:p>
            <a:r>
              <a:rPr lang="en-US" dirty="0"/>
              <a:t>Bridge Tooling</a:t>
            </a:r>
          </a:p>
        </p:txBody>
      </p:sp>
      <p:sp>
        <p:nvSpPr>
          <p:cNvPr id="3" name="Text Placeholder 2">
            <a:extLst>
              <a:ext uri="{FF2B5EF4-FFF2-40B4-BE49-F238E27FC236}">
                <a16:creationId xmlns:a16="http://schemas.microsoft.com/office/drawing/2014/main" id="{C1A1A2B6-83BF-8141-F7E0-30249F7958C0}"/>
              </a:ext>
            </a:extLst>
          </p:cNvPr>
          <p:cNvSpPr>
            <a:spLocks noGrp="1"/>
          </p:cNvSpPr>
          <p:nvPr>
            <p:ph type="body" sz="quarter" idx="10"/>
          </p:nvPr>
        </p:nvSpPr>
        <p:spPr>
          <a:xfrm>
            <a:off x="384048" y="1022717"/>
            <a:ext cx="7215940" cy="4957763"/>
          </a:xfrm>
        </p:spPr>
        <p:txBody>
          <a:bodyPr/>
          <a:lstStyle/>
          <a:p>
            <a:r>
              <a:rPr lang="en-US" dirty="0"/>
              <a:t>Combined with chain of thought, a way of pseudo planning, and a fundamental understanding of tool usage, made them ideal controllers for tools.</a:t>
            </a:r>
            <a:br>
              <a:rPr lang="en-US" dirty="0"/>
            </a:br>
            <a:endParaRPr lang="en-US" dirty="0"/>
          </a:p>
          <a:p>
            <a:r>
              <a:rPr lang="en-US" dirty="0"/>
              <a:t>The quality of the tool continues to be the largest way to improve performance.</a:t>
            </a:r>
          </a:p>
          <a:p>
            <a:endParaRPr lang="en-US" dirty="0"/>
          </a:p>
        </p:txBody>
      </p:sp>
      <p:sp>
        <p:nvSpPr>
          <p:cNvPr id="4" name="TextBox 3">
            <a:extLst>
              <a:ext uri="{FF2B5EF4-FFF2-40B4-BE49-F238E27FC236}">
                <a16:creationId xmlns:a16="http://schemas.microsoft.com/office/drawing/2014/main" id="{1D70E345-B9B9-5E9C-CECC-F1AE6FF0AA97}"/>
              </a:ext>
            </a:extLst>
          </p:cNvPr>
          <p:cNvSpPr txBox="1"/>
          <p:nvPr/>
        </p:nvSpPr>
        <p:spPr>
          <a:xfrm>
            <a:off x="7802974" y="5749763"/>
            <a:ext cx="2449390"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Arial"/>
                <a:ea typeface="+mn-ea"/>
                <a:cs typeface="+mn-cs"/>
              </a:rPr>
              <a:t>Optional Rea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Arial"/>
                <a:ea typeface="+mn-ea"/>
                <a:cs typeface="+mn-cs"/>
                <a:hlinkClick r:id="rId2"/>
              </a:rPr>
              <a:t>https://arxiv.org/pdf/2302.04761</a:t>
            </a:r>
            <a:endParaRPr kumimoji="0" lang="en-US" sz="1200" b="0" i="0" u="none" strike="noStrike" kern="1200" cap="none" spc="0" normalizeH="0" baseline="0" noProof="0" dirty="0">
              <a:ln>
                <a:noFill/>
              </a:ln>
              <a:solidFill>
                <a:srgbClr val="231F2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31F20"/>
                </a:solidFill>
                <a:effectLst/>
                <a:uLnTx/>
                <a:uFillTx/>
                <a:latin typeface="Arial"/>
                <a:ea typeface="+mn-ea"/>
                <a:cs typeface="+mn-cs"/>
                <a:hlinkClick r:id="rId3"/>
              </a:rPr>
              <a:t>https://</a:t>
            </a:r>
            <a:r>
              <a:rPr kumimoji="0" lang="en-US" sz="1200" b="0" i="0" u="none" strike="noStrike" kern="1200" cap="none" spc="0" normalizeH="0" baseline="0" noProof="0" dirty="0" err="1">
                <a:ln>
                  <a:noFill/>
                </a:ln>
                <a:solidFill>
                  <a:srgbClr val="231F20"/>
                </a:solidFill>
                <a:effectLst/>
                <a:uLnTx/>
                <a:uFillTx/>
                <a:latin typeface="Arial"/>
                <a:ea typeface="+mn-ea"/>
                <a:cs typeface="+mn-cs"/>
                <a:hlinkClick r:id="rId3"/>
              </a:rPr>
              <a:t>arxiv.org</a:t>
            </a:r>
            <a:r>
              <a:rPr kumimoji="0" lang="en-US" sz="1200" b="0" i="0" u="none" strike="noStrike" kern="1200" cap="none" spc="0" normalizeH="0" baseline="0" noProof="0" dirty="0">
                <a:ln>
                  <a:noFill/>
                </a:ln>
                <a:solidFill>
                  <a:srgbClr val="231F20"/>
                </a:solidFill>
                <a:effectLst/>
                <a:uLnTx/>
                <a:uFillTx/>
                <a:latin typeface="Arial"/>
                <a:ea typeface="+mn-ea"/>
                <a:cs typeface="+mn-cs"/>
                <a:hlinkClick r:id="rId3"/>
              </a:rPr>
              <a:t>/pdf/2206.07682</a:t>
            </a:r>
            <a:endParaRPr kumimoji="0" lang="en-US" sz="1200" b="0" i="0" u="none" strike="noStrike" kern="1200" cap="none" spc="0" normalizeH="0" baseline="0" noProof="0" dirty="0">
              <a:ln>
                <a:noFill/>
              </a:ln>
              <a:solidFill>
                <a:srgbClr val="231F2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31F2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31F20"/>
              </a:solidFill>
              <a:effectLst/>
              <a:uLnTx/>
              <a:uFillTx/>
              <a:latin typeface="Arial"/>
              <a:ea typeface="+mn-ea"/>
              <a:cs typeface="+mn-cs"/>
            </a:endParaRPr>
          </a:p>
        </p:txBody>
      </p:sp>
      <p:pic>
        <p:nvPicPr>
          <p:cNvPr id="6" name="Picture 5" descr="A screenshot of a phone&#10;&#10;AI-generated content may be incorrect.">
            <a:extLst>
              <a:ext uri="{FF2B5EF4-FFF2-40B4-BE49-F238E27FC236}">
                <a16:creationId xmlns:a16="http://schemas.microsoft.com/office/drawing/2014/main" id="{25D8F706-8E06-D722-3555-4BBD0CEC3BF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02974" y="1022717"/>
            <a:ext cx="4178300" cy="4343400"/>
          </a:xfrm>
          <a:prstGeom prst="rect">
            <a:avLst/>
          </a:prstGeom>
        </p:spPr>
      </p:pic>
      <p:pic>
        <p:nvPicPr>
          <p:cNvPr id="8" name="Picture 7" descr="A graph of a graph&#10;&#10;AI-generated content may be incorrect.">
            <a:extLst>
              <a:ext uri="{FF2B5EF4-FFF2-40B4-BE49-F238E27FC236}">
                <a16:creationId xmlns:a16="http://schemas.microsoft.com/office/drawing/2014/main" id="{56C5CA37-6827-1D08-9C50-4FE97B25498C}"/>
              </a:ext>
            </a:extLst>
          </p:cNvPr>
          <p:cNvPicPr>
            <a:picLocks noChangeAspect="1"/>
          </p:cNvPicPr>
          <p:nvPr/>
        </p:nvPicPr>
        <p:blipFill>
          <a:blip r:embed="rId5">
            <a:extLst>
              <a:ext uri="{28A0092B-C50C-407E-A947-70E740481C1C}">
                <a14:useLocalDpi xmlns:a14="http://schemas.microsoft.com/office/drawing/2010/main" val="0"/>
              </a:ext>
            </a:extLst>
          </a:blip>
          <a:srcRect t="11438" b="4545"/>
          <a:stretch>
            <a:fillRect/>
          </a:stretch>
        </p:blipFill>
        <p:spPr>
          <a:xfrm>
            <a:off x="30574" y="3966808"/>
            <a:ext cx="7772400" cy="2798618"/>
          </a:xfrm>
          <a:prstGeom prst="rect">
            <a:avLst/>
          </a:prstGeom>
        </p:spPr>
      </p:pic>
    </p:spTree>
    <p:extLst>
      <p:ext uri="{BB962C8B-B14F-4D97-AF65-F5344CB8AC3E}">
        <p14:creationId xmlns:p14="http://schemas.microsoft.com/office/powerpoint/2010/main" val="18993183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1C91E9-7625-2277-F894-932E9DED47C4}"/>
              </a:ext>
            </a:extLst>
          </p:cNvPr>
          <p:cNvSpPr>
            <a:spLocks noGrp="1"/>
          </p:cNvSpPr>
          <p:nvPr>
            <p:ph type="title"/>
          </p:nvPr>
        </p:nvSpPr>
        <p:spPr/>
        <p:txBody>
          <a:bodyPr/>
          <a:lstStyle/>
          <a:p>
            <a:r>
              <a:rPr lang="en-US" dirty="0"/>
              <a:t>How AI Agents Plan, Organize, Adapt</a:t>
            </a:r>
          </a:p>
        </p:txBody>
      </p:sp>
      <p:sp>
        <p:nvSpPr>
          <p:cNvPr id="3" name="Text Placeholder 2">
            <a:extLst>
              <a:ext uri="{FF2B5EF4-FFF2-40B4-BE49-F238E27FC236}">
                <a16:creationId xmlns:a16="http://schemas.microsoft.com/office/drawing/2014/main" id="{3082DBBB-1AB3-EC1B-19AB-17B6683561DF}"/>
              </a:ext>
            </a:extLst>
          </p:cNvPr>
          <p:cNvSpPr>
            <a:spLocks noGrp="1"/>
          </p:cNvSpPr>
          <p:nvPr>
            <p:ph type="body" sz="quarter" idx="10"/>
          </p:nvPr>
        </p:nvSpPr>
        <p:spPr>
          <a:xfrm>
            <a:off x="297563" y="1000944"/>
            <a:ext cx="6432846" cy="4957763"/>
          </a:xfrm>
        </p:spPr>
        <p:txBody>
          <a:bodyPr/>
          <a:lstStyle/>
          <a:p>
            <a:r>
              <a:rPr lang="en-US" dirty="0"/>
              <a:t>Test this prompt (see </a:t>
            </a:r>
            <a:r>
              <a:rPr lang="en-US" dirty="0" err="1"/>
              <a:t>prompt.txt</a:t>
            </a:r>
            <a:r>
              <a:rPr lang="en-US" dirty="0"/>
              <a:t> for full prompt):</a:t>
            </a:r>
          </a:p>
          <a:p>
            <a:pPr marL="0" indent="0">
              <a:buNone/>
            </a:pPr>
            <a:endParaRPr lang="en-US" dirty="0"/>
          </a:p>
          <a:p>
            <a:pPr marL="457200" indent="-457200">
              <a:buAutoNum type="arabicParenR"/>
            </a:pPr>
            <a:r>
              <a:rPr lang="en-US" dirty="0"/>
              <a:t>Logical Planning: Notice how the LLM creates a sequence of steps choosing specific tools for each part of the task.</a:t>
            </a:r>
            <a:br>
              <a:rPr lang="en-US" dirty="0"/>
            </a:br>
            <a:endParaRPr lang="en-US" dirty="0"/>
          </a:p>
          <a:p>
            <a:pPr marL="457200" indent="-457200">
              <a:buAutoNum type="arabicParenR"/>
            </a:pPr>
            <a:r>
              <a:rPr lang="en-US" dirty="0"/>
              <a:t>Tool Selection: Watch how it picks different tools based on their capabilities (like using PDF Extractor first because you can’t summarize a PDF directly).</a:t>
            </a:r>
          </a:p>
        </p:txBody>
      </p:sp>
      <p:grpSp>
        <p:nvGrpSpPr>
          <p:cNvPr id="6" name="Group 5">
            <a:extLst>
              <a:ext uri="{FF2B5EF4-FFF2-40B4-BE49-F238E27FC236}">
                <a16:creationId xmlns:a16="http://schemas.microsoft.com/office/drawing/2014/main" id="{574B6BF6-41B1-7705-646B-70A4FBFB3A8F}"/>
              </a:ext>
            </a:extLst>
          </p:cNvPr>
          <p:cNvGrpSpPr/>
          <p:nvPr/>
        </p:nvGrpSpPr>
        <p:grpSpPr>
          <a:xfrm>
            <a:off x="7251829" y="728974"/>
            <a:ext cx="3125548" cy="5501705"/>
            <a:chOff x="841074" y="533491"/>
            <a:chExt cx="2689065" cy="5299364"/>
          </a:xfrm>
        </p:grpSpPr>
        <p:sp>
          <p:nvSpPr>
            <p:cNvPr id="7" name="Rectangle: Rounded Corners 14">
              <a:extLst>
                <a:ext uri="{FF2B5EF4-FFF2-40B4-BE49-F238E27FC236}">
                  <a16:creationId xmlns:a16="http://schemas.microsoft.com/office/drawing/2014/main" id="{84558144-EDC9-9649-39BA-61D5F53E77BD}"/>
                </a:ext>
              </a:extLst>
            </p:cNvPr>
            <p:cNvSpPr/>
            <p:nvPr/>
          </p:nvSpPr>
          <p:spPr>
            <a:xfrm>
              <a:off x="951166" y="577133"/>
              <a:ext cx="2468880" cy="5212080"/>
            </a:xfrm>
            <a:prstGeom prst="roundRect">
              <a:avLst>
                <a:gd name="adj" fmla="val 13008"/>
              </a:avLst>
            </a:prstGeom>
            <a:solidFill>
              <a:schemeClr val="bg1"/>
            </a:solidFill>
            <a:ln>
              <a:noFill/>
            </a:ln>
            <a:effectLst>
              <a:outerShdw blurRad="444500" sx="102000" sy="102000" algn="ctr" rotWithShape="0">
                <a:prstClr val="black">
                  <a:alpha val="5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Shape 15">
              <a:extLst>
                <a:ext uri="{FF2B5EF4-FFF2-40B4-BE49-F238E27FC236}">
                  <a16:creationId xmlns:a16="http://schemas.microsoft.com/office/drawing/2014/main" id="{39FBBB28-2951-BCF8-775C-5C66677AA868}"/>
                </a:ext>
              </a:extLst>
            </p:cNvPr>
            <p:cNvSpPr/>
            <p:nvPr/>
          </p:nvSpPr>
          <p:spPr>
            <a:xfrm>
              <a:off x="841074" y="533491"/>
              <a:ext cx="2689065" cy="5299364"/>
            </a:xfrm>
            <a:custGeom>
              <a:avLst/>
              <a:gdLst>
                <a:gd name="connsiteX0" fmla="*/ 936300 w 2689065"/>
                <a:gd name="connsiteY0" fmla="*/ 5084814 h 5299364"/>
                <a:gd name="connsiteX1" fmla="*/ 936300 w 2689065"/>
                <a:gd name="connsiteY1" fmla="*/ 5084815 h 5299364"/>
                <a:gd name="connsiteX2" fmla="*/ 936300 w 2689065"/>
                <a:gd name="connsiteY2" fmla="*/ 5084815 h 5299364"/>
                <a:gd name="connsiteX3" fmla="*/ 959160 w 2689065"/>
                <a:gd name="connsiteY3" fmla="*/ 5061955 h 5299364"/>
                <a:gd name="connsiteX4" fmla="*/ 1736731 w 2689065"/>
                <a:gd name="connsiteY4" fmla="*/ 5061955 h 5299364"/>
                <a:gd name="connsiteX5" fmla="*/ 1759591 w 2689065"/>
                <a:gd name="connsiteY5" fmla="*/ 5084815 h 5299364"/>
                <a:gd name="connsiteX6" fmla="*/ 1759590 w 2689065"/>
                <a:gd name="connsiteY6" fmla="*/ 5084815 h 5299364"/>
                <a:gd name="connsiteX7" fmla="*/ 1736730 w 2689065"/>
                <a:gd name="connsiteY7" fmla="*/ 5107675 h 5299364"/>
                <a:gd name="connsiteX8" fmla="*/ 959160 w 2689065"/>
                <a:gd name="connsiteY8" fmla="*/ 5107674 h 5299364"/>
                <a:gd name="connsiteX9" fmla="*/ 942996 w 2689065"/>
                <a:gd name="connsiteY9" fmla="*/ 5100979 h 5299364"/>
                <a:gd name="connsiteX10" fmla="*/ 936300 w 2689065"/>
                <a:gd name="connsiteY10" fmla="*/ 5084815 h 5299364"/>
                <a:gd name="connsiteX11" fmla="*/ 942996 w 2689065"/>
                <a:gd name="connsiteY11" fmla="*/ 5068651 h 5299364"/>
                <a:gd name="connsiteX12" fmla="*/ 959160 w 2689065"/>
                <a:gd name="connsiteY12" fmla="*/ 5061955 h 5299364"/>
                <a:gd name="connsiteX13" fmla="*/ 1099878 w 2689065"/>
                <a:gd name="connsiteY13" fmla="*/ 187223 h 5299364"/>
                <a:gd name="connsiteX14" fmla="*/ 1596012 w 2689065"/>
                <a:gd name="connsiteY14" fmla="*/ 187223 h 5299364"/>
                <a:gd name="connsiteX15" fmla="*/ 1701929 w 2689065"/>
                <a:gd name="connsiteY15" fmla="*/ 293140 h 5299364"/>
                <a:gd name="connsiteX16" fmla="*/ 1596012 w 2689065"/>
                <a:gd name="connsiteY16" fmla="*/ 399057 h 5299364"/>
                <a:gd name="connsiteX17" fmla="*/ 1099878 w 2689065"/>
                <a:gd name="connsiteY17" fmla="*/ 399057 h 5299364"/>
                <a:gd name="connsiteX18" fmla="*/ 993961 w 2689065"/>
                <a:gd name="connsiteY18" fmla="*/ 293140 h 5299364"/>
                <a:gd name="connsiteX19" fmla="*/ 1099878 w 2689065"/>
                <a:gd name="connsiteY19" fmla="*/ 187223 h 5299364"/>
                <a:gd name="connsiteX20" fmla="*/ 457207 w 2689065"/>
                <a:gd name="connsiteY20" fmla="*/ 91440 h 5299364"/>
                <a:gd name="connsiteX21" fmla="*/ 143985 w 2689065"/>
                <a:gd name="connsiteY21" fmla="*/ 404662 h 5299364"/>
                <a:gd name="connsiteX22" fmla="*/ 143985 w 2689065"/>
                <a:gd name="connsiteY22" fmla="*/ 4894702 h 5299364"/>
                <a:gd name="connsiteX23" fmla="*/ 457207 w 2689065"/>
                <a:gd name="connsiteY23" fmla="*/ 5207924 h 5299364"/>
                <a:gd name="connsiteX24" fmla="*/ 2238683 w 2689065"/>
                <a:gd name="connsiteY24" fmla="*/ 5207924 h 5299364"/>
                <a:gd name="connsiteX25" fmla="*/ 2551905 w 2689065"/>
                <a:gd name="connsiteY25" fmla="*/ 4894702 h 5299364"/>
                <a:gd name="connsiteX26" fmla="*/ 2551905 w 2689065"/>
                <a:gd name="connsiteY26" fmla="*/ 404662 h 5299364"/>
                <a:gd name="connsiteX27" fmla="*/ 2238683 w 2689065"/>
                <a:gd name="connsiteY27" fmla="*/ 91440 h 5299364"/>
                <a:gd name="connsiteX28" fmla="*/ 456632 w 2689065"/>
                <a:gd name="connsiteY28" fmla="*/ 0 h 5299364"/>
                <a:gd name="connsiteX29" fmla="*/ 2239258 w 2689065"/>
                <a:gd name="connsiteY29" fmla="*/ 0 h 5299364"/>
                <a:gd name="connsiteX30" fmla="*/ 2643345 w 2689065"/>
                <a:gd name="connsiteY30" fmla="*/ 404087 h 5299364"/>
                <a:gd name="connsiteX31" fmla="*/ 2643345 w 2689065"/>
                <a:gd name="connsiteY31" fmla="*/ 1743907 h 5299364"/>
                <a:gd name="connsiteX32" fmla="*/ 2662639 w 2689065"/>
                <a:gd name="connsiteY32" fmla="*/ 1743907 h 5299364"/>
                <a:gd name="connsiteX33" fmla="*/ 2689065 w 2689065"/>
                <a:gd name="connsiteY33" fmla="*/ 1770333 h 5299364"/>
                <a:gd name="connsiteX34" fmla="*/ 2689065 w 2689065"/>
                <a:gd name="connsiteY34" fmla="*/ 2299740 h 5299364"/>
                <a:gd name="connsiteX35" fmla="*/ 2662639 w 2689065"/>
                <a:gd name="connsiteY35" fmla="*/ 2326166 h 5299364"/>
                <a:gd name="connsiteX36" fmla="*/ 2643345 w 2689065"/>
                <a:gd name="connsiteY36" fmla="*/ 2326166 h 5299364"/>
                <a:gd name="connsiteX37" fmla="*/ 2643345 w 2689065"/>
                <a:gd name="connsiteY37" fmla="*/ 4895277 h 5299364"/>
                <a:gd name="connsiteX38" fmla="*/ 2239258 w 2689065"/>
                <a:gd name="connsiteY38" fmla="*/ 5299364 h 5299364"/>
                <a:gd name="connsiteX39" fmla="*/ 456632 w 2689065"/>
                <a:gd name="connsiteY39" fmla="*/ 5299364 h 5299364"/>
                <a:gd name="connsiteX40" fmla="*/ 52545 w 2689065"/>
                <a:gd name="connsiteY40" fmla="*/ 4895277 h 5299364"/>
                <a:gd name="connsiteX41" fmla="*/ 52545 w 2689065"/>
                <a:gd name="connsiteY41" fmla="*/ 2360671 h 5299364"/>
                <a:gd name="connsiteX42" fmla="*/ 25447 w 2689065"/>
                <a:gd name="connsiteY42" fmla="*/ 2360671 h 5299364"/>
                <a:gd name="connsiteX43" fmla="*/ 1 w 2689065"/>
                <a:gd name="connsiteY43" fmla="*/ 2335225 h 5299364"/>
                <a:gd name="connsiteX44" fmla="*/ 1 w 2689065"/>
                <a:gd name="connsiteY44" fmla="*/ 1463090 h 5299364"/>
                <a:gd name="connsiteX45" fmla="*/ 25447 w 2689065"/>
                <a:gd name="connsiteY45" fmla="*/ 1437644 h 5299364"/>
                <a:gd name="connsiteX46" fmla="*/ 52545 w 2689065"/>
                <a:gd name="connsiteY46" fmla="*/ 1437644 h 5299364"/>
                <a:gd name="connsiteX47" fmla="*/ 52545 w 2689065"/>
                <a:gd name="connsiteY47" fmla="*/ 1282409 h 5299364"/>
                <a:gd name="connsiteX48" fmla="*/ 23290 w 2689065"/>
                <a:gd name="connsiteY48" fmla="*/ 1282409 h 5299364"/>
                <a:gd name="connsiteX49" fmla="*/ 0 w 2689065"/>
                <a:gd name="connsiteY49" fmla="*/ 1259119 h 5299364"/>
                <a:gd name="connsiteX50" fmla="*/ 0 w 2689065"/>
                <a:gd name="connsiteY50" fmla="*/ 1081373 h 5299364"/>
                <a:gd name="connsiteX51" fmla="*/ 23290 w 2689065"/>
                <a:gd name="connsiteY51" fmla="*/ 1058083 h 5299364"/>
                <a:gd name="connsiteX52" fmla="*/ 52545 w 2689065"/>
                <a:gd name="connsiteY52" fmla="*/ 1058083 h 5299364"/>
                <a:gd name="connsiteX53" fmla="*/ 52545 w 2689065"/>
                <a:gd name="connsiteY53" fmla="*/ 404087 h 5299364"/>
                <a:gd name="connsiteX54" fmla="*/ 456632 w 2689065"/>
                <a:gd name="connsiteY54" fmla="*/ 0 h 5299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689065" h="5299364">
                  <a:moveTo>
                    <a:pt x="936300" y="5084814"/>
                  </a:moveTo>
                  <a:lnTo>
                    <a:pt x="936300" y="5084815"/>
                  </a:lnTo>
                  <a:lnTo>
                    <a:pt x="936300" y="5084815"/>
                  </a:lnTo>
                  <a:close/>
                  <a:moveTo>
                    <a:pt x="959160" y="5061955"/>
                  </a:moveTo>
                  <a:lnTo>
                    <a:pt x="1736731" y="5061955"/>
                  </a:lnTo>
                  <a:cubicBezTo>
                    <a:pt x="1749356" y="5061955"/>
                    <a:pt x="1759591" y="5072190"/>
                    <a:pt x="1759591" y="5084815"/>
                  </a:cubicBezTo>
                  <a:lnTo>
                    <a:pt x="1759590" y="5084815"/>
                  </a:lnTo>
                  <a:cubicBezTo>
                    <a:pt x="1759590" y="5097440"/>
                    <a:pt x="1749355" y="5107675"/>
                    <a:pt x="1736730" y="5107675"/>
                  </a:cubicBezTo>
                  <a:lnTo>
                    <a:pt x="959160" y="5107674"/>
                  </a:lnTo>
                  <a:cubicBezTo>
                    <a:pt x="952847" y="5107674"/>
                    <a:pt x="947132" y="5105116"/>
                    <a:pt x="942996" y="5100979"/>
                  </a:cubicBezTo>
                  <a:lnTo>
                    <a:pt x="936300" y="5084815"/>
                  </a:lnTo>
                  <a:lnTo>
                    <a:pt x="942996" y="5068651"/>
                  </a:lnTo>
                  <a:cubicBezTo>
                    <a:pt x="947132" y="5064514"/>
                    <a:pt x="952847" y="5061955"/>
                    <a:pt x="959160" y="5061955"/>
                  </a:cubicBezTo>
                  <a:close/>
                  <a:moveTo>
                    <a:pt x="1099878" y="187223"/>
                  </a:moveTo>
                  <a:lnTo>
                    <a:pt x="1596012" y="187223"/>
                  </a:lnTo>
                  <a:cubicBezTo>
                    <a:pt x="1654508" y="187223"/>
                    <a:pt x="1701929" y="234644"/>
                    <a:pt x="1701929" y="293140"/>
                  </a:cubicBezTo>
                  <a:cubicBezTo>
                    <a:pt x="1701929" y="351636"/>
                    <a:pt x="1654508" y="399057"/>
                    <a:pt x="1596012" y="399057"/>
                  </a:cubicBezTo>
                  <a:lnTo>
                    <a:pt x="1099878" y="399057"/>
                  </a:lnTo>
                  <a:cubicBezTo>
                    <a:pt x="1041382" y="399057"/>
                    <a:pt x="993961" y="351636"/>
                    <a:pt x="993961" y="293140"/>
                  </a:cubicBezTo>
                  <a:cubicBezTo>
                    <a:pt x="993961" y="234644"/>
                    <a:pt x="1041382" y="187223"/>
                    <a:pt x="1099878" y="187223"/>
                  </a:cubicBezTo>
                  <a:close/>
                  <a:moveTo>
                    <a:pt x="457207" y="91440"/>
                  </a:moveTo>
                  <a:cubicBezTo>
                    <a:pt x="284219" y="91440"/>
                    <a:pt x="143985" y="231674"/>
                    <a:pt x="143985" y="404662"/>
                  </a:cubicBezTo>
                  <a:lnTo>
                    <a:pt x="143985" y="4894702"/>
                  </a:lnTo>
                  <a:cubicBezTo>
                    <a:pt x="143985" y="5067690"/>
                    <a:pt x="284219" y="5207924"/>
                    <a:pt x="457207" y="5207924"/>
                  </a:cubicBezTo>
                  <a:lnTo>
                    <a:pt x="2238683" y="5207924"/>
                  </a:lnTo>
                  <a:cubicBezTo>
                    <a:pt x="2411671" y="5207924"/>
                    <a:pt x="2551905" y="5067690"/>
                    <a:pt x="2551905" y="4894702"/>
                  </a:cubicBezTo>
                  <a:lnTo>
                    <a:pt x="2551905" y="404662"/>
                  </a:lnTo>
                  <a:cubicBezTo>
                    <a:pt x="2551905" y="231674"/>
                    <a:pt x="2411671" y="91440"/>
                    <a:pt x="2238683" y="91440"/>
                  </a:cubicBezTo>
                  <a:close/>
                  <a:moveTo>
                    <a:pt x="456632" y="0"/>
                  </a:moveTo>
                  <a:lnTo>
                    <a:pt x="2239258" y="0"/>
                  </a:lnTo>
                  <a:cubicBezTo>
                    <a:pt x="2462429" y="0"/>
                    <a:pt x="2643345" y="180916"/>
                    <a:pt x="2643345" y="404087"/>
                  </a:cubicBezTo>
                  <a:lnTo>
                    <a:pt x="2643345" y="1743907"/>
                  </a:lnTo>
                  <a:lnTo>
                    <a:pt x="2662639" y="1743907"/>
                  </a:lnTo>
                  <a:cubicBezTo>
                    <a:pt x="2677234" y="1743907"/>
                    <a:pt x="2689065" y="1755738"/>
                    <a:pt x="2689065" y="1770333"/>
                  </a:cubicBezTo>
                  <a:lnTo>
                    <a:pt x="2689065" y="2299740"/>
                  </a:lnTo>
                  <a:cubicBezTo>
                    <a:pt x="2689065" y="2314335"/>
                    <a:pt x="2677234" y="2326166"/>
                    <a:pt x="2662639" y="2326166"/>
                  </a:cubicBezTo>
                  <a:lnTo>
                    <a:pt x="2643345" y="2326166"/>
                  </a:lnTo>
                  <a:lnTo>
                    <a:pt x="2643345" y="4895277"/>
                  </a:lnTo>
                  <a:cubicBezTo>
                    <a:pt x="2643345" y="5118448"/>
                    <a:pt x="2462429" y="5299364"/>
                    <a:pt x="2239258" y="5299364"/>
                  </a:cubicBezTo>
                  <a:lnTo>
                    <a:pt x="456632" y="5299364"/>
                  </a:lnTo>
                  <a:cubicBezTo>
                    <a:pt x="233461" y="5299364"/>
                    <a:pt x="52545" y="5118448"/>
                    <a:pt x="52545" y="4895277"/>
                  </a:cubicBezTo>
                  <a:lnTo>
                    <a:pt x="52545" y="2360671"/>
                  </a:lnTo>
                  <a:lnTo>
                    <a:pt x="25447" y="2360671"/>
                  </a:lnTo>
                  <a:cubicBezTo>
                    <a:pt x="11394" y="2360671"/>
                    <a:pt x="1" y="2349278"/>
                    <a:pt x="1" y="2335225"/>
                  </a:cubicBezTo>
                  <a:lnTo>
                    <a:pt x="1" y="1463090"/>
                  </a:lnTo>
                  <a:cubicBezTo>
                    <a:pt x="1" y="1449037"/>
                    <a:pt x="11394" y="1437644"/>
                    <a:pt x="25447" y="1437644"/>
                  </a:cubicBezTo>
                  <a:lnTo>
                    <a:pt x="52545" y="1437644"/>
                  </a:lnTo>
                  <a:lnTo>
                    <a:pt x="52545" y="1282409"/>
                  </a:lnTo>
                  <a:lnTo>
                    <a:pt x="23290" y="1282409"/>
                  </a:lnTo>
                  <a:cubicBezTo>
                    <a:pt x="10427" y="1282409"/>
                    <a:pt x="0" y="1271982"/>
                    <a:pt x="0" y="1259119"/>
                  </a:cubicBezTo>
                  <a:lnTo>
                    <a:pt x="0" y="1081373"/>
                  </a:lnTo>
                  <a:cubicBezTo>
                    <a:pt x="0" y="1068510"/>
                    <a:pt x="10427" y="1058083"/>
                    <a:pt x="23290" y="1058083"/>
                  </a:cubicBezTo>
                  <a:lnTo>
                    <a:pt x="52545" y="1058083"/>
                  </a:lnTo>
                  <a:lnTo>
                    <a:pt x="52545" y="404087"/>
                  </a:lnTo>
                  <a:cubicBezTo>
                    <a:pt x="52545" y="180916"/>
                    <a:pt x="233461" y="0"/>
                    <a:pt x="456632" y="0"/>
                  </a:cubicBez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4" name="TextBox 13">
            <a:extLst>
              <a:ext uri="{FF2B5EF4-FFF2-40B4-BE49-F238E27FC236}">
                <a16:creationId xmlns:a16="http://schemas.microsoft.com/office/drawing/2014/main" id="{2FFE45C0-0ED2-9EF3-2122-A03524B5C339}"/>
              </a:ext>
            </a:extLst>
          </p:cNvPr>
          <p:cNvSpPr txBox="1"/>
          <p:nvPr/>
        </p:nvSpPr>
        <p:spPr>
          <a:xfrm>
            <a:off x="7602906" y="1398746"/>
            <a:ext cx="2423392" cy="4493538"/>
          </a:xfrm>
          <a:prstGeom prst="rect">
            <a:avLst/>
          </a:prstGeom>
          <a:noFill/>
        </p:spPr>
        <p:txBody>
          <a:bodyPr wrap="square" lIns="0" rIns="0" rtlCol="0" anchor="t">
            <a:spAutoFit/>
          </a:bodyPr>
          <a:lstStyle/>
          <a:p>
            <a:pPr algn="just"/>
            <a:r>
              <a:rPr lang="en-US" sz="1100" b="1" noProof="1">
                <a:solidFill>
                  <a:schemeClr val="tx1">
                    <a:lumMod val="65000"/>
                    <a:lumOff val="35000"/>
                  </a:schemeClr>
                </a:solidFill>
              </a:rPr>
              <a:t>You are an AI agent. Your mission is to handle an important business document.</a:t>
            </a:r>
          </a:p>
          <a:p>
            <a:pPr algn="just"/>
            <a:endParaRPr lang="en-US" sz="1100" b="1" noProof="1">
              <a:solidFill>
                <a:schemeClr val="tx1">
                  <a:lumMod val="65000"/>
                  <a:lumOff val="35000"/>
                </a:schemeClr>
              </a:solidFill>
            </a:endParaRPr>
          </a:p>
          <a:p>
            <a:pPr algn="just"/>
            <a:r>
              <a:rPr lang="en-US" sz="1100" b="1" noProof="1">
                <a:solidFill>
                  <a:schemeClr val="tx1">
                    <a:lumMod val="65000"/>
                    <a:lumOff val="35000"/>
                  </a:schemeClr>
                </a:solidFill>
              </a:rPr>
              <a:t>---------------------------------------------------GOAL</a:t>
            </a:r>
          </a:p>
          <a:p>
            <a:pPr algn="just"/>
            <a:r>
              <a:rPr lang="en-US" sz="1100" b="1" noProof="1">
                <a:solidFill>
                  <a:schemeClr val="tx1">
                    <a:lumMod val="65000"/>
                    <a:lumOff val="35000"/>
                  </a:schemeClr>
                </a:solidFill>
              </a:rPr>
              <a:t>---------------------------------------------------</a:t>
            </a:r>
          </a:p>
          <a:p>
            <a:pPr algn="just"/>
            <a:r>
              <a:rPr lang="en-US" sz="1100" b="1" noProof="1">
                <a:solidFill>
                  <a:schemeClr val="tx1">
                    <a:lumMod val="65000"/>
                    <a:lumOff val="35000"/>
                  </a:schemeClr>
                </a:solidFill>
              </a:rPr>
              <a:t>Convert a 30-page PDF business report into a 2-page summary </a:t>
            </a:r>
          </a:p>
          <a:p>
            <a:pPr algn="just"/>
            <a:r>
              <a:rPr lang="en-US" sz="1100" b="1" noProof="1">
                <a:solidFill>
                  <a:schemeClr val="tx1">
                    <a:lumMod val="65000"/>
                    <a:lumOff val="35000"/>
                  </a:schemeClr>
                </a:solidFill>
              </a:rPr>
              <a:t>and make it available to the team on a daily basis before 5PM.</a:t>
            </a:r>
          </a:p>
          <a:p>
            <a:pPr algn="just"/>
            <a:endParaRPr lang="en-US" sz="1100" b="1" noProof="1">
              <a:solidFill>
                <a:schemeClr val="tx1">
                  <a:lumMod val="65000"/>
                  <a:lumOff val="35000"/>
                </a:schemeClr>
              </a:solidFill>
            </a:endParaRPr>
          </a:p>
          <a:p>
            <a:pPr algn="just"/>
            <a:r>
              <a:rPr lang="en-US" sz="1100" b="1" noProof="1">
                <a:solidFill>
                  <a:schemeClr val="tx1">
                    <a:lumMod val="65000"/>
                    <a:lumOff val="35000"/>
                  </a:schemeClr>
                </a:solidFill>
              </a:rPr>
              <a:t>----------------------------------------------------</a:t>
            </a:r>
          </a:p>
          <a:p>
            <a:pPr algn="just"/>
            <a:r>
              <a:rPr lang="en-US" sz="1100" b="1" noProof="1">
                <a:solidFill>
                  <a:schemeClr val="tx1">
                    <a:lumMod val="65000"/>
                    <a:lumOff val="35000"/>
                  </a:schemeClr>
                </a:solidFill>
              </a:rPr>
              <a:t>AVAILABLE TOOLS</a:t>
            </a:r>
          </a:p>
          <a:p>
            <a:pPr algn="just"/>
            <a:r>
              <a:rPr lang="en-US" sz="1100" b="1" noProof="1">
                <a:solidFill>
                  <a:schemeClr val="tx1">
                    <a:lumMod val="65000"/>
                    <a:lumOff val="35000"/>
                  </a:schemeClr>
                </a:solidFill>
              </a:rPr>
              <a:t>----------------------------------------------------</a:t>
            </a:r>
          </a:p>
          <a:p>
            <a:pPr algn="just"/>
            <a:r>
              <a:rPr lang="en-US" sz="1100" b="1" noProof="1">
                <a:solidFill>
                  <a:schemeClr val="tx1">
                    <a:lumMod val="65000"/>
                    <a:lumOff val="35000"/>
                  </a:schemeClr>
                </a:solidFill>
              </a:rPr>
              <a:t>- PDF Extractor (extracts text from PDFs)</a:t>
            </a:r>
          </a:p>
          <a:p>
            <a:pPr algn="just"/>
            <a:r>
              <a:rPr lang="en-US" sz="1100" b="1" noProof="1">
                <a:solidFill>
                  <a:schemeClr val="tx1">
                    <a:lumMod val="65000"/>
                    <a:lumOff val="35000"/>
                  </a:schemeClr>
                </a:solidFill>
              </a:rPr>
              <a:t>- AI Summarizer (creates summaries from text)</a:t>
            </a:r>
          </a:p>
          <a:p>
            <a:pPr algn="just"/>
            <a:r>
              <a:rPr lang="en-US" sz="1100" b="1" noProof="1">
                <a:solidFill>
                  <a:schemeClr val="tx1">
                    <a:lumMod val="65000"/>
                    <a:lumOff val="35000"/>
                  </a:schemeClr>
                </a:solidFill>
              </a:rPr>
              <a:t>- Email System</a:t>
            </a:r>
          </a:p>
          <a:p>
            <a:pPr algn="just"/>
            <a:r>
              <a:rPr lang="en-US" sz="1100" b="1" noProof="1">
                <a:solidFill>
                  <a:schemeClr val="tx1">
                    <a:lumMod val="65000"/>
                    <a:lumOff val="35000"/>
                  </a:schemeClr>
                </a:solidFill>
              </a:rPr>
              <a:t>- Local Secure Storage (like the storage on a computer)</a:t>
            </a:r>
          </a:p>
          <a:p>
            <a:pPr algn="just"/>
            <a:r>
              <a:rPr lang="en-US" sz="1100" b="1" noProof="1">
                <a:solidFill>
                  <a:schemeClr val="tx1">
                    <a:lumMod val="65000"/>
                    <a:lumOff val="35000"/>
                  </a:schemeClr>
                </a:solidFill>
              </a:rPr>
              <a:t>- Cloud Storage (like Google Drive)</a:t>
            </a:r>
          </a:p>
          <a:p>
            <a:pPr algn="just"/>
            <a:r>
              <a:rPr lang="en-US" sz="1100" b="1" noProof="1">
                <a:solidFill>
                  <a:schemeClr val="tx1">
                    <a:lumMod val="65000"/>
                    <a:lumOff val="35000"/>
                  </a:schemeClr>
                </a:solidFill>
              </a:rPr>
              <a:t>- Format Converter (converts between file formats)</a:t>
            </a:r>
          </a:p>
          <a:p>
            <a:pPr algn="just"/>
            <a:r>
              <a:rPr lang="en-US" sz="1100" b="1" noProof="1">
                <a:solidFill>
                  <a:schemeClr val="tx1">
                    <a:lumMod val="65000"/>
                    <a:lumOff val="35000"/>
                  </a:schemeClr>
                </a:solidFill>
              </a:rPr>
              <a:t>- Team Chat (Slack)</a:t>
            </a:r>
          </a:p>
        </p:txBody>
      </p:sp>
    </p:spTree>
    <p:extLst>
      <p:ext uri="{BB962C8B-B14F-4D97-AF65-F5344CB8AC3E}">
        <p14:creationId xmlns:p14="http://schemas.microsoft.com/office/powerpoint/2010/main" val="27720082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ED5B44-10D2-7C0A-444A-E8A45B1C65A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9942563-8311-68F6-5416-D8250F1D9037}"/>
              </a:ext>
            </a:extLst>
          </p:cNvPr>
          <p:cNvSpPr>
            <a:spLocks noGrp="1"/>
          </p:cNvSpPr>
          <p:nvPr>
            <p:ph type="title"/>
          </p:nvPr>
        </p:nvSpPr>
        <p:spPr/>
        <p:txBody>
          <a:bodyPr/>
          <a:lstStyle/>
          <a:p>
            <a:r>
              <a:rPr lang="en-US" dirty="0"/>
              <a:t>With Great Power Comes Great Responsibility</a:t>
            </a:r>
          </a:p>
        </p:txBody>
      </p:sp>
      <p:grpSp>
        <p:nvGrpSpPr>
          <p:cNvPr id="6" name="Group 5">
            <a:extLst>
              <a:ext uri="{FF2B5EF4-FFF2-40B4-BE49-F238E27FC236}">
                <a16:creationId xmlns:a16="http://schemas.microsoft.com/office/drawing/2014/main" id="{C887B5AD-C8C5-E94F-57CB-E2147E9CFA35}"/>
              </a:ext>
            </a:extLst>
          </p:cNvPr>
          <p:cNvGrpSpPr/>
          <p:nvPr/>
        </p:nvGrpSpPr>
        <p:grpSpPr>
          <a:xfrm>
            <a:off x="1043999" y="1671613"/>
            <a:ext cx="4227858" cy="4679875"/>
            <a:chOff x="3982071" y="1089063"/>
            <a:chExt cx="4227858" cy="4679875"/>
          </a:xfrm>
        </p:grpSpPr>
        <p:sp>
          <p:nvSpPr>
            <p:cNvPr id="4" name="Shape">
              <a:extLst>
                <a:ext uri="{FF2B5EF4-FFF2-40B4-BE49-F238E27FC236}">
                  <a16:creationId xmlns:a16="http://schemas.microsoft.com/office/drawing/2014/main" id="{1AB18EB4-3703-0800-62F8-E5F697BEEA28}"/>
                </a:ext>
              </a:extLst>
            </p:cNvPr>
            <p:cNvSpPr/>
            <p:nvPr/>
          </p:nvSpPr>
          <p:spPr>
            <a:xfrm>
              <a:off x="3982071" y="1089063"/>
              <a:ext cx="3197296" cy="4670137"/>
            </a:xfrm>
            <a:custGeom>
              <a:avLst/>
              <a:gdLst/>
              <a:ahLst/>
              <a:cxnLst>
                <a:cxn ang="0">
                  <a:pos x="wd2" y="hd2"/>
                </a:cxn>
                <a:cxn ang="5400000">
                  <a:pos x="wd2" y="hd2"/>
                </a:cxn>
                <a:cxn ang="10800000">
                  <a:pos x="wd2" y="hd2"/>
                </a:cxn>
                <a:cxn ang="16200000">
                  <a:pos x="wd2" y="hd2"/>
                </a:cxn>
              </a:cxnLst>
              <a:rect l="0" t="0" r="r" b="b"/>
              <a:pathLst>
                <a:path w="20390" h="21543" extrusionOk="0">
                  <a:moveTo>
                    <a:pt x="969" y="10482"/>
                  </a:moveTo>
                  <a:cubicBezTo>
                    <a:pt x="969" y="10482"/>
                    <a:pt x="-1210" y="13640"/>
                    <a:pt x="969" y="20066"/>
                  </a:cubicBezTo>
                  <a:cubicBezTo>
                    <a:pt x="969" y="20066"/>
                    <a:pt x="3042" y="20224"/>
                    <a:pt x="4354" y="20066"/>
                  </a:cubicBezTo>
                  <a:cubicBezTo>
                    <a:pt x="5666" y="19908"/>
                    <a:pt x="6533" y="19475"/>
                    <a:pt x="7845" y="19908"/>
                  </a:cubicBezTo>
                  <a:cubicBezTo>
                    <a:pt x="9157" y="20342"/>
                    <a:pt x="11060" y="21484"/>
                    <a:pt x="12809" y="21525"/>
                  </a:cubicBezTo>
                  <a:cubicBezTo>
                    <a:pt x="14551" y="21566"/>
                    <a:pt x="20390" y="21525"/>
                    <a:pt x="20390" y="21525"/>
                  </a:cubicBezTo>
                  <a:cubicBezTo>
                    <a:pt x="20390" y="21525"/>
                    <a:pt x="20390" y="9228"/>
                    <a:pt x="20390" y="9216"/>
                  </a:cubicBezTo>
                  <a:cubicBezTo>
                    <a:pt x="20390" y="9287"/>
                    <a:pt x="18454" y="9146"/>
                    <a:pt x="18325" y="9129"/>
                  </a:cubicBezTo>
                  <a:cubicBezTo>
                    <a:pt x="17361" y="9000"/>
                    <a:pt x="16454" y="8689"/>
                    <a:pt x="16446" y="7863"/>
                  </a:cubicBezTo>
                  <a:cubicBezTo>
                    <a:pt x="16430" y="7031"/>
                    <a:pt x="16673" y="6188"/>
                    <a:pt x="16867" y="5373"/>
                  </a:cubicBezTo>
                  <a:cubicBezTo>
                    <a:pt x="17045" y="4635"/>
                    <a:pt x="17337" y="3885"/>
                    <a:pt x="17248" y="3130"/>
                  </a:cubicBezTo>
                  <a:cubicBezTo>
                    <a:pt x="17199" y="2667"/>
                    <a:pt x="17029" y="2210"/>
                    <a:pt x="16794" y="1776"/>
                  </a:cubicBezTo>
                  <a:cubicBezTo>
                    <a:pt x="16324" y="915"/>
                    <a:pt x="15199" y="-34"/>
                    <a:pt x="13773" y="1"/>
                  </a:cubicBezTo>
                  <a:cubicBezTo>
                    <a:pt x="13757" y="1"/>
                    <a:pt x="13749" y="1"/>
                    <a:pt x="13733" y="1"/>
                  </a:cubicBezTo>
                  <a:cubicBezTo>
                    <a:pt x="11384" y="77"/>
                    <a:pt x="13190" y="3217"/>
                    <a:pt x="12315" y="5268"/>
                  </a:cubicBezTo>
                  <a:cubicBezTo>
                    <a:pt x="11441" y="7318"/>
                    <a:pt x="9967" y="7752"/>
                    <a:pt x="8719" y="8543"/>
                  </a:cubicBezTo>
                  <a:cubicBezTo>
                    <a:pt x="7472" y="9334"/>
                    <a:pt x="7083" y="10242"/>
                    <a:pt x="6484" y="10359"/>
                  </a:cubicBezTo>
                  <a:cubicBezTo>
                    <a:pt x="5877" y="10482"/>
                    <a:pt x="969" y="10482"/>
                    <a:pt x="969" y="10482"/>
                  </a:cubicBezTo>
                  <a:close/>
                </a:path>
              </a:pathLst>
            </a:custGeom>
            <a:solidFill>
              <a:schemeClr val="bg2">
                <a:lumMod val="10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5" name="Shape">
              <a:extLst>
                <a:ext uri="{FF2B5EF4-FFF2-40B4-BE49-F238E27FC236}">
                  <a16:creationId xmlns:a16="http://schemas.microsoft.com/office/drawing/2014/main" id="{2744D1D4-4573-678B-CEBF-52D9DBD5080B}"/>
                </a:ext>
              </a:extLst>
            </p:cNvPr>
            <p:cNvSpPr/>
            <p:nvPr/>
          </p:nvSpPr>
          <p:spPr>
            <a:xfrm>
              <a:off x="6014071" y="3082578"/>
              <a:ext cx="2099435" cy="704528"/>
            </a:xfrm>
            <a:custGeom>
              <a:avLst/>
              <a:gdLst/>
              <a:ahLst/>
              <a:cxnLst>
                <a:cxn ang="0">
                  <a:pos x="wd2" y="hd2"/>
                </a:cxn>
                <a:cxn ang="5400000">
                  <a:pos x="wd2" y="hd2"/>
                </a:cxn>
                <a:cxn ang="10800000">
                  <a:pos x="wd2" y="hd2"/>
                </a:cxn>
                <a:cxn ang="16200000">
                  <a:pos x="wd2" y="hd2"/>
                </a:cxn>
              </a:cxnLst>
              <a:rect l="0" t="0" r="r" b="b"/>
              <a:pathLst>
                <a:path w="21600" h="21600" extrusionOk="0">
                  <a:moveTo>
                    <a:pt x="17976" y="0"/>
                  </a:moveTo>
                  <a:lnTo>
                    <a:pt x="3624" y="0"/>
                  </a:lnTo>
                  <a:cubicBezTo>
                    <a:pt x="1627" y="0"/>
                    <a:pt x="0" y="4848"/>
                    <a:pt x="0" y="10800"/>
                  </a:cubicBezTo>
                  <a:lnTo>
                    <a:pt x="0" y="10800"/>
                  </a:lnTo>
                  <a:cubicBezTo>
                    <a:pt x="0" y="16752"/>
                    <a:pt x="1627" y="21600"/>
                    <a:pt x="3624" y="21600"/>
                  </a:cubicBezTo>
                  <a:lnTo>
                    <a:pt x="17976" y="21600"/>
                  </a:lnTo>
                  <a:cubicBezTo>
                    <a:pt x="19973" y="21600"/>
                    <a:pt x="21600" y="16752"/>
                    <a:pt x="21600" y="10800"/>
                  </a:cubicBezTo>
                  <a:lnTo>
                    <a:pt x="21600" y="10800"/>
                  </a:lnTo>
                  <a:cubicBezTo>
                    <a:pt x="21600" y="4809"/>
                    <a:pt x="19973" y="0"/>
                    <a:pt x="17976" y="0"/>
                  </a:cubicBezTo>
                  <a:close/>
                </a:path>
              </a:pathLst>
            </a:custGeom>
            <a:solidFill>
              <a:schemeClr val="accent2"/>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9" name="Shape">
              <a:extLst>
                <a:ext uri="{FF2B5EF4-FFF2-40B4-BE49-F238E27FC236}">
                  <a16:creationId xmlns:a16="http://schemas.microsoft.com/office/drawing/2014/main" id="{4CA98573-4804-E4BA-9D23-591176AED3A3}"/>
                </a:ext>
              </a:extLst>
            </p:cNvPr>
            <p:cNvSpPr/>
            <p:nvPr/>
          </p:nvSpPr>
          <p:spPr>
            <a:xfrm>
              <a:off x="6014071" y="3781759"/>
              <a:ext cx="2195858" cy="704528"/>
            </a:xfrm>
            <a:custGeom>
              <a:avLst/>
              <a:gdLst/>
              <a:ahLst/>
              <a:cxnLst>
                <a:cxn ang="0">
                  <a:pos x="wd2" y="hd2"/>
                </a:cxn>
                <a:cxn ang="5400000">
                  <a:pos x="wd2" y="hd2"/>
                </a:cxn>
                <a:cxn ang="10800000">
                  <a:pos x="wd2" y="hd2"/>
                </a:cxn>
                <a:cxn ang="16200000">
                  <a:pos x="wd2" y="hd2"/>
                </a:cxn>
              </a:cxnLst>
              <a:rect l="0" t="0" r="r" b="b"/>
              <a:pathLst>
                <a:path w="21600" h="21600" extrusionOk="0">
                  <a:moveTo>
                    <a:pt x="18135" y="0"/>
                  </a:moveTo>
                  <a:lnTo>
                    <a:pt x="3465" y="0"/>
                  </a:lnTo>
                  <a:cubicBezTo>
                    <a:pt x="1556" y="0"/>
                    <a:pt x="0" y="4848"/>
                    <a:pt x="0" y="10800"/>
                  </a:cubicBezTo>
                  <a:cubicBezTo>
                    <a:pt x="0" y="16752"/>
                    <a:pt x="1556" y="21600"/>
                    <a:pt x="3465" y="21600"/>
                  </a:cubicBezTo>
                  <a:lnTo>
                    <a:pt x="18135" y="21600"/>
                  </a:lnTo>
                  <a:cubicBezTo>
                    <a:pt x="20044" y="21600"/>
                    <a:pt x="21600" y="16752"/>
                    <a:pt x="21600" y="10800"/>
                  </a:cubicBezTo>
                  <a:cubicBezTo>
                    <a:pt x="21600" y="4848"/>
                    <a:pt x="20044" y="0"/>
                    <a:pt x="18135" y="0"/>
                  </a:cubicBezTo>
                  <a:close/>
                </a:path>
              </a:pathLst>
            </a:custGeom>
            <a:solidFill>
              <a:schemeClr val="accent3"/>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10" name="Shape">
              <a:extLst>
                <a:ext uri="{FF2B5EF4-FFF2-40B4-BE49-F238E27FC236}">
                  <a16:creationId xmlns:a16="http://schemas.microsoft.com/office/drawing/2014/main" id="{575B29A8-7AB1-11D0-F27A-021B7B53A3A9}"/>
                </a:ext>
              </a:extLst>
            </p:cNvPr>
            <p:cNvSpPr/>
            <p:nvPr/>
          </p:nvSpPr>
          <p:spPr>
            <a:xfrm>
              <a:off x="6014071" y="4480940"/>
              <a:ext cx="1970872" cy="704528"/>
            </a:xfrm>
            <a:custGeom>
              <a:avLst/>
              <a:gdLst/>
              <a:ahLst/>
              <a:cxnLst>
                <a:cxn ang="0">
                  <a:pos x="wd2" y="hd2"/>
                </a:cxn>
                <a:cxn ang="5400000">
                  <a:pos x="wd2" y="hd2"/>
                </a:cxn>
                <a:cxn ang="10800000">
                  <a:pos x="wd2" y="hd2"/>
                </a:cxn>
                <a:cxn ang="16200000">
                  <a:pos x="wd2" y="hd2"/>
                </a:cxn>
              </a:cxnLst>
              <a:rect l="0" t="0" r="r" b="b"/>
              <a:pathLst>
                <a:path w="21600" h="21600" extrusionOk="0">
                  <a:moveTo>
                    <a:pt x="17739" y="0"/>
                  </a:moveTo>
                  <a:lnTo>
                    <a:pt x="3861" y="0"/>
                  </a:lnTo>
                  <a:cubicBezTo>
                    <a:pt x="1733" y="0"/>
                    <a:pt x="0" y="4848"/>
                    <a:pt x="0" y="10800"/>
                  </a:cubicBezTo>
                  <a:cubicBezTo>
                    <a:pt x="0" y="16752"/>
                    <a:pt x="1733" y="21600"/>
                    <a:pt x="3861" y="21600"/>
                  </a:cubicBezTo>
                  <a:lnTo>
                    <a:pt x="17739" y="21600"/>
                  </a:lnTo>
                  <a:cubicBezTo>
                    <a:pt x="19867" y="21600"/>
                    <a:pt x="21600" y="16752"/>
                    <a:pt x="21600" y="10800"/>
                  </a:cubicBezTo>
                  <a:cubicBezTo>
                    <a:pt x="21600" y="4848"/>
                    <a:pt x="19867" y="0"/>
                    <a:pt x="17739" y="0"/>
                  </a:cubicBezTo>
                  <a:close/>
                </a:path>
              </a:pathLst>
            </a:custGeom>
            <a:solidFill>
              <a:schemeClr val="accent6"/>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11" name="Shape">
              <a:extLst>
                <a:ext uri="{FF2B5EF4-FFF2-40B4-BE49-F238E27FC236}">
                  <a16:creationId xmlns:a16="http://schemas.microsoft.com/office/drawing/2014/main" id="{3FB3B283-488E-4CC3-E3EF-901FD21E05C0}"/>
                </a:ext>
              </a:extLst>
            </p:cNvPr>
            <p:cNvSpPr/>
            <p:nvPr/>
          </p:nvSpPr>
          <p:spPr>
            <a:xfrm>
              <a:off x="6091208" y="5180122"/>
              <a:ext cx="1600611" cy="588816"/>
            </a:xfrm>
            <a:custGeom>
              <a:avLst/>
              <a:gdLst/>
              <a:ahLst/>
              <a:cxnLst>
                <a:cxn ang="0">
                  <a:pos x="wd2" y="hd2"/>
                </a:cxn>
                <a:cxn ang="5400000">
                  <a:pos x="wd2" y="hd2"/>
                </a:cxn>
                <a:cxn ang="10800000">
                  <a:pos x="wd2" y="hd2"/>
                </a:cxn>
                <a:cxn ang="16200000">
                  <a:pos x="wd2" y="hd2"/>
                </a:cxn>
              </a:cxnLst>
              <a:rect l="0" t="0" r="r" b="b"/>
              <a:pathLst>
                <a:path w="21600" h="21600" extrusionOk="0">
                  <a:moveTo>
                    <a:pt x="17627" y="0"/>
                  </a:moveTo>
                  <a:lnTo>
                    <a:pt x="3973" y="0"/>
                  </a:lnTo>
                  <a:cubicBezTo>
                    <a:pt x="1787" y="0"/>
                    <a:pt x="0" y="4810"/>
                    <a:pt x="0" y="10800"/>
                  </a:cubicBezTo>
                  <a:cubicBezTo>
                    <a:pt x="0" y="16790"/>
                    <a:pt x="1770" y="21600"/>
                    <a:pt x="3973" y="21600"/>
                  </a:cubicBezTo>
                  <a:lnTo>
                    <a:pt x="17627" y="21600"/>
                  </a:lnTo>
                  <a:cubicBezTo>
                    <a:pt x="19813" y="21600"/>
                    <a:pt x="21600" y="16790"/>
                    <a:pt x="21600" y="10800"/>
                  </a:cubicBezTo>
                  <a:cubicBezTo>
                    <a:pt x="21600" y="4810"/>
                    <a:pt x="19813" y="0"/>
                    <a:pt x="17627" y="0"/>
                  </a:cubicBezTo>
                  <a:close/>
                </a:path>
              </a:pathLst>
            </a:custGeom>
            <a:solidFill>
              <a:schemeClr val="accent4"/>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pic>
          <p:nvPicPr>
            <p:cNvPr id="12" name="Graphic 10" descr="Cycle with people with solid fill">
              <a:extLst>
                <a:ext uri="{FF2B5EF4-FFF2-40B4-BE49-F238E27FC236}">
                  <a16:creationId xmlns:a16="http://schemas.microsoft.com/office/drawing/2014/main" id="{FD4A1F7A-B437-8F2D-D09E-BEA56CF3D87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92275" y="4579231"/>
              <a:ext cx="496046" cy="496046"/>
            </a:xfrm>
            <a:prstGeom prst="rect">
              <a:avLst/>
            </a:prstGeom>
            <a:effectLst>
              <a:outerShdw blurRad="50800" dist="38100" dir="2700000" algn="tl" rotWithShape="0">
                <a:prstClr val="black">
                  <a:alpha val="40000"/>
                </a:prstClr>
              </a:outerShdw>
            </a:effectLst>
          </p:spPr>
        </p:pic>
        <p:pic>
          <p:nvPicPr>
            <p:cNvPr id="13" name="Graphic 11" descr="Hierarchy with solid fill">
              <a:extLst>
                <a:ext uri="{FF2B5EF4-FFF2-40B4-BE49-F238E27FC236}">
                  <a16:creationId xmlns:a16="http://schemas.microsoft.com/office/drawing/2014/main" id="{38FC49D3-86ED-61CD-8756-A9587BEB5FC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488897" y="3186819"/>
              <a:ext cx="496046" cy="496046"/>
            </a:xfrm>
            <a:prstGeom prst="rect">
              <a:avLst/>
            </a:prstGeom>
            <a:effectLst>
              <a:outerShdw blurRad="50800" dist="38100" dir="2700000" algn="tl" rotWithShape="0">
                <a:prstClr val="black">
                  <a:alpha val="40000"/>
                </a:prstClr>
              </a:outerShdw>
            </a:effectLst>
          </p:spPr>
        </p:pic>
        <p:pic>
          <p:nvPicPr>
            <p:cNvPr id="15" name="Graphic 14" descr="Pocket knife with solid fill">
              <a:extLst>
                <a:ext uri="{FF2B5EF4-FFF2-40B4-BE49-F238E27FC236}">
                  <a16:creationId xmlns:a16="http://schemas.microsoft.com/office/drawing/2014/main" id="{BC734B5C-102C-EA9A-AC87-531C8033C8A6}"/>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7640298" y="3883025"/>
              <a:ext cx="496046" cy="496046"/>
            </a:xfrm>
            <a:prstGeom prst="rect">
              <a:avLst/>
            </a:prstGeom>
            <a:effectLst>
              <a:outerShdw blurRad="50800" dist="38100" dir="2700000" algn="tl" rotWithShape="0">
                <a:prstClr val="black">
                  <a:alpha val="40000"/>
                </a:prstClr>
              </a:outerShdw>
            </a:effectLst>
          </p:spPr>
        </p:pic>
        <p:pic>
          <p:nvPicPr>
            <p:cNvPr id="16" name="Graphic 15" descr="Stopwatch 75% with solid fill">
              <a:extLst>
                <a:ext uri="{FF2B5EF4-FFF2-40B4-BE49-F238E27FC236}">
                  <a16:creationId xmlns:a16="http://schemas.microsoft.com/office/drawing/2014/main" id="{483FE0B4-F11F-6DFF-8DA9-0F236649CB1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86109" y="5226507"/>
              <a:ext cx="496046" cy="496046"/>
            </a:xfrm>
            <a:prstGeom prst="rect">
              <a:avLst/>
            </a:prstGeom>
            <a:effectLst>
              <a:outerShdw blurRad="50800" dist="38100" dir="2700000" algn="tl" rotWithShape="0">
                <a:prstClr val="black">
                  <a:alpha val="40000"/>
                </a:prstClr>
              </a:outerShdw>
            </a:effectLst>
          </p:spPr>
        </p:pic>
        <p:sp>
          <p:nvSpPr>
            <p:cNvPr id="17" name="TextBox 24">
              <a:extLst>
                <a:ext uri="{FF2B5EF4-FFF2-40B4-BE49-F238E27FC236}">
                  <a16:creationId xmlns:a16="http://schemas.microsoft.com/office/drawing/2014/main" id="{13F0BCBC-2E9D-35AF-AFD3-7F57ECB660BB}"/>
                </a:ext>
              </a:extLst>
            </p:cNvPr>
            <p:cNvSpPr txBox="1"/>
            <p:nvPr/>
          </p:nvSpPr>
          <p:spPr>
            <a:xfrm>
              <a:off x="6157389" y="3173232"/>
              <a:ext cx="550151" cy="523220"/>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b="1" dirty="0"/>
                <a:t>01</a:t>
              </a:r>
            </a:p>
          </p:txBody>
        </p:sp>
        <p:sp>
          <p:nvSpPr>
            <p:cNvPr id="18" name="TextBox 25">
              <a:extLst>
                <a:ext uri="{FF2B5EF4-FFF2-40B4-BE49-F238E27FC236}">
                  <a16:creationId xmlns:a16="http://schemas.microsoft.com/office/drawing/2014/main" id="{2C17BAA7-33F4-21A9-FEFA-5124866A4C8A}"/>
                </a:ext>
              </a:extLst>
            </p:cNvPr>
            <p:cNvSpPr txBox="1"/>
            <p:nvPr/>
          </p:nvSpPr>
          <p:spPr>
            <a:xfrm>
              <a:off x="6157389" y="3869438"/>
              <a:ext cx="550151" cy="523220"/>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b="1" dirty="0"/>
                <a:t>02</a:t>
              </a:r>
            </a:p>
          </p:txBody>
        </p:sp>
        <p:sp>
          <p:nvSpPr>
            <p:cNvPr id="19" name="TextBox 26">
              <a:extLst>
                <a:ext uri="{FF2B5EF4-FFF2-40B4-BE49-F238E27FC236}">
                  <a16:creationId xmlns:a16="http://schemas.microsoft.com/office/drawing/2014/main" id="{D22A9162-146C-E972-5742-622A4BE96BA5}"/>
                </a:ext>
              </a:extLst>
            </p:cNvPr>
            <p:cNvSpPr txBox="1"/>
            <p:nvPr/>
          </p:nvSpPr>
          <p:spPr>
            <a:xfrm>
              <a:off x="6157389" y="4565644"/>
              <a:ext cx="550151" cy="523220"/>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b="1" dirty="0"/>
                <a:t>03</a:t>
              </a:r>
            </a:p>
          </p:txBody>
        </p:sp>
        <p:sp>
          <p:nvSpPr>
            <p:cNvPr id="20" name="TextBox 27">
              <a:extLst>
                <a:ext uri="{FF2B5EF4-FFF2-40B4-BE49-F238E27FC236}">
                  <a16:creationId xmlns:a16="http://schemas.microsoft.com/office/drawing/2014/main" id="{08DE21A1-3D7D-2DBC-4B72-2C76611D02B6}"/>
                </a:ext>
              </a:extLst>
            </p:cNvPr>
            <p:cNvSpPr txBox="1"/>
            <p:nvPr/>
          </p:nvSpPr>
          <p:spPr>
            <a:xfrm>
              <a:off x="6157389" y="5212920"/>
              <a:ext cx="550151" cy="523220"/>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b="1" dirty="0"/>
                <a:t>04</a:t>
              </a:r>
            </a:p>
          </p:txBody>
        </p:sp>
      </p:grpSp>
      <p:grpSp>
        <p:nvGrpSpPr>
          <p:cNvPr id="21" name="Group 20">
            <a:extLst>
              <a:ext uri="{FF2B5EF4-FFF2-40B4-BE49-F238E27FC236}">
                <a16:creationId xmlns:a16="http://schemas.microsoft.com/office/drawing/2014/main" id="{AD95A150-3394-6AE7-6DA4-26B911A51493}"/>
              </a:ext>
            </a:extLst>
          </p:cNvPr>
          <p:cNvGrpSpPr/>
          <p:nvPr/>
        </p:nvGrpSpPr>
        <p:grpSpPr>
          <a:xfrm>
            <a:off x="4148037" y="1781057"/>
            <a:ext cx="2926080" cy="1659485"/>
            <a:chOff x="8921977" y="1097393"/>
            <a:chExt cx="2926080" cy="1659485"/>
          </a:xfrm>
        </p:grpSpPr>
        <p:sp>
          <p:nvSpPr>
            <p:cNvPr id="22" name="TextBox 21">
              <a:extLst>
                <a:ext uri="{FF2B5EF4-FFF2-40B4-BE49-F238E27FC236}">
                  <a16:creationId xmlns:a16="http://schemas.microsoft.com/office/drawing/2014/main" id="{F8C51241-CD7F-07C1-9671-C71EF48ECB59}"/>
                </a:ext>
              </a:extLst>
            </p:cNvPr>
            <p:cNvSpPr txBox="1"/>
            <p:nvPr/>
          </p:nvSpPr>
          <p:spPr>
            <a:xfrm>
              <a:off x="8921977" y="1097393"/>
              <a:ext cx="2926080" cy="830997"/>
            </a:xfrm>
            <a:prstGeom prst="rect">
              <a:avLst/>
            </a:prstGeom>
            <a:noFill/>
          </p:spPr>
          <p:txBody>
            <a:bodyPr wrap="square" lIns="0" rIns="0" rtlCol="0" anchor="b">
              <a:spAutoFit/>
            </a:bodyPr>
            <a:lstStyle/>
            <a:p>
              <a:r>
                <a:rPr lang="en-US" sz="2400" b="1" noProof="1">
                  <a:solidFill>
                    <a:schemeClr val="accent2">
                      <a:lumMod val="75000"/>
                    </a:schemeClr>
                  </a:solidFill>
                </a:rPr>
                <a:t>1. Breaking Down Complex Goals</a:t>
              </a:r>
            </a:p>
          </p:txBody>
        </p:sp>
        <p:sp>
          <p:nvSpPr>
            <p:cNvPr id="23" name="TextBox 22">
              <a:extLst>
                <a:ext uri="{FF2B5EF4-FFF2-40B4-BE49-F238E27FC236}">
                  <a16:creationId xmlns:a16="http://schemas.microsoft.com/office/drawing/2014/main" id="{EA29D471-631A-CCC2-3722-DF67CFA410BB}"/>
                </a:ext>
              </a:extLst>
            </p:cNvPr>
            <p:cNvSpPr txBox="1"/>
            <p:nvPr/>
          </p:nvSpPr>
          <p:spPr>
            <a:xfrm>
              <a:off x="8921977" y="1925881"/>
              <a:ext cx="2926080" cy="830997"/>
            </a:xfrm>
            <a:prstGeom prst="rect">
              <a:avLst/>
            </a:prstGeom>
            <a:noFill/>
          </p:spPr>
          <p:txBody>
            <a:bodyPr wrap="square" lIns="0" rIns="0" rtlCol="0" anchor="t">
              <a:spAutoFit/>
            </a:bodyPr>
            <a:lstStyle/>
            <a:p>
              <a:pPr algn="just"/>
              <a:r>
                <a:rPr lang="en-US" sz="1200" noProof="1">
                  <a:solidFill>
                    <a:schemeClr val="tx1">
                      <a:lumMod val="65000"/>
                      <a:lumOff val="35000"/>
                    </a:schemeClr>
                  </a:solidFill>
                </a:rPr>
                <a:t>Agents thrive at breakig down complex tasks. Humans plan dynamically and adjust intuitively, AI agents however must explicitly map out every step in advance.</a:t>
              </a:r>
            </a:p>
          </p:txBody>
        </p:sp>
      </p:grpSp>
      <p:grpSp>
        <p:nvGrpSpPr>
          <p:cNvPr id="24" name="Group 23">
            <a:extLst>
              <a:ext uri="{FF2B5EF4-FFF2-40B4-BE49-F238E27FC236}">
                <a16:creationId xmlns:a16="http://schemas.microsoft.com/office/drawing/2014/main" id="{63679A4A-9A0B-C55C-632B-26591F7F8DEE}"/>
              </a:ext>
            </a:extLst>
          </p:cNvPr>
          <p:cNvGrpSpPr/>
          <p:nvPr/>
        </p:nvGrpSpPr>
        <p:grpSpPr>
          <a:xfrm>
            <a:off x="7852883" y="1806013"/>
            <a:ext cx="3959538" cy="1659485"/>
            <a:chOff x="8921977" y="1097393"/>
            <a:chExt cx="2926080" cy="1659485"/>
          </a:xfrm>
        </p:grpSpPr>
        <p:sp>
          <p:nvSpPr>
            <p:cNvPr id="25" name="TextBox 24">
              <a:extLst>
                <a:ext uri="{FF2B5EF4-FFF2-40B4-BE49-F238E27FC236}">
                  <a16:creationId xmlns:a16="http://schemas.microsoft.com/office/drawing/2014/main" id="{E909C662-EB4F-27E0-B4AC-26FB4C6BA085}"/>
                </a:ext>
              </a:extLst>
            </p:cNvPr>
            <p:cNvSpPr txBox="1"/>
            <p:nvPr/>
          </p:nvSpPr>
          <p:spPr>
            <a:xfrm>
              <a:off x="8921977" y="1097393"/>
              <a:ext cx="2926080" cy="830997"/>
            </a:xfrm>
            <a:prstGeom prst="rect">
              <a:avLst/>
            </a:prstGeom>
            <a:noFill/>
          </p:spPr>
          <p:txBody>
            <a:bodyPr wrap="square" lIns="0" rIns="0" rtlCol="0" anchor="b">
              <a:spAutoFit/>
            </a:bodyPr>
            <a:lstStyle/>
            <a:p>
              <a:r>
                <a:rPr lang="en-US" sz="2400" b="1" noProof="1">
                  <a:solidFill>
                    <a:schemeClr val="accent3">
                      <a:lumMod val="75000"/>
                    </a:schemeClr>
                  </a:solidFill>
                </a:rPr>
                <a:t>2. AI Agents Select Tools Based On Capabilities</a:t>
              </a:r>
            </a:p>
          </p:txBody>
        </p:sp>
        <p:sp>
          <p:nvSpPr>
            <p:cNvPr id="26" name="TextBox 25">
              <a:extLst>
                <a:ext uri="{FF2B5EF4-FFF2-40B4-BE49-F238E27FC236}">
                  <a16:creationId xmlns:a16="http://schemas.microsoft.com/office/drawing/2014/main" id="{BA82566A-32E2-3159-483C-F253046D939A}"/>
                </a:ext>
              </a:extLst>
            </p:cNvPr>
            <p:cNvSpPr txBox="1"/>
            <p:nvPr/>
          </p:nvSpPr>
          <p:spPr>
            <a:xfrm>
              <a:off x="8921977" y="1925881"/>
              <a:ext cx="2926080" cy="830997"/>
            </a:xfrm>
            <a:prstGeom prst="rect">
              <a:avLst/>
            </a:prstGeom>
            <a:noFill/>
          </p:spPr>
          <p:txBody>
            <a:bodyPr wrap="square" lIns="0" rIns="0" rtlCol="0" anchor="t">
              <a:spAutoFit/>
            </a:bodyPr>
            <a:lstStyle/>
            <a:p>
              <a:pPr algn="just"/>
              <a:r>
                <a:rPr lang="en-US" sz="1200" noProof="1">
                  <a:solidFill>
                    <a:schemeClr val="tx1">
                      <a:lumMod val="65000"/>
                      <a:lumOff val="35000"/>
                    </a:schemeClr>
                  </a:solidFill>
                </a:rPr>
                <a:t>While humans can infer the ways tools should be used, current AI agents require more rigid tool descriptions including how to call them.</a:t>
              </a:r>
            </a:p>
          </p:txBody>
        </p:sp>
      </p:grpSp>
      <p:grpSp>
        <p:nvGrpSpPr>
          <p:cNvPr id="27" name="Group 26">
            <a:extLst>
              <a:ext uri="{FF2B5EF4-FFF2-40B4-BE49-F238E27FC236}">
                <a16:creationId xmlns:a16="http://schemas.microsoft.com/office/drawing/2014/main" id="{E3ACA10F-0B10-5C52-7BA8-DD290CF3F171}"/>
              </a:ext>
            </a:extLst>
          </p:cNvPr>
          <p:cNvGrpSpPr/>
          <p:nvPr/>
        </p:nvGrpSpPr>
        <p:grpSpPr>
          <a:xfrm>
            <a:off x="5484765" y="3584125"/>
            <a:ext cx="3131997" cy="1844151"/>
            <a:chOff x="8921977" y="1466725"/>
            <a:chExt cx="2926080" cy="1844151"/>
          </a:xfrm>
        </p:grpSpPr>
        <p:sp>
          <p:nvSpPr>
            <p:cNvPr id="28" name="TextBox 27">
              <a:extLst>
                <a:ext uri="{FF2B5EF4-FFF2-40B4-BE49-F238E27FC236}">
                  <a16:creationId xmlns:a16="http://schemas.microsoft.com/office/drawing/2014/main" id="{91A748A0-8DB5-25F4-CC4F-50D9AE2D103D}"/>
                </a:ext>
              </a:extLst>
            </p:cNvPr>
            <p:cNvSpPr txBox="1"/>
            <p:nvPr/>
          </p:nvSpPr>
          <p:spPr>
            <a:xfrm>
              <a:off x="8921977" y="1466725"/>
              <a:ext cx="2926080" cy="461665"/>
            </a:xfrm>
            <a:prstGeom prst="rect">
              <a:avLst/>
            </a:prstGeom>
            <a:noFill/>
          </p:spPr>
          <p:txBody>
            <a:bodyPr wrap="square" lIns="0" rIns="0" rtlCol="0" anchor="b">
              <a:spAutoFit/>
            </a:bodyPr>
            <a:lstStyle/>
            <a:p>
              <a:r>
                <a:rPr lang="en-US" sz="2400" b="1" noProof="1">
                  <a:solidFill>
                    <a:schemeClr val="accent6">
                      <a:lumMod val="75000"/>
                    </a:schemeClr>
                  </a:solidFill>
                </a:rPr>
                <a:t>3. Dependencies</a:t>
              </a:r>
            </a:p>
          </p:txBody>
        </p:sp>
        <p:sp>
          <p:nvSpPr>
            <p:cNvPr id="29" name="TextBox 28">
              <a:extLst>
                <a:ext uri="{FF2B5EF4-FFF2-40B4-BE49-F238E27FC236}">
                  <a16:creationId xmlns:a16="http://schemas.microsoft.com/office/drawing/2014/main" id="{900DD160-05A4-C0D1-0B5B-33AF166AA603}"/>
                </a:ext>
              </a:extLst>
            </p:cNvPr>
            <p:cNvSpPr txBox="1"/>
            <p:nvPr/>
          </p:nvSpPr>
          <p:spPr>
            <a:xfrm>
              <a:off x="8921977" y="1925881"/>
              <a:ext cx="2926080" cy="1384995"/>
            </a:xfrm>
            <a:prstGeom prst="rect">
              <a:avLst/>
            </a:prstGeom>
            <a:noFill/>
          </p:spPr>
          <p:txBody>
            <a:bodyPr wrap="square" lIns="0" rIns="0" rtlCol="0" anchor="t">
              <a:spAutoFit/>
            </a:bodyPr>
            <a:lstStyle/>
            <a:p>
              <a:pPr algn="just"/>
              <a:r>
                <a:rPr lang="en-US" sz="1200" noProof="1">
                  <a:solidFill>
                    <a:schemeClr val="tx1">
                      <a:lumMod val="65000"/>
                      <a:lumOff val="35000"/>
                    </a:schemeClr>
                  </a:solidFill>
                </a:rPr>
                <a:t>Agents are great at understanding what steps require logical sequencing. Providing strict instructions in the prompt is vital! This shifts us from Level 2 to Level 3 automation. Unfortunately the agents cannot find novel use for their tools (Level 4).</a:t>
              </a:r>
            </a:p>
          </p:txBody>
        </p:sp>
      </p:grpSp>
      <p:grpSp>
        <p:nvGrpSpPr>
          <p:cNvPr id="30" name="Group 29">
            <a:extLst>
              <a:ext uri="{FF2B5EF4-FFF2-40B4-BE49-F238E27FC236}">
                <a16:creationId xmlns:a16="http://schemas.microsoft.com/office/drawing/2014/main" id="{D18675AE-FF10-41E2-C923-61580491C57E}"/>
              </a:ext>
            </a:extLst>
          </p:cNvPr>
          <p:cNvGrpSpPr/>
          <p:nvPr/>
        </p:nvGrpSpPr>
        <p:grpSpPr>
          <a:xfrm>
            <a:off x="5356202" y="4886981"/>
            <a:ext cx="3216355" cy="1844151"/>
            <a:chOff x="8921977" y="1097393"/>
            <a:chExt cx="2926080" cy="1844151"/>
          </a:xfrm>
        </p:grpSpPr>
        <p:sp>
          <p:nvSpPr>
            <p:cNvPr id="31" name="TextBox 30">
              <a:extLst>
                <a:ext uri="{FF2B5EF4-FFF2-40B4-BE49-F238E27FC236}">
                  <a16:creationId xmlns:a16="http://schemas.microsoft.com/office/drawing/2014/main" id="{38B44C92-8884-1F34-6D07-D1943B489480}"/>
                </a:ext>
              </a:extLst>
            </p:cNvPr>
            <p:cNvSpPr txBox="1"/>
            <p:nvPr/>
          </p:nvSpPr>
          <p:spPr>
            <a:xfrm>
              <a:off x="8921977" y="1097393"/>
              <a:ext cx="2926080" cy="830997"/>
            </a:xfrm>
            <a:prstGeom prst="rect">
              <a:avLst/>
            </a:prstGeom>
            <a:noFill/>
          </p:spPr>
          <p:txBody>
            <a:bodyPr wrap="square" lIns="0" rIns="0" rtlCol="0" anchor="b">
              <a:spAutoFit/>
            </a:bodyPr>
            <a:lstStyle/>
            <a:p>
              <a:r>
                <a:rPr lang="en-US" sz="2400" b="1" noProof="1">
                  <a:solidFill>
                    <a:schemeClr val="accent4">
                      <a:lumMod val="50000"/>
                    </a:schemeClr>
                  </a:solidFill>
                </a:rPr>
                <a:t>4. Ability to Prioritize</a:t>
              </a:r>
            </a:p>
          </p:txBody>
        </p:sp>
        <p:sp>
          <p:nvSpPr>
            <p:cNvPr id="32" name="TextBox 31">
              <a:extLst>
                <a:ext uri="{FF2B5EF4-FFF2-40B4-BE49-F238E27FC236}">
                  <a16:creationId xmlns:a16="http://schemas.microsoft.com/office/drawing/2014/main" id="{CA6E8919-C75D-30DF-E57F-4C74AD63BBD8}"/>
                </a:ext>
              </a:extLst>
            </p:cNvPr>
            <p:cNvSpPr txBox="1"/>
            <p:nvPr/>
          </p:nvSpPr>
          <p:spPr>
            <a:xfrm>
              <a:off x="8921977" y="1925881"/>
              <a:ext cx="2926080" cy="1015663"/>
            </a:xfrm>
            <a:prstGeom prst="rect">
              <a:avLst/>
            </a:prstGeom>
            <a:noFill/>
          </p:spPr>
          <p:txBody>
            <a:bodyPr wrap="square" lIns="0" rIns="0" rtlCol="0" anchor="t">
              <a:spAutoFit/>
            </a:bodyPr>
            <a:lstStyle/>
            <a:p>
              <a:pPr algn="just"/>
              <a:r>
                <a:rPr lang="en-US" sz="1200" noProof="1">
                  <a:solidFill>
                    <a:schemeClr val="tx1">
                      <a:lumMod val="65000"/>
                      <a:lumOff val="35000"/>
                    </a:schemeClr>
                  </a:solidFill>
                </a:rPr>
                <a:t>The agent can recognize the goal and produce a concise series of steps to meet the requirement. By concentrating on priorities, the AI agent avoids being sidetracked by less esstential details.</a:t>
              </a:r>
            </a:p>
          </p:txBody>
        </p:sp>
      </p:grpSp>
      <p:sp>
        <p:nvSpPr>
          <p:cNvPr id="38" name="Rounded Rectangle 37">
            <a:extLst>
              <a:ext uri="{FF2B5EF4-FFF2-40B4-BE49-F238E27FC236}">
                <a16:creationId xmlns:a16="http://schemas.microsoft.com/office/drawing/2014/main" id="{41555399-97AA-2E8B-CAE1-69164D8C2B21}"/>
              </a:ext>
            </a:extLst>
          </p:cNvPr>
          <p:cNvSpPr/>
          <p:nvPr/>
        </p:nvSpPr>
        <p:spPr>
          <a:xfrm>
            <a:off x="9372399" y="3948337"/>
            <a:ext cx="2606544" cy="174528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s agent builders we must be clear defining goals and constrains when implementing AI Agents.</a:t>
            </a:r>
          </a:p>
          <a:p>
            <a:pPr algn="ctr"/>
            <a:endParaRPr lang="en-US" dirty="0"/>
          </a:p>
        </p:txBody>
      </p:sp>
      <p:pic>
        <p:nvPicPr>
          <p:cNvPr id="40" name="Graphic 39" descr="Star with solid fill">
            <a:extLst>
              <a:ext uri="{FF2B5EF4-FFF2-40B4-BE49-F238E27FC236}">
                <a16:creationId xmlns:a16="http://schemas.microsoft.com/office/drawing/2014/main" id="{6590A469-00AB-B831-5F51-060F1548D8C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83445" y="3449909"/>
            <a:ext cx="914400" cy="914400"/>
          </a:xfrm>
          <a:prstGeom prst="rect">
            <a:avLst/>
          </a:prstGeom>
        </p:spPr>
      </p:pic>
    </p:spTree>
    <p:extLst>
      <p:ext uri="{BB962C8B-B14F-4D97-AF65-F5344CB8AC3E}">
        <p14:creationId xmlns:p14="http://schemas.microsoft.com/office/powerpoint/2010/main" val="4306827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C25CF6-9A64-FEAA-9D83-A0522B087B04}"/>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661A742E-F245-880C-9A96-A99CD018A509}"/>
              </a:ext>
            </a:extLst>
          </p:cNvPr>
          <p:cNvPicPr>
            <a:picLocks noGrp="1" noChangeAspect="1"/>
          </p:cNvPicPr>
          <p:nvPr>
            <p:ph sz="quarter" idx="11"/>
          </p:nvPr>
        </p:nvPicPr>
        <p:blipFill>
          <a:blip r:embed="rId2">
            <a:alphaModFix amt="17000"/>
          </a:blip>
          <a:stretch>
            <a:fillRect/>
          </a:stretch>
        </p:blipFill>
        <p:spPr>
          <a:xfrm>
            <a:off x="82853" y="102231"/>
            <a:ext cx="12014489" cy="6650698"/>
          </a:xfrm>
        </p:spPr>
      </p:pic>
      <p:sp>
        <p:nvSpPr>
          <p:cNvPr id="2" name="Text Placeholder 1">
            <a:extLst>
              <a:ext uri="{FF2B5EF4-FFF2-40B4-BE49-F238E27FC236}">
                <a16:creationId xmlns:a16="http://schemas.microsoft.com/office/drawing/2014/main" id="{26167F54-996C-2324-3EF4-2314CAB0325D}"/>
              </a:ext>
            </a:extLst>
          </p:cNvPr>
          <p:cNvSpPr>
            <a:spLocks noGrp="1"/>
          </p:cNvSpPr>
          <p:nvPr>
            <p:ph type="body" sz="quarter" idx="10"/>
          </p:nvPr>
        </p:nvSpPr>
        <p:spPr>
          <a:xfrm>
            <a:off x="1234464" y="1743723"/>
            <a:ext cx="9711266" cy="3367714"/>
          </a:xfrm>
        </p:spPr>
        <p:txBody>
          <a:bodyPr anchor="ctr"/>
          <a:lstStyle/>
          <a:p>
            <a:pPr marL="0" indent="0">
              <a:buNone/>
            </a:pPr>
            <a:r>
              <a:rPr lang="en-US" sz="4800" b="1" dirty="0"/>
              <a:t>Tool Resilience</a:t>
            </a:r>
          </a:p>
        </p:txBody>
      </p:sp>
    </p:spTree>
    <p:extLst>
      <p:ext uri="{BB962C8B-B14F-4D97-AF65-F5344CB8AC3E}">
        <p14:creationId xmlns:p14="http://schemas.microsoft.com/office/powerpoint/2010/main" val="15783738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F95-3FB9-40BB-630E-9F3F5F98EE0C}"/>
              </a:ext>
            </a:extLst>
          </p:cNvPr>
          <p:cNvSpPr>
            <a:spLocks noGrp="1"/>
          </p:cNvSpPr>
          <p:nvPr>
            <p:ph type="title"/>
          </p:nvPr>
        </p:nvSpPr>
        <p:spPr/>
        <p:txBody>
          <a:bodyPr/>
          <a:lstStyle/>
          <a:p>
            <a:r>
              <a:rPr lang="en-US" dirty="0"/>
              <a:t>Adapting At Agent Level</a:t>
            </a:r>
          </a:p>
        </p:txBody>
      </p:sp>
      <p:sp>
        <p:nvSpPr>
          <p:cNvPr id="3" name="Text Placeholder 2">
            <a:extLst>
              <a:ext uri="{FF2B5EF4-FFF2-40B4-BE49-F238E27FC236}">
                <a16:creationId xmlns:a16="http://schemas.microsoft.com/office/drawing/2014/main" id="{A846FE15-DA10-17C0-8AF0-CB6F101A2B53}"/>
              </a:ext>
            </a:extLst>
          </p:cNvPr>
          <p:cNvSpPr>
            <a:spLocks noGrp="1"/>
          </p:cNvSpPr>
          <p:nvPr>
            <p:ph type="body" sz="quarter" idx="10"/>
          </p:nvPr>
        </p:nvSpPr>
        <p:spPr>
          <a:xfrm>
            <a:off x="298450" y="1073770"/>
            <a:ext cx="5797550" cy="4957763"/>
          </a:xfrm>
        </p:spPr>
        <p:txBody>
          <a:bodyPr/>
          <a:lstStyle/>
          <a:p>
            <a:r>
              <a:rPr lang="en-US" dirty="0"/>
              <a:t>AI Agents must navigate  complex scenarios. Lets add some spice!</a:t>
            </a:r>
            <a:br>
              <a:rPr lang="en-US" dirty="0"/>
            </a:br>
            <a:endParaRPr lang="en-US" dirty="0"/>
          </a:p>
          <a:p>
            <a:r>
              <a:rPr lang="en-US" dirty="0"/>
              <a:t>Test this prompt (see </a:t>
            </a:r>
            <a:r>
              <a:rPr lang="en-US" dirty="0" err="1"/>
              <a:t>prompt_complex.txt</a:t>
            </a:r>
            <a:r>
              <a:rPr lang="en-US" dirty="0"/>
              <a:t> for full prompt):</a:t>
            </a:r>
          </a:p>
          <a:p>
            <a:pPr marL="0" indent="0">
              <a:buNone/>
            </a:pPr>
            <a:endParaRPr lang="en-US" dirty="0"/>
          </a:p>
          <a:p>
            <a:r>
              <a:rPr lang="en-US" dirty="0"/>
              <a:t>Try exercise 6.</a:t>
            </a:r>
          </a:p>
        </p:txBody>
      </p:sp>
      <p:grpSp>
        <p:nvGrpSpPr>
          <p:cNvPr id="5" name="Group 4">
            <a:extLst>
              <a:ext uri="{FF2B5EF4-FFF2-40B4-BE49-F238E27FC236}">
                <a16:creationId xmlns:a16="http://schemas.microsoft.com/office/drawing/2014/main" id="{B9607A8C-4F55-E9D6-97E0-C1A6AF6C5D3B}"/>
              </a:ext>
            </a:extLst>
          </p:cNvPr>
          <p:cNvGrpSpPr/>
          <p:nvPr/>
        </p:nvGrpSpPr>
        <p:grpSpPr>
          <a:xfrm>
            <a:off x="7251829" y="728974"/>
            <a:ext cx="3125548" cy="5501705"/>
            <a:chOff x="841074" y="533491"/>
            <a:chExt cx="2689065" cy="5299364"/>
          </a:xfrm>
        </p:grpSpPr>
        <p:sp>
          <p:nvSpPr>
            <p:cNvPr id="6" name="Rectangle: Rounded Corners 14">
              <a:extLst>
                <a:ext uri="{FF2B5EF4-FFF2-40B4-BE49-F238E27FC236}">
                  <a16:creationId xmlns:a16="http://schemas.microsoft.com/office/drawing/2014/main" id="{927EE64F-6E41-527D-C7E1-E79B7067FC96}"/>
                </a:ext>
              </a:extLst>
            </p:cNvPr>
            <p:cNvSpPr/>
            <p:nvPr/>
          </p:nvSpPr>
          <p:spPr>
            <a:xfrm>
              <a:off x="951166" y="577133"/>
              <a:ext cx="2468880" cy="5212080"/>
            </a:xfrm>
            <a:prstGeom prst="roundRect">
              <a:avLst>
                <a:gd name="adj" fmla="val 13008"/>
              </a:avLst>
            </a:prstGeom>
            <a:solidFill>
              <a:schemeClr val="bg1"/>
            </a:solidFill>
            <a:ln>
              <a:noFill/>
            </a:ln>
            <a:effectLst>
              <a:outerShdw blurRad="444500" sx="102000" sy="102000" algn="ctr" rotWithShape="0">
                <a:prstClr val="black">
                  <a:alpha val="5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Shape 15">
              <a:extLst>
                <a:ext uri="{FF2B5EF4-FFF2-40B4-BE49-F238E27FC236}">
                  <a16:creationId xmlns:a16="http://schemas.microsoft.com/office/drawing/2014/main" id="{0B514BF4-BEB0-1345-4296-489B825972B2}"/>
                </a:ext>
              </a:extLst>
            </p:cNvPr>
            <p:cNvSpPr/>
            <p:nvPr/>
          </p:nvSpPr>
          <p:spPr>
            <a:xfrm>
              <a:off x="841074" y="533491"/>
              <a:ext cx="2689065" cy="5299364"/>
            </a:xfrm>
            <a:custGeom>
              <a:avLst/>
              <a:gdLst>
                <a:gd name="connsiteX0" fmla="*/ 936300 w 2689065"/>
                <a:gd name="connsiteY0" fmla="*/ 5084814 h 5299364"/>
                <a:gd name="connsiteX1" fmla="*/ 936300 w 2689065"/>
                <a:gd name="connsiteY1" fmla="*/ 5084815 h 5299364"/>
                <a:gd name="connsiteX2" fmla="*/ 936300 w 2689065"/>
                <a:gd name="connsiteY2" fmla="*/ 5084815 h 5299364"/>
                <a:gd name="connsiteX3" fmla="*/ 959160 w 2689065"/>
                <a:gd name="connsiteY3" fmla="*/ 5061955 h 5299364"/>
                <a:gd name="connsiteX4" fmla="*/ 1736731 w 2689065"/>
                <a:gd name="connsiteY4" fmla="*/ 5061955 h 5299364"/>
                <a:gd name="connsiteX5" fmla="*/ 1759591 w 2689065"/>
                <a:gd name="connsiteY5" fmla="*/ 5084815 h 5299364"/>
                <a:gd name="connsiteX6" fmla="*/ 1759590 w 2689065"/>
                <a:gd name="connsiteY6" fmla="*/ 5084815 h 5299364"/>
                <a:gd name="connsiteX7" fmla="*/ 1736730 w 2689065"/>
                <a:gd name="connsiteY7" fmla="*/ 5107675 h 5299364"/>
                <a:gd name="connsiteX8" fmla="*/ 959160 w 2689065"/>
                <a:gd name="connsiteY8" fmla="*/ 5107674 h 5299364"/>
                <a:gd name="connsiteX9" fmla="*/ 942996 w 2689065"/>
                <a:gd name="connsiteY9" fmla="*/ 5100979 h 5299364"/>
                <a:gd name="connsiteX10" fmla="*/ 936300 w 2689065"/>
                <a:gd name="connsiteY10" fmla="*/ 5084815 h 5299364"/>
                <a:gd name="connsiteX11" fmla="*/ 942996 w 2689065"/>
                <a:gd name="connsiteY11" fmla="*/ 5068651 h 5299364"/>
                <a:gd name="connsiteX12" fmla="*/ 959160 w 2689065"/>
                <a:gd name="connsiteY12" fmla="*/ 5061955 h 5299364"/>
                <a:gd name="connsiteX13" fmla="*/ 1099878 w 2689065"/>
                <a:gd name="connsiteY13" fmla="*/ 187223 h 5299364"/>
                <a:gd name="connsiteX14" fmla="*/ 1596012 w 2689065"/>
                <a:gd name="connsiteY14" fmla="*/ 187223 h 5299364"/>
                <a:gd name="connsiteX15" fmla="*/ 1701929 w 2689065"/>
                <a:gd name="connsiteY15" fmla="*/ 293140 h 5299364"/>
                <a:gd name="connsiteX16" fmla="*/ 1596012 w 2689065"/>
                <a:gd name="connsiteY16" fmla="*/ 399057 h 5299364"/>
                <a:gd name="connsiteX17" fmla="*/ 1099878 w 2689065"/>
                <a:gd name="connsiteY17" fmla="*/ 399057 h 5299364"/>
                <a:gd name="connsiteX18" fmla="*/ 993961 w 2689065"/>
                <a:gd name="connsiteY18" fmla="*/ 293140 h 5299364"/>
                <a:gd name="connsiteX19" fmla="*/ 1099878 w 2689065"/>
                <a:gd name="connsiteY19" fmla="*/ 187223 h 5299364"/>
                <a:gd name="connsiteX20" fmla="*/ 457207 w 2689065"/>
                <a:gd name="connsiteY20" fmla="*/ 91440 h 5299364"/>
                <a:gd name="connsiteX21" fmla="*/ 143985 w 2689065"/>
                <a:gd name="connsiteY21" fmla="*/ 404662 h 5299364"/>
                <a:gd name="connsiteX22" fmla="*/ 143985 w 2689065"/>
                <a:gd name="connsiteY22" fmla="*/ 4894702 h 5299364"/>
                <a:gd name="connsiteX23" fmla="*/ 457207 w 2689065"/>
                <a:gd name="connsiteY23" fmla="*/ 5207924 h 5299364"/>
                <a:gd name="connsiteX24" fmla="*/ 2238683 w 2689065"/>
                <a:gd name="connsiteY24" fmla="*/ 5207924 h 5299364"/>
                <a:gd name="connsiteX25" fmla="*/ 2551905 w 2689065"/>
                <a:gd name="connsiteY25" fmla="*/ 4894702 h 5299364"/>
                <a:gd name="connsiteX26" fmla="*/ 2551905 w 2689065"/>
                <a:gd name="connsiteY26" fmla="*/ 404662 h 5299364"/>
                <a:gd name="connsiteX27" fmla="*/ 2238683 w 2689065"/>
                <a:gd name="connsiteY27" fmla="*/ 91440 h 5299364"/>
                <a:gd name="connsiteX28" fmla="*/ 456632 w 2689065"/>
                <a:gd name="connsiteY28" fmla="*/ 0 h 5299364"/>
                <a:gd name="connsiteX29" fmla="*/ 2239258 w 2689065"/>
                <a:gd name="connsiteY29" fmla="*/ 0 h 5299364"/>
                <a:gd name="connsiteX30" fmla="*/ 2643345 w 2689065"/>
                <a:gd name="connsiteY30" fmla="*/ 404087 h 5299364"/>
                <a:gd name="connsiteX31" fmla="*/ 2643345 w 2689065"/>
                <a:gd name="connsiteY31" fmla="*/ 1743907 h 5299364"/>
                <a:gd name="connsiteX32" fmla="*/ 2662639 w 2689065"/>
                <a:gd name="connsiteY32" fmla="*/ 1743907 h 5299364"/>
                <a:gd name="connsiteX33" fmla="*/ 2689065 w 2689065"/>
                <a:gd name="connsiteY33" fmla="*/ 1770333 h 5299364"/>
                <a:gd name="connsiteX34" fmla="*/ 2689065 w 2689065"/>
                <a:gd name="connsiteY34" fmla="*/ 2299740 h 5299364"/>
                <a:gd name="connsiteX35" fmla="*/ 2662639 w 2689065"/>
                <a:gd name="connsiteY35" fmla="*/ 2326166 h 5299364"/>
                <a:gd name="connsiteX36" fmla="*/ 2643345 w 2689065"/>
                <a:gd name="connsiteY36" fmla="*/ 2326166 h 5299364"/>
                <a:gd name="connsiteX37" fmla="*/ 2643345 w 2689065"/>
                <a:gd name="connsiteY37" fmla="*/ 4895277 h 5299364"/>
                <a:gd name="connsiteX38" fmla="*/ 2239258 w 2689065"/>
                <a:gd name="connsiteY38" fmla="*/ 5299364 h 5299364"/>
                <a:gd name="connsiteX39" fmla="*/ 456632 w 2689065"/>
                <a:gd name="connsiteY39" fmla="*/ 5299364 h 5299364"/>
                <a:gd name="connsiteX40" fmla="*/ 52545 w 2689065"/>
                <a:gd name="connsiteY40" fmla="*/ 4895277 h 5299364"/>
                <a:gd name="connsiteX41" fmla="*/ 52545 w 2689065"/>
                <a:gd name="connsiteY41" fmla="*/ 2360671 h 5299364"/>
                <a:gd name="connsiteX42" fmla="*/ 25447 w 2689065"/>
                <a:gd name="connsiteY42" fmla="*/ 2360671 h 5299364"/>
                <a:gd name="connsiteX43" fmla="*/ 1 w 2689065"/>
                <a:gd name="connsiteY43" fmla="*/ 2335225 h 5299364"/>
                <a:gd name="connsiteX44" fmla="*/ 1 w 2689065"/>
                <a:gd name="connsiteY44" fmla="*/ 1463090 h 5299364"/>
                <a:gd name="connsiteX45" fmla="*/ 25447 w 2689065"/>
                <a:gd name="connsiteY45" fmla="*/ 1437644 h 5299364"/>
                <a:gd name="connsiteX46" fmla="*/ 52545 w 2689065"/>
                <a:gd name="connsiteY46" fmla="*/ 1437644 h 5299364"/>
                <a:gd name="connsiteX47" fmla="*/ 52545 w 2689065"/>
                <a:gd name="connsiteY47" fmla="*/ 1282409 h 5299364"/>
                <a:gd name="connsiteX48" fmla="*/ 23290 w 2689065"/>
                <a:gd name="connsiteY48" fmla="*/ 1282409 h 5299364"/>
                <a:gd name="connsiteX49" fmla="*/ 0 w 2689065"/>
                <a:gd name="connsiteY49" fmla="*/ 1259119 h 5299364"/>
                <a:gd name="connsiteX50" fmla="*/ 0 w 2689065"/>
                <a:gd name="connsiteY50" fmla="*/ 1081373 h 5299364"/>
                <a:gd name="connsiteX51" fmla="*/ 23290 w 2689065"/>
                <a:gd name="connsiteY51" fmla="*/ 1058083 h 5299364"/>
                <a:gd name="connsiteX52" fmla="*/ 52545 w 2689065"/>
                <a:gd name="connsiteY52" fmla="*/ 1058083 h 5299364"/>
                <a:gd name="connsiteX53" fmla="*/ 52545 w 2689065"/>
                <a:gd name="connsiteY53" fmla="*/ 404087 h 5299364"/>
                <a:gd name="connsiteX54" fmla="*/ 456632 w 2689065"/>
                <a:gd name="connsiteY54" fmla="*/ 0 h 5299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689065" h="5299364">
                  <a:moveTo>
                    <a:pt x="936300" y="5084814"/>
                  </a:moveTo>
                  <a:lnTo>
                    <a:pt x="936300" y="5084815"/>
                  </a:lnTo>
                  <a:lnTo>
                    <a:pt x="936300" y="5084815"/>
                  </a:lnTo>
                  <a:close/>
                  <a:moveTo>
                    <a:pt x="959160" y="5061955"/>
                  </a:moveTo>
                  <a:lnTo>
                    <a:pt x="1736731" y="5061955"/>
                  </a:lnTo>
                  <a:cubicBezTo>
                    <a:pt x="1749356" y="5061955"/>
                    <a:pt x="1759591" y="5072190"/>
                    <a:pt x="1759591" y="5084815"/>
                  </a:cubicBezTo>
                  <a:lnTo>
                    <a:pt x="1759590" y="5084815"/>
                  </a:lnTo>
                  <a:cubicBezTo>
                    <a:pt x="1759590" y="5097440"/>
                    <a:pt x="1749355" y="5107675"/>
                    <a:pt x="1736730" y="5107675"/>
                  </a:cubicBezTo>
                  <a:lnTo>
                    <a:pt x="959160" y="5107674"/>
                  </a:lnTo>
                  <a:cubicBezTo>
                    <a:pt x="952847" y="5107674"/>
                    <a:pt x="947132" y="5105116"/>
                    <a:pt x="942996" y="5100979"/>
                  </a:cubicBezTo>
                  <a:lnTo>
                    <a:pt x="936300" y="5084815"/>
                  </a:lnTo>
                  <a:lnTo>
                    <a:pt x="942996" y="5068651"/>
                  </a:lnTo>
                  <a:cubicBezTo>
                    <a:pt x="947132" y="5064514"/>
                    <a:pt x="952847" y="5061955"/>
                    <a:pt x="959160" y="5061955"/>
                  </a:cubicBezTo>
                  <a:close/>
                  <a:moveTo>
                    <a:pt x="1099878" y="187223"/>
                  </a:moveTo>
                  <a:lnTo>
                    <a:pt x="1596012" y="187223"/>
                  </a:lnTo>
                  <a:cubicBezTo>
                    <a:pt x="1654508" y="187223"/>
                    <a:pt x="1701929" y="234644"/>
                    <a:pt x="1701929" y="293140"/>
                  </a:cubicBezTo>
                  <a:cubicBezTo>
                    <a:pt x="1701929" y="351636"/>
                    <a:pt x="1654508" y="399057"/>
                    <a:pt x="1596012" y="399057"/>
                  </a:cubicBezTo>
                  <a:lnTo>
                    <a:pt x="1099878" y="399057"/>
                  </a:lnTo>
                  <a:cubicBezTo>
                    <a:pt x="1041382" y="399057"/>
                    <a:pt x="993961" y="351636"/>
                    <a:pt x="993961" y="293140"/>
                  </a:cubicBezTo>
                  <a:cubicBezTo>
                    <a:pt x="993961" y="234644"/>
                    <a:pt x="1041382" y="187223"/>
                    <a:pt x="1099878" y="187223"/>
                  </a:cubicBezTo>
                  <a:close/>
                  <a:moveTo>
                    <a:pt x="457207" y="91440"/>
                  </a:moveTo>
                  <a:cubicBezTo>
                    <a:pt x="284219" y="91440"/>
                    <a:pt x="143985" y="231674"/>
                    <a:pt x="143985" y="404662"/>
                  </a:cubicBezTo>
                  <a:lnTo>
                    <a:pt x="143985" y="4894702"/>
                  </a:lnTo>
                  <a:cubicBezTo>
                    <a:pt x="143985" y="5067690"/>
                    <a:pt x="284219" y="5207924"/>
                    <a:pt x="457207" y="5207924"/>
                  </a:cubicBezTo>
                  <a:lnTo>
                    <a:pt x="2238683" y="5207924"/>
                  </a:lnTo>
                  <a:cubicBezTo>
                    <a:pt x="2411671" y="5207924"/>
                    <a:pt x="2551905" y="5067690"/>
                    <a:pt x="2551905" y="4894702"/>
                  </a:cubicBezTo>
                  <a:lnTo>
                    <a:pt x="2551905" y="404662"/>
                  </a:lnTo>
                  <a:cubicBezTo>
                    <a:pt x="2551905" y="231674"/>
                    <a:pt x="2411671" y="91440"/>
                    <a:pt x="2238683" y="91440"/>
                  </a:cubicBezTo>
                  <a:close/>
                  <a:moveTo>
                    <a:pt x="456632" y="0"/>
                  </a:moveTo>
                  <a:lnTo>
                    <a:pt x="2239258" y="0"/>
                  </a:lnTo>
                  <a:cubicBezTo>
                    <a:pt x="2462429" y="0"/>
                    <a:pt x="2643345" y="180916"/>
                    <a:pt x="2643345" y="404087"/>
                  </a:cubicBezTo>
                  <a:lnTo>
                    <a:pt x="2643345" y="1743907"/>
                  </a:lnTo>
                  <a:lnTo>
                    <a:pt x="2662639" y="1743907"/>
                  </a:lnTo>
                  <a:cubicBezTo>
                    <a:pt x="2677234" y="1743907"/>
                    <a:pt x="2689065" y="1755738"/>
                    <a:pt x="2689065" y="1770333"/>
                  </a:cubicBezTo>
                  <a:lnTo>
                    <a:pt x="2689065" y="2299740"/>
                  </a:lnTo>
                  <a:cubicBezTo>
                    <a:pt x="2689065" y="2314335"/>
                    <a:pt x="2677234" y="2326166"/>
                    <a:pt x="2662639" y="2326166"/>
                  </a:cubicBezTo>
                  <a:lnTo>
                    <a:pt x="2643345" y="2326166"/>
                  </a:lnTo>
                  <a:lnTo>
                    <a:pt x="2643345" y="4895277"/>
                  </a:lnTo>
                  <a:cubicBezTo>
                    <a:pt x="2643345" y="5118448"/>
                    <a:pt x="2462429" y="5299364"/>
                    <a:pt x="2239258" y="5299364"/>
                  </a:cubicBezTo>
                  <a:lnTo>
                    <a:pt x="456632" y="5299364"/>
                  </a:lnTo>
                  <a:cubicBezTo>
                    <a:pt x="233461" y="5299364"/>
                    <a:pt x="52545" y="5118448"/>
                    <a:pt x="52545" y="4895277"/>
                  </a:cubicBezTo>
                  <a:lnTo>
                    <a:pt x="52545" y="2360671"/>
                  </a:lnTo>
                  <a:lnTo>
                    <a:pt x="25447" y="2360671"/>
                  </a:lnTo>
                  <a:cubicBezTo>
                    <a:pt x="11394" y="2360671"/>
                    <a:pt x="1" y="2349278"/>
                    <a:pt x="1" y="2335225"/>
                  </a:cubicBezTo>
                  <a:lnTo>
                    <a:pt x="1" y="1463090"/>
                  </a:lnTo>
                  <a:cubicBezTo>
                    <a:pt x="1" y="1449037"/>
                    <a:pt x="11394" y="1437644"/>
                    <a:pt x="25447" y="1437644"/>
                  </a:cubicBezTo>
                  <a:lnTo>
                    <a:pt x="52545" y="1437644"/>
                  </a:lnTo>
                  <a:lnTo>
                    <a:pt x="52545" y="1282409"/>
                  </a:lnTo>
                  <a:lnTo>
                    <a:pt x="23290" y="1282409"/>
                  </a:lnTo>
                  <a:cubicBezTo>
                    <a:pt x="10427" y="1282409"/>
                    <a:pt x="0" y="1271982"/>
                    <a:pt x="0" y="1259119"/>
                  </a:cubicBezTo>
                  <a:lnTo>
                    <a:pt x="0" y="1081373"/>
                  </a:lnTo>
                  <a:cubicBezTo>
                    <a:pt x="0" y="1068510"/>
                    <a:pt x="10427" y="1058083"/>
                    <a:pt x="23290" y="1058083"/>
                  </a:cubicBezTo>
                  <a:lnTo>
                    <a:pt x="52545" y="1058083"/>
                  </a:lnTo>
                  <a:lnTo>
                    <a:pt x="52545" y="404087"/>
                  </a:lnTo>
                  <a:cubicBezTo>
                    <a:pt x="52545" y="180916"/>
                    <a:pt x="233461" y="0"/>
                    <a:pt x="456632" y="0"/>
                  </a:cubicBez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0" name="TextBox 9">
            <a:extLst>
              <a:ext uri="{FF2B5EF4-FFF2-40B4-BE49-F238E27FC236}">
                <a16:creationId xmlns:a16="http://schemas.microsoft.com/office/drawing/2014/main" id="{4C82302E-5217-C81B-A333-E488A6207AB8}"/>
              </a:ext>
            </a:extLst>
          </p:cNvPr>
          <p:cNvSpPr txBox="1"/>
          <p:nvPr/>
        </p:nvSpPr>
        <p:spPr>
          <a:xfrm>
            <a:off x="7602906" y="1398746"/>
            <a:ext cx="2423392" cy="1615827"/>
          </a:xfrm>
          <a:prstGeom prst="rect">
            <a:avLst/>
          </a:prstGeom>
          <a:noFill/>
        </p:spPr>
        <p:txBody>
          <a:bodyPr wrap="square" lIns="0" rIns="0" rtlCol="0" anchor="t">
            <a:spAutoFit/>
          </a:bodyPr>
          <a:lstStyle/>
          <a:p>
            <a:pPr algn="just"/>
            <a:r>
              <a:rPr lang="en-US" sz="1100" b="1" noProof="1">
                <a:solidFill>
                  <a:schemeClr val="tx1">
                    <a:lumMod val="65000"/>
                    <a:lumOff val="35000"/>
                  </a:schemeClr>
                </a:solidFill>
              </a:rPr>
              <a:t>---------------------------------------------------</a:t>
            </a:r>
          </a:p>
          <a:p>
            <a:pPr algn="just"/>
            <a:r>
              <a:rPr lang="en-US" sz="1100" b="1" noProof="1">
                <a:solidFill>
                  <a:schemeClr val="tx1">
                    <a:lumMod val="65000"/>
                    <a:lumOff val="35000"/>
                  </a:schemeClr>
                </a:solidFill>
              </a:rPr>
              <a:t>Unforeseen Problem</a:t>
            </a:r>
          </a:p>
          <a:p>
            <a:pPr algn="just"/>
            <a:r>
              <a:rPr lang="en-US" sz="1100" b="1" noProof="1">
                <a:solidFill>
                  <a:schemeClr val="tx1">
                    <a:lumMod val="65000"/>
                    <a:lumOff val="35000"/>
                  </a:schemeClr>
                </a:solidFill>
              </a:rPr>
              <a:t>---------------------------------------------------There's a problem: the Cloud Storage system and the team chat </a:t>
            </a:r>
          </a:p>
          <a:p>
            <a:pPr algn="just"/>
            <a:r>
              <a:rPr lang="en-US" sz="1100" b="1" noProof="1">
                <a:solidFill>
                  <a:schemeClr val="tx1">
                    <a:lumMod val="65000"/>
                    <a:lumOff val="35000"/>
                  </a:schemeClr>
                </a:solidFill>
              </a:rPr>
              <a:t>are down and won't be back up today. You can't use them at all.</a:t>
            </a:r>
          </a:p>
          <a:p>
            <a:pPr algn="just"/>
            <a:r>
              <a:rPr lang="en-US" sz="1100" b="1" noProof="1">
                <a:solidFill>
                  <a:schemeClr val="tx1">
                    <a:lumMod val="65000"/>
                    <a:lumOff val="35000"/>
                  </a:schemeClr>
                </a:solidFill>
              </a:rPr>
              <a:t>How will you change your plan to still complete the task?</a:t>
            </a:r>
          </a:p>
        </p:txBody>
      </p:sp>
    </p:spTree>
    <p:extLst>
      <p:ext uri="{BB962C8B-B14F-4D97-AF65-F5344CB8AC3E}">
        <p14:creationId xmlns:p14="http://schemas.microsoft.com/office/powerpoint/2010/main" val="31485180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A65BF7-F569-136D-6331-605DCA6B584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568198E-6371-9C99-F134-E2BE78B8BACF}"/>
              </a:ext>
            </a:extLst>
          </p:cNvPr>
          <p:cNvSpPr>
            <a:spLocks noGrp="1"/>
          </p:cNvSpPr>
          <p:nvPr>
            <p:ph type="title"/>
          </p:nvPr>
        </p:nvSpPr>
        <p:spPr/>
        <p:txBody>
          <a:bodyPr/>
          <a:lstStyle/>
          <a:p>
            <a:r>
              <a:rPr lang="en-US" dirty="0"/>
              <a:t>Adapting At Agent Level</a:t>
            </a:r>
          </a:p>
        </p:txBody>
      </p:sp>
      <p:sp>
        <p:nvSpPr>
          <p:cNvPr id="3" name="Text Placeholder 2">
            <a:extLst>
              <a:ext uri="{FF2B5EF4-FFF2-40B4-BE49-F238E27FC236}">
                <a16:creationId xmlns:a16="http://schemas.microsoft.com/office/drawing/2014/main" id="{B29FA777-7A8A-774A-4E9A-DCF0E4112492}"/>
              </a:ext>
            </a:extLst>
          </p:cNvPr>
          <p:cNvSpPr>
            <a:spLocks noGrp="1"/>
          </p:cNvSpPr>
          <p:nvPr>
            <p:ph type="body" sz="quarter" idx="10"/>
          </p:nvPr>
        </p:nvSpPr>
        <p:spPr>
          <a:xfrm>
            <a:off x="75627" y="1073770"/>
            <a:ext cx="7048239" cy="4957763"/>
          </a:xfrm>
        </p:spPr>
        <p:txBody>
          <a:bodyPr/>
          <a:lstStyle/>
          <a:p>
            <a:r>
              <a:rPr lang="en-US" dirty="0"/>
              <a:t>The agent will demonstrate impressive ability to understand its constraints, balancing both original requirements and new limitations. </a:t>
            </a:r>
          </a:p>
          <a:p>
            <a:pPr lvl="1"/>
            <a:r>
              <a:rPr lang="en-US" dirty="0"/>
              <a:t>This moves us beyond Level 2 Automation</a:t>
            </a:r>
            <a:br>
              <a:rPr lang="en-US" dirty="0"/>
            </a:br>
            <a:endParaRPr lang="en-US" dirty="0"/>
          </a:p>
          <a:p>
            <a:r>
              <a:rPr lang="en-US" dirty="0"/>
              <a:t>Level 3 agents powered by LLMs can adjust to environmental shifts.</a:t>
            </a:r>
            <a:br>
              <a:rPr lang="en-US" dirty="0"/>
            </a:br>
            <a:endParaRPr lang="en-US" dirty="0"/>
          </a:p>
          <a:p>
            <a:r>
              <a:rPr lang="en-US" dirty="0"/>
              <a:t>Clear limitations compared to Level 4/5 agents; limited capability to learn from past, proactively suggestion preventive measures, or grasp broader business impact of decisions.</a:t>
            </a:r>
          </a:p>
        </p:txBody>
      </p:sp>
      <p:grpSp>
        <p:nvGrpSpPr>
          <p:cNvPr id="5" name="Group 4">
            <a:extLst>
              <a:ext uri="{FF2B5EF4-FFF2-40B4-BE49-F238E27FC236}">
                <a16:creationId xmlns:a16="http://schemas.microsoft.com/office/drawing/2014/main" id="{0F291086-AC5A-850E-36F4-A87CED9AFB58}"/>
              </a:ext>
            </a:extLst>
          </p:cNvPr>
          <p:cNvGrpSpPr/>
          <p:nvPr/>
        </p:nvGrpSpPr>
        <p:grpSpPr>
          <a:xfrm>
            <a:off x="7251829" y="728974"/>
            <a:ext cx="3125548" cy="5501705"/>
            <a:chOff x="841074" y="533491"/>
            <a:chExt cx="2689065" cy="5299364"/>
          </a:xfrm>
        </p:grpSpPr>
        <p:sp>
          <p:nvSpPr>
            <p:cNvPr id="6" name="Rectangle: Rounded Corners 14">
              <a:extLst>
                <a:ext uri="{FF2B5EF4-FFF2-40B4-BE49-F238E27FC236}">
                  <a16:creationId xmlns:a16="http://schemas.microsoft.com/office/drawing/2014/main" id="{8D59D482-B593-759B-57E0-63061B7562E0}"/>
                </a:ext>
              </a:extLst>
            </p:cNvPr>
            <p:cNvSpPr/>
            <p:nvPr/>
          </p:nvSpPr>
          <p:spPr>
            <a:xfrm>
              <a:off x="951166" y="577133"/>
              <a:ext cx="2468880" cy="5212080"/>
            </a:xfrm>
            <a:prstGeom prst="roundRect">
              <a:avLst>
                <a:gd name="adj" fmla="val 13008"/>
              </a:avLst>
            </a:prstGeom>
            <a:solidFill>
              <a:schemeClr val="bg1"/>
            </a:solidFill>
            <a:ln>
              <a:noFill/>
            </a:ln>
            <a:effectLst>
              <a:outerShdw blurRad="444500" sx="102000" sy="102000" algn="ctr" rotWithShape="0">
                <a:prstClr val="black">
                  <a:alpha val="5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Shape 15">
              <a:extLst>
                <a:ext uri="{FF2B5EF4-FFF2-40B4-BE49-F238E27FC236}">
                  <a16:creationId xmlns:a16="http://schemas.microsoft.com/office/drawing/2014/main" id="{7AE3DEC5-59A5-ED99-31FC-D850C0EC0722}"/>
                </a:ext>
              </a:extLst>
            </p:cNvPr>
            <p:cNvSpPr/>
            <p:nvPr/>
          </p:nvSpPr>
          <p:spPr>
            <a:xfrm>
              <a:off x="841074" y="533491"/>
              <a:ext cx="2689065" cy="5299364"/>
            </a:xfrm>
            <a:custGeom>
              <a:avLst/>
              <a:gdLst>
                <a:gd name="connsiteX0" fmla="*/ 936300 w 2689065"/>
                <a:gd name="connsiteY0" fmla="*/ 5084814 h 5299364"/>
                <a:gd name="connsiteX1" fmla="*/ 936300 w 2689065"/>
                <a:gd name="connsiteY1" fmla="*/ 5084815 h 5299364"/>
                <a:gd name="connsiteX2" fmla="*/ 936300 w 2689065"/>
                <a:gd name="connsiteY2" fmla="*/ 5084815 h 5299364"/>
                <a:gd name="connsiteX3" fmla="*/ 959160 w 2689065"/>
                <a:gd name="connsiteY3" fmla="*/ 5061955 h 5299364"/>
                <a:gd name="connsiteX4" fmla="*/ 1736731 w 2689065"/>
                <a:gd name="connsiteY4" fmla="*/ 5061955 h 5299364"/>
                <a:gd name="connsiteX5" fmla="*/ 1759591 w 2689065"/>
                <a:gd name="connsiteY5" fmla="*/ 5084815 h 5299364"/>
                <a:gd name="connsiteX6" fmla="*/ 1759590 w 2689065"/>
                <a:gd name="connsiteY6" fmla="*/ 5084815 h 5299364"/>
                <a:gd name="connsiteX7" fmla="*/ 1736730 w 2689065"/>
                <a:gd name="connsiteY7" fmla="*/ 5107675 h 5299364"/>
                <a:gd name="connsiteX8" fmla="*/ 959160 w 2689065"/>
                <a:gd name="connsiteY8" fmla="*/ 5107674 h 5299364"/>
                <a:gd name="connsiteX9" fmla="*/ 942996 w 2689065"/>
                <a:gd name="connsiteY9" fmla="*/ 5100979 h 5299364"/>
                <a:gd name="connsiteX10" fmla="*/ 936300 w 2689065"/>
                <a:gd name="connsiteY10" fmla="*/ 5084815 h 5299364"/>
                <a:gd name="connsiteX11" fmla="*/ 942996 w 2689065"/>
                <a:gd name="connsiteY11" fmla="*/ 5068651 h 5299364"/>
                <a:gd name="connsiteX12" fmla="*/ 959160 w 2689065"/>
                <a:gd name="connsiteY12" fmla="*/ 5061955 h 5299364"/>
                <a:gd name="connsiteX13" fmla="*/ 1099878 w 2689065"/>
                <a:gd name="connsiteY13" fmla="*/ 187223 h 5299364"/>
                <a:gd name="connsiteX14" fmla="*/ 1596012 w 2689065"/>
                <a:gd name="connsiteY14" fmla="*/ 187223 h 5299364"/>
                <a:gd name="connsiteX15" fmla="*/ 1701929 w 2689065"/>
                <a:gd name="connsiteY15" fmla="*/ 293140 h 5299364"/>
                <a:gd name="connsiteX16" fmla="*/ 1596012 w 2689065"/>
                <a:gd name="connsiteY16" fmla="*/ 399057 h 5299364"/>
                <a:gd name="connsiteX17" fmla="*/ 1099878 w 2689065"/>
                <a:gd name="connsiteY17" fmla="*/ 399057 h 5299364"/>
                <a:gd name="connsiteX18" fmla="*/ 993961 w 2689065"/>
                <a:gd name="connsiteY18" fmla="*/ 293140 h 5299364"/>
                <a:gd name="connsiteX19" fmla="*/ 1099878 w 2689065"/>
                <a:gd name="connsiteY19" fmla="*/ 187223 h 5299364"/>
                <a:gd name="connsiteX20" fmla="*/ 457207 w 2689065"/>
                <a:gd name="connsiteY20" fmla="*/ 91440 h 5299364"/>
                <a:gd name="connsiteX21" fmla="*/ 143985 w 2689065"/>
                <a:gd name="connsiteY21" fmla="*/ 404662 h 5299364"/>
                <a:gd name="connsiteX22" fmla="*/ 143985 w 2689065"/>
                <a:gd name="connsiteY22" fmla="*/ 4894702 h 5299364"/>
                <a:gd name="connsiteX23" fmla="*/ 457207 w 2689065"/>
                <a:gd name="connsiteY23" fmla="*/ 5207924 h 5299364"/>
                <a:gd name="connsiteX24" fmla="*/ 2238683 w 2689065"/>
                <a:gd name="connsiteY24" fmla="*/ 5207924 h 5299364"/>
                <a:gd name="connsiteX25" fmla="*/ 2551905 w 2689065"/>
                <a:gd name="connsiteY25" fmla="*/ 4894702 h 5299364"/>
                <a:gd name="connsiteX26" fmla="*/ 2551905 w 2689065"/>
                <a:gd name="connsiteY26" fmla="*/ 404662 h 5299364"/>
                <a:gd name="connsiteX27" fmla="*/ 2238683 w 2689065"/>
                <a:gd name="connsiteY27" fmla="*/ 91440 h 5299364"/>
                <a:gd name="connsiteX28" fmla="*/ 456632 w 2689065"/>
                <a:gd name="connsiteY28" fmla="*/ 0 h 5299364"/>
                <a:gd name="connsiteX29" fmla="*/ 2239258 w 2689065"/>
                <a:gd name="connsiteY29" fmla="*/ 0 h 5299364"/>
                <a:gd name="connsiteX30" fmla="*/ 2643345 w 2689065"/>
                <a:gd name="connsiteY30" fmla="*/ 404087 h 5299364"/>
                <a:gd name="connsiteX31" fmla="*/ 2643345 w 2689065"/>
                <a:gd name="connsiteY31" fmla="*/ 1743907 h 5299364"/>
                <a:gd name="connsiteX32" fmla="*/ 2662639 w 2689065"/>
                <a:gd name="connsiteY32" fmla="*/ 1743907 h 5299364"/>
                <a:gd name="connsiteX33" fmla="*/ 2689065 w 2689065"/>
                <a:gd name="connsiteY33" fmla="*/ 1770333 h 5299364"/>
                <a:gd name="connsiteX34" fmla="*/ 2689065 w 2689065"/>
                <a:gd name="connsiteY34" fmla="*/ 2299740 h 5299364"/>
                <a:gd name="connsiteX35" fmla="*/ 2662639 w 2689065"/>
                <a:gd name="connsiteY35" fmla="*/ 2326166 h 5299364"/>
                <a:gd name="connsiteX36" fmla="*/ 2643345 w 2689065"/>
                <a:gd name="connsiteY36" fmla="*/ 2326166 h 5299364"/>
                <a:gd name="connsiteX37" fmla="*/ 2643345 w 2689065"/>
                <a:gd name="connsiteY37" fmla="*/ 4895277 h 5299364"/>
                <a:gd name="connsiteX38" fmla="*/ 2239258 w 2689065"/>
                <a:gd name="connsiteY38" fmla="*/ 5299364 h 5299364"/>
                <a:gd name="connsiteX39" fmla="*/ 456632 w 2689065"/>
                <a:gd name="connsiteY39" fmla="*/ 5299364 h 5299364"/>
                <a:gd name="connsiteX40" fmla="*/ 52545 w 2689065"/>
                <a:gd name="connsiteY40" fmla="*/ 4895277 h 5299364"/>
                <a:gd name="connsiteX41" fmla="*/ 52545 w 2689065"/>
                <a:gd name="connsiteY41" fmla="*/ 2360671 h 5299364"/>
                <a:gd name="connsiteX42" fmla="*/ 25447 w 2689065"/>
                <a:gd name="connsiteY42" fmla="*/ 2360671 h 5299364"/>
                <a:gd name="connsiteX43" fmla="*/ 1 w 2689065"/>
                <a:gd name="connsiteY43" fmla="*/ 2335225 h 5299364"/>
                <a:gd name="connsiteX44" fmla="*/ 1 w 2689065"/>
                <a:gd name="connsiteY44" fmla="*/ 1463090 h 5299364"/>
                <a:gd name="connsiteX45" fmla="*/ 25447 w 2689065"/>
                <a:gd name="connsiteY45" fmla="*/ 1437644 h 5299364"/>
                <a:gd name="connsiteX46" fmla="*/ 52545 w 2689065"/>
                <a:gd name="connsiteY46" fmla="*/ 1437644 h 5299364"/>
                <a:gd name="connsiteX47" fmla="*/ 52545 w 2689065"/>
                <a:gd name="connsiteY47" fmla="*/ 1282409 h 5299364"/>
                <a:gd name="connsiteX48" fmla="*/ 23290 w 2689065"/>
                <a:gd name="connsiteY48" fmla="*/ 1282409 h 5299364"/>
                <a:gd name="connsiteX49" fmla="*/ 0 w 2689065"/>
                <a:gd name="connsiteY49" fmla="*/ 1259119 h 5299364"/>
                <a:gd name="connsiteX50" fmla="*/ 0 w 2689065"/>
                <a:gd name="connsiteY50" fmla="*/ 1081373 h 5299364"/>
                <a:gd name="connsiteX51" fmla="*/ 23290 w 2689065"/>
                <a:gd name="connsiteY51" fmla="*/ 1058083 h 5299364"/>
                <a:gd name="connsiteX52" fmla="*/ 52545 w 2689065"/>
                <a:gd name="connsiteY52" fmla="*/ 1058083 h 5299364"/>
                <a:gd name="connsiteX53" fmla="*/ 52545 w 2689065"/>
                <a:gd name="connsiteY53" fmla="*/ 404087 h 5299364"/>
                <a:gd name="connsiteX54" fmla="*/ 456632 w 2689065"/>
                <a:gd name="connsiteY54" fmla="*/ 0 h 5299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689065" h="5299364">
                  <a:moveTo>
                    <a:pt x="936300" y="5084814"/>
                  </a:moveTo>
                  <a:lnTo>
                    <a:pt x="936300" y="5084815"/>
                  </a:lnTo>
                  <a:lnTo>
                    <a:pt x="936300" y="5084815"/>
                  </a:lnTo>
                  <a:close/>
                  <a:moveTo>
                    <a:pt x="959160" y="5061955"/>
                  </a:moveTo>
                  <a:lnTo>
                    <a:pt x="1736731" y="5061955"/>
                  </a:lnTo>
                  <a:cubicBezTo>
                    <a:pt x="1749356" y="5061955"/>
                    <a:pt x="1759591" y="5072190"/>
                    <a:pt x="1759591" y="5084815"/>
                  </a:cubicBezTo>
                  <a:lnTo>
                    <a:pt x="1759590" y="5084815"/>
                  </a:lnTo>
                  <a:cubicBezTo>
                    <a:pt x="1759590" y="5097440"/>
                    <a:pt x="1749355" y="5107675"/>
                    <a:pt x="1736730" y="5107675"/>
                  </a:cubicBezTo>
                  <a:lnTo>
                    <a:pt x="959160" y="5107674"/>
                  </a:lnTo>
                  <a:cubicBezTo>
                    <a:pt x="952847" y="5107674"/>
                    <a:pt x="947132" y="5105116"/>
                    <a:pt x="942996" y="5100979"/>
                  </a:cubicBezTo>
                  <a:lnTo>
                    <a:pt x="936300" y="5084815"/>
                  </a:lnTo>
                  <a:lnTo>
                    <a:pt x="942996" y="5068651"/>
                  </a:lnTo>
                  <a:cubicBezTo>
                    <a:pt x="947132" y="5064514"/>
                    <a:pt x="952847" y="5061955"/>
                    <a:pt x="959160" y="5061955"/>
                  </a:cubicBezTo>
                  <a:close/>
                  <a:moveTo>
                    <a:pt x="1099878" y="187223"/>
                  </a:moveTo>
                  <a:lnTo>
                    <a:pt x="1596012" y="187223"/>
                  </a:lnTo>
                  <a:cubicBezTo>
                    <a:pt x="1654508" y="187223"/>
                    <a:pt x="1701929" y="234644"/>
                    <a:pt x="1701929" y="293140"/>
                  </a:cubicBezTo>
                  <a:cubicBezTo>
                    <a:pt x="1701929" y="351636"/>
                    <a:pt x="1654508" y="399057"/>
                    <a:pt x="1596012" y="399057"/>
                  </a:cubicBezTo>
                  <a:lnTo>
                    <a:pt x="1099878" y="399057"/>
                  </a:lnTo>
                  <a:cubicBezTo>
                    <a:pt x="1041382" y="399057"/>
                    <a:pt x="993961" y="351636"/>
                    <a:pt x="993961" y="293140"/>
                  </a:cubicBezTo>
                  <a:cubicBezTo>
                    <a:pt x="993961" y="234644"/>
                    <a:pt x="1041382" y="187223"/>
                    <a:pt x="1099878" y="187223"/>
                  </a:cubicBezTo>
                  <a:close/>
                  <a:moveTo>
                    <a:pt x="457207" y="91440"/>
                  </a:moveTo>
                  <a:cubicBezTo>
                    <a:pt x="284219" y="91440"/>
                    <a:pt x="143985" y="231674"/>
                    <a:pt x="143985" y="404662"/>
                  </a:cubicBezTo>
                  <a:lnTo>
                    <a:pt x="143985" y="4894702"/>
                  </a:lnTo>
                  <a:cubicBezTo>
                    <a:pt x="143985" y="5067690"/>
                    <a:pt x="284219" y="5207924"/>
                    <a:pt x="457207" y="5207924"/>
                  </a:cubicBezTo>
                  <a:lnTo>
                    <a:pt x="2238683" y="5207924"/>
                  </a:lnTo>
                  <a:cubicBezTo>
                    <a:pt x="2411671" y="5207924"/>
                    <a:pt x="2551905" y="5067690"/>
                    <a:pt x="2551905" y="4894702"/>
                  </a:cubicBezTo>
                  <a:lnTo>
                    <a:pt x="2551905" y="404662"/>
                  </a:lnTo>
                  <a:cubicBezTo>
                    <a:pt x="2551905" y="231674"/>
                    <a:pt x="2411671" y="91440"/>
                    <a:pt x="2238683" y="91440"/>
                  </a:cubicBezTo>
                  <a:close/>
                  <a:moveTo>
                    <a:pt x="456632" y="0"/>
                  </a:moveTo>
                  <a:lnTo>
                    <a:pt x="2239258" y="0"/>
                  </a:lnTo>
                  <a:cubicBezTo>
                    <a:pt x="2462429" y="0"/>
                    <a:pt x="2643345" y="180916"/>
                    <a:pt x="2643345" y="404087"/>
                  </a:cubicBezTo>
                  <a:lnTo>
                    <a:pt x="2643345" y="1743907"/>
                  </a:lnTo>
                  <a:lnTo>
                    <a:pt x="2662639" y="1743907"/>
                  </a:lnTo>
                  <a:cubicBezTo>
                    <a:pt x="2677234" y="1743907"/>
                    <a:pt x="2689065" y="1755738"/>
                    <a:pt x="2689065" y="1770333"/>
                  </a:cubicBezTo>
                  <a:lnTo>
                    <a:pt x="2689065" y="2299740"/>
                  </a:lnTo>
                  <a:cubicBezTo>
                    <a:pt x="2689065" y="2314335"/>
                    <a:pt x="2677234" y="2326166"/>
                    <a:pt x="2662639" y="2326166"/>
                  </a:cubicBezTo>
                  <a:lnTo>
                    <a:pt x="2643345" y="2326166"/>
                  </a:lnTo>
                  <a:lnTo>
                    <a:pt x="2643345" y="4895277"/>
                  </a:lnTo>
                  <a:cubicBezTo>
                    <a:pt x="2643345" y="5118448"/>
                    <a:pt x="2462429" y="5299364"/>
                    <a:pt x="2239258" y="5299364"/>
                  </a:cubicBezTo>
                  <a:lnTo>
                    <a:pt x="456632" y="5299364"/>
                  </a:lnTo>
                  <a:cubicBezTo>
                    <a:pt x="233461" y="5299364"/>
                    <a:pt x="52545" y="5118448"/>
                    <a:pt x="52545" y="4895277"/>
                  </a:cubicBezTo>
                  <a:lnTo>
                    <a:pt x="52545" y="2360671"/>
                  </a:lnTo>
                  <a:lnTo>
                    <a:pt x="25447" y="2360671"/>
                  </a:lnTo>
                  <a:cubicBezTo>
                    <a:pt x="11394" y="2360671"/>
                    <a:pt x="1" y="2349278"/>
                    <a:pt x="1" y="2335225"/>
                  </a:cubicBezTo>
                  <a:lnTo>
                    <a:pt x="1" y="1463090"/>
                  </a:lnTo>
                  <a:cubicBezTo>
                    <a:pt x="1" y="1449037"/>
                    <a:pt x="11394" y="1437644"/>
                    <a:pt x="25447" y="1437644"/>
                  </a:cubicBezTo>
                  <a:lnTo>
                    <a:pt x="52545" y="1437644"/>
                  </a:lnTo>
                  <a:lnTo>
                    <a:pt x="52545" y="1282409"/>
                  </a:lnTo>
                  <a:lnTo>
                    <a:pt x="23290" y="1282409"/>
                  </a:lnTo>
                  <a:cubicBezTo>
                    <a:pt x="10427" y="1282409"/>
                    <a:pt x="0" y="1271982"/>
                    <a:pt x="0" y="1259119"/>
                  </a:cubicBezTo>
                  <a:lnTo>
                    <a:pt x="0" y="1081373"/>
                  </a:lnTo>
                  <a:cubicBezTo>
                    <a:pt x="0" y="1068510"/>
                    <a:pt x="10427" y="1058083"/>
                    <a:pt x="23290" y="1058083"/>
                  </a:cubicBezTo>
                  <a:lnTo>
                    <a:pt x="52545" y="1058083"/>
                  </a:lnTo>
                  <a:lnTo>
                    <a:pt x="52545" y="404087"/>
                  </a:lnTo>
                  <a:cubicBezTo>
                    <a:pt x="52545" y="180916"/>
                    <a:pt x="233461" y="0"/>
                    <a:pt x="456632" y="0"/>
                  </a:cubicBez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0" name="TextBox 9">
            <a:extLst>
              <a:ext uri="{FF2B5EF4-FFF2-40B4-BE49-F238E27FC236}">
                <a16:creationId xmlns:a16="http://schemas.microsoft.com/office/drawing/2014/main" id="{D16CEA3C-7678-7651-B927-366D461CC89A}"/>
              </a:ext>
            </a:extLst>
          </p:cNvPr>
          <p:cNvSpPr txBox="1"/>
          <p:nvPr/>
        </p:nvSpPr>
        <p:spPr>
          <a:xfrm>
            <a:off x="7602906" y="1398746"/>
            <a:ext cx="2423392" cy="1615827"/>
          </a:xfrm>
          <a:prstGeom prst="rect">
            <a:avLst/>
          </a:prstGeom>
          <a:noFill/>
        </p:spPr>
        <p:txBody>
          <a:bodyPr wrap="square" lIns="0" rIns="0" rtlCol="0" anchor="t">
            <a:spAutoFit/>
          </a:bodyPr>
          <a:lstStyle/>
          <a:p>
            <a:pPr algn="just"/>
            <a:r>
              <a:rPr lang="en-US" sz="1100" b="1" noProof="1">
                <a:solidFill>
                  <a:schemeClr val="tx1">
                    <a:lumMod val="65000"/>
                    <a:lumOff val="35000"/>
                  </a:schemeClr>
                </a:solidFill>
              </a:rPr>
              <a:t>---------------------------------------------------</a:t>
            </a:r>
          </a:p>
          <a:p>
            <a:pPr algn="just"/>
            <a:r>
              <a:rPr lang="en-US" sz="1100" b="1" noProof="1">
                <a:solidFill>
                  <a:schemeClr val="tx1">
                    <a:lumMod val="65000"/>
                    <a:lumOff val="35000"/>
                  </a:schemeClr>
                </a:solidFill>
              </a:rPr>
              <a:t>Unforeseen Problem</a:t>
            </a:r>
          </a:p>
          <a:p>
            <a:pPr algn="just"/>
            <a:r>
              <a:rPr lang="en-US" sz="1100" b="1" noProof="1">
                <a:solidFill>
                  <a:schemeClr val="tx1">
                    <a:lumMod val="65000"/>
                    <a:lumOff val="35000"/>
                  </a:schemeClr>
                </a:solidFill>
              </a:rPr>
              <a:t>---------------------------------------------------There's a problem: the Cloud Storage system and the team chat </a:t>
            </a:r>
          </a:p>
          <a:p>
            <a:pPr algn="just"/>
            <a:r>
              <a:rPr lang="en-US" sz="1100" b="1" noProof="1">
                <a:solidFill>
                  <a:schemeClr val="tx1">
                    <a:lumMod val="65000"/>
                    <a:lumOff val="35000"/>
                  </a:schemeClr>
                </a:solidFill>
              </a:rPr>
              <a:t>are down and won't be back up today. You can't use them at all.</a:t>
            </a:r>
          </a:p>
          <a:p>
            <a:pPr algn="just"/>
            <a:r>
              <a:rPr lang="en-US" sz="1100" b="1" noProof="1">
                <a:solidFill>
                  <a:schemeClr val="tx1">
                    <a:lumMod val="65000"/>
                    <a:lumOff val="35000"/>
                  </a:schemeClr>
                </a:solidFill>
              </a:rPr>
              <a:t>How will you change your plan to still complete the task?</a:t>
            </a:r>
          </a:p>
        </p:txBody>
      </p:sp>
    </p:spTree>
    <p:extLst>
      <p:ext uri="{BB962C8B-B14F-4D97-AF65-F5344CB8AC3E}">
        <p14:creationId xmlns:p14="http://schemas.microsoft.com/office/powerpoint/2010/main" val="35733038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67B7DA-C64E-2B9B-FBAE-A6A84B5F60BA}"/>
            </a:ext>
          </a:extLst>
        </p:cNvPr>
        <p:cNvGrpSpPr/>
        <p:nvPr/>
      </p:nvGrpSpPr>
      <p:grpSpPr>
        <a:xfrm>
          <a:off x="0" y="0"/>
          <a:ext cx="0" cy="0"/>
          <a:chOff x="0" y="0"/>
          <a:chExt cx="0" cy="0"/>
        </a:xfrm>
      </p:grpSpPr>
      <p:grpSp>
        <p:nvGrpSpPr>
          <p:cNvPr id="23" name="Group 22">
            <a:extLst>
              <a:ext uri="{FF2B5EF4-FFF2-40B4-BE49-F238E27FC236}">
                <a16:creationId xmlns:a16="http://schemas.microsoft.com/office/drawing/2014/main" id="{236B895B-0523-5429-D8AB-BF0DE75516BB}"/>
              </a:ext>
            </a:extLst>
          </p:cNvPr>
          <p:cNvGrpSpPr/>
          <p:nvPr/>
        </p:nvGrpSpPr>
        <p:grpSpPr>
          <a:xfrm>
            <a:off x="1909003" y="1155293"/>
            <a:ext cx="3657600" cy="2469438"/>
            <a:chOff x="1416290" y="1645209"/>
            <a:chExt cx="3657600" cy="2469438"/>
          </a:xfrm>
        </p:grpSpPr>
        <p:sp>
          <p:nvSpPr>
            <p:cNvPr id="5" name="Rectangle 4">
              <a:extLst>
                <a:ext uri="{FF2B5EF4-FFF2-40B4-BE49-F238E27FC236}">
                  <a16:creationId xmlns:a16="http://schemas.microsoft.com/office/drawing/2014/main" id="{91BBBC19-74A4-F86E-BCCB-ADC4087FF949}"/>
                </a:ext>
              </a:extLst>
            </p:cNvPr>
            <p:cNvSpPr/>
            <p:nvPr/>
          </p:nvSpPr>
          <p:spPr>
            <a:xfrm>
              <a:off x="1573403" y="2092503"/>
              <a:ext cx="3343374" cy="196887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6450"/>
                  </a:solidFill>
                  <a:effectLst/>
                  <a:uLnTx/>
                  <a:uFillTx/>
                  <a:latin typeface="Graphik" panose="020B0503030202060203" pitchFamily="34" charset="0"/>
                  <a:ea typeface="+mn-ea"/>
                  <a:cs typeface="+mn-cs"/>
                </a:rPr>
                <a:t>Uplift performance of Pods</a:t>
              </a:r>
              <a:r>
                <a:rPr kumimoji="0" lang="en-US" sz="1800" b="0" i="0" u="none" strike="noStrike" kern="1200" cap="none" spc="0" normalizeH="0" baseline="0" noProof="0">
                  <a:ln>
                    <a:noFill/>
                  </a:ln>
                  <a:solidFill>
                    <a:srgbClr val="006450"/>
                  </a:solidFill>
                  <a:effectLst/>
                  <a:uLnTx/>
                  <a:uFillTx/>
                  <a:latin typeface="Graphik" panose="020B0503030202060203" pitchFamily="34" charset="0"/>
                  <a:ea typeface="+mn-ea"/>
                  <a:cs typeface="+mn-cs"/>
                </a:rPr>
                <a:t> by augmenting agile ways of working and PDLC processes with GenAI</a:t>
              </a:r>
            </a:p>
          </p:txBody>
        </p:sp>
        <p:sp>
          <p:nvSpPr>
            <p:cNvPr id="3" name="Rectangle: Rounded Corners 2">
              <a:extLst>
                <a:ext uri="{FF2B5EF4-FFF2-40B4-BE49-F238E27FC236}">
                  <a16:creationId xmlns:a16="http://schemas.microsoft.com/office/drawing/2014/main" id="{96425E62-B910-E06D-8E7A-7A04E4109E8D}"/>
                </a:ext>
              </a:extLst>
            </p:cNvPr>
            <p:cNvSpPr/>
            <p:nvPr/>
          </p:nvSpPr>
          <p:spPr>
            <a:xfrm>
              <a:off x="1416290" y="2028181"/>
              <a:ext cx="3657600" cy="2086466"/>
            </a:xfrm>
            <a:prstGeom prst="roundRect">
              <a:avLst/>
            </a:prstGeom>
            <a:no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2" name="Group 21">
              <a:extLst>
                <a:ext uri="{FF2B5EF4-FFF2-40B4-BE49-F238E27FC236}">
                  <a16:creationId xmlns:a16="http://schemas.microsoft.com/office/drawing/2014/main" id="{D4AB37E5-F623-619F-7150-92C118D661D9}"/>
                </a:ext>
              </a:extLst>
            </p:cNvPr>
            <p:cNvGrpSpPr/>
            <p:nvPr/>
          </p:nvGrpSpPr>
          <p:grpSpPr>
            <a:xfrm>
              <a:off x="2879199" y="1645209"/>
              <a:ext cx="731782" cy="710943"/>
              <a:chOff x="2879199" y="1645209"/>
              <a:chExt cx="731782" cy="710943"/>
            </a:xfrm>
          </p:grpSpPr>
          <p:sp>
            <p:nvSpPr>
              <p:cNvPr id="9" name="Rectangle 8">
                <a:extLst>
                  <a:ext uri="{FF2B5EF4-FFF2-40B4-BE49-F238E27FC236}">
                    <a16:creationId xmlns:a16="http://schemas.microsoft.com/office/drawing/2014/main" id="{051F54B0-51B4-47D1-64AD-941F16B47054}"/>
                  </a:ext>
                </a:extLst>
              </p:cNvPr>
              <p:cNvSpPr/>
              <p:nvPr/>
            </p:nvSpPr>
            <p:spPr>
              <a:xfrm>
                <a:off x="2879199" y="1645209"/>
                <a:ext cx="731782" cy="71094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8" name="Graphic 7" descr="Artificial Intelligence outline">
                <a:extLst>
                  <a:ext uri="{FF2B5EF4-FFF2-40B4-BE49-F238E27FC236}">
                    <a16:creationId xmlns:a16="http://schemas.microsoft.com/office/drawing/2014/main" id="{ED7AC099-119A-D6C0-5913-CC8F54C44FE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22157" y="1677747"/>
                <a:ext cx="645866" cy="645866"/>
              </a:xfrm>
              <a:prstGeom prst="rect">
                <a:avLst/>
              </a:prstGeom>
            </p:spPr>
          </p:pic>
        </p:grpSp>
      </p:grpSp>
      <p:grpSp>
        <p:nvGrpSpPr>
          <p:cNvPr id="24" name="Group 23">
            <a:extLst>
              <a:ext uri="{FF2B5EF4-FFF2-40B4-BE49-F238E27FC236}">
                <a16:creationId xmlns:a16="http://schemas.microsoft.com/office/drawing/2014/main" id="{548435DD-C3E6-6724-7F94-7F9A1064CDBD}"/>
              </a:ext>
            </a:extLst>
          </p:cNvPr>
          <p:cNvGrpSpPr/>
          <p:nvPr/>
        </p:nvGrpSpPr>
        <p:grpSpPr>
          <a:xfrm>
            <a:off x="6625397" y="1168236"/>
            <a:ext cx="3657600" cy="2456495"/>
            <a:chOff x="6235797" y="1658152"/>
            <a:chExt cx="3657600" cy="2456495"/>
          </a:xfrm>
        </p:grpSpPr>
        <p:sp>
          <p:nvSpPr>
            <p:cNvPr id="14" name="Rectangle 13">
              <a:extLst>
                <a:ext uri="{FF2B5EF4-FFF2-40B4-BE49-F238E27FC236}">
                  <a16:creationId xmlns:a16="http://schemas.microsoft.com/office/drawing/2014/main" id="{1113C35A-7893-C1C2-C2F3-70C4960B129C}"/>
                </a:ext>
              </a:extLst>
            </p:cNvPr>
            <p:cNvSpPr/>
            <p:nvPr/>
          </p:nvSpPr>
          <p:spPr>
            <a:xfrm>
              <a:off x="6392910" y="2092503"/>
              <a:ext cx="3343374" cy="196887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6450"/>
                  </a:solidFill>
                  <a:effectLst/>
                  <a:uLnTx/>
                  <a:uFillTx/>
                  <a:latin typeface="Graphik" panose="020B0503030202060203" pitchFamily="34" charset="0"/>
                  <a:ea typeface="+mn-ea"/>
                  <a:cs typeface="+mn-cs"/>
                </a:rPr>
                <a:t>Accelerate AI-driven business outcomes </a:t>
              </a:r>
              <a:r>
                <a:rPr kumimoji="0" lang="en-US" sz="1800" b="0" i="0" u="none" strike="noStrike" kern="1200" cap="none" spc="0" normalizeH="0" baseline="0" noProof="0">
                  <a:ln>
                    <a:noFill/>
                  </a:ln>
                  <a:solidFill>
                    <a:srgbClr val="006450"/>
                  </a:solidFill>
                  <a:effectLst/>
                  <a:uLnTx/>
                  <a:uFillTx/>
                  <a:latin typeface="Graphik" panose="020B0503030202060203" pitchFamily="34" charset="0"/>
                  <a:ea typeface="+mn-ea"/>
                  <a:cs typeface="+mn-cs"/>
                </a:rPr>
                <a:t>by rapidly building advanced AI engineering skills</a:t>
              </a:r>
            </a:p>
          </p:txBody>
        </p:sp>
        <p:sp>
          <p:nvSpPr>
            <p:cNvPr id="15" name="Rectangle: Rounded Corners 14">
              <a:extLst>
                <a:ext uri="{FF2B5EF4-FFF2-40B4-BE49-F238E27FC236}">
                  <a16:creationId xmlns:a16="http://schemas.microsoft.com/office/drawing/2014/main" id="{376A8CE4-1086-4364-158D-7660D6900C58}"/>
                </a:ext>
              </a:extLst>
            </p:cNvPr>
            <p:cNvSpPr/>
            <p:nvPr/>
          </p:nvSpPr>
          <p:spPr>
            <a:xfrm>
              <a:off x="6235797" y="2028181"/>
              <a:ext cx="3657600" cy="2086466"/>
            </a:xfrm>
            <a:prstGeom prst="roundRect">
              <a:avLst/>
            </a:prstGeom>
            <a:no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1" name="Group 20">
              <a:extLst>
                <a:ext uri="{FF2B5EF4-FFF2-40B4-BE49-F238E27FC236}">
                  <a16:creationId xmlns:a16="http://schemas.microsoft.com/office/drawing/2014/main" id="{A13CC8EA-7825-C46E-8F67-ED1F8E832A85}"/>
                </a:ext>
              </a:extLst>
            </p:cNvPr>
            <p:cNvGrpSpPr/>
            <p:nvPr/>
          </p:nvGrpSpPr>
          <p:grpSpPr>
            <a:xfrm>
              <a:off x="7691618" y="1658152"/>
              <a:ext cx="731782" cy="710943"/>
              <a:chOff x="7691618" y="1658152"/>
              <a:chExt cx="731782" cy="710943"/>
            </a:xfrm>
          </p:grpSpPr>
          <p:sp>
            <p:nvSpPr>
              <p:cNvPr id="17" name="Rectangle 16">
                <a:extLst>
                  <a:ext uri="{FF2B5EF4-FFF2-40B4-BE49-F238E27FC236}">
                    <a16:creationId xmlns:a16="http://schemas.microsoft.com/office/drawing/2014/main" id="{05172227-8EA2-32B0-6460-7AFBC01BBE93}"/>
                  </a:ext>
                </a:extLst>
              </p:cNvPr>
              <p:cNvSpPr/>
              <p:nvPr/>
            </p:nvSpPr>
            <p:spPr>
              <a:xfrm>
                <a:off x="7691618" y="1658152"/>
                <a:ext cx="731782" cy="71094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20" name="Graphic 19" descr="Bar graph with upward trend outline">
                <a:extLst>
                  <a:ext uri="{FF2B5EF4-FFF2-40B4-BE49-F238E27FC236}">
                    <a16:creationId xmlns:a16="http://schemas.microsoft.com/office/drawing/2014/main" id="{668CA5B4-99C8-E66E-39F9-ED41E305BFC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79829" y="1740715"/>
                <a:ext cx="597036" cy="597036"/>
              </a:xfrm>
              <a:prstGeom prst="rect">
                <a:avLst/>
              </a:prstGeom>
            </p:spPr>
          </p:pic>
        </p:grpSp>
      </p:grpSp>
      <p:grpSp>
        <p:nvGrpSpPr>
          <p:cNvPr id="6" name="Group 5">
            <a:extLst>
              <a:ext uri="{FF2B5EF4-FFF2-40B4-BE49-F238E27FC236}">
                <a16:creationId xmlns:a16="http://schemas.microsoft.com/office/drawing/2014/main" id="{136E7A51-EA96-837D-5D69-F17939F432AF}"/>
              </a:ext>
            </a:extLst>
          </p:cNvPr>
          <p:cNvGrpSpPr/>
          <p:nvPr/>
        </p:nvGrpSpPr>
        <p:grpSpPr>
          <a:xfrm>
            <a:off x="-1" y="4627622"/>
            <a:ext cx="12192000" cy="1600791"/>
            <a:chOff x="75852" y="4578184"/>
            <a:chExt cx="12192000" cy="1600791"/>
          </a:xfrm>
        </p:grpSpPr>
        <p:sp>
          <p:nvSpPr>
            <p:cNvPr id="26" name="Rectangle 25">
              <a:extLst>
                <a:ext uri="{FF2B5EF4-FFF2-40B4-BE49-F238E27FC236}">
                  <a16:creationId xmlns:a16="http://schemas.microsoft.com/office/drawing/2014/main" id="{3829C166-678C-56CD-66A5-F26B56B6C99A}"/>
                </a:ext>
              </a:extLst>
            </p:cNvPr>
            <p:cNvSpPr/>
            <p:nvPr/>
          </p:nvSpPr>
          <p:spPr>
            <a:xfrm>
              <a:off x="75852" y="4578184"/>
              <a:ext cx="12192000" cy="160079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1" i="0" u="none" strike="noStrike" kern="1200" cap="none" spc="0" normalizeH="0" baseline="0" noProof="0">
                <a:ln>
                  <a:noFill/>
                </a:ln>
                <a:solidFill>
                  <a:srgbClr val="FFFFFF"/>
                </a:solidFill>
                <a:effectLst/>
                <a:uLnTx/>
                <a:uFillTx/>
                <a:latin typeface="Graphik" panose="020B0503030202060203" pitchFamily="34" charset="0"/>
                <a:ea typeface="+mn-ea"/>
                <a:cs typeface="+mn-cs"/>
              </a:endParaRPr>
            </a:p>
          </p:txBody>
        </p:sp>
        <p:sp>
          <p:nvSpPr>
            <p:cNvPr id="4" name="Rectangle 3">
              <a:extLst>
                <a:ext uri="{FF2B5EF4-FFF2-40B4-BE49-F238E27FC236}">
                  <a16:creationId xmlns:a16="http://schemas.microsoft.com/office/drawing/2014/main" id="{7E19A088-5E7E-19F4-3007-9C9A9429F308}"/>
                </a:ext>
              </a:extLst>
            </p:cNvPr>
            <p:cNvSpPr/>
            <p:nvPr/>
          </p:nvSpPr>
          <p:spPr>
            <a:xfrm>
              <a:off x="3068077" y="4674851"/>
              <a:ext cx="7923257" cy="14443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Graphik" panose="020B0503030202060203" pitchFamily="34" charset="0"/>
                  <a:ea typeface="+mn-ea"/>
                  <a:cs typeface="+mn-cs"/>
                </a:rPr>
                <a:t>Train entire Pods, i.e. POs, SMs, BAs, Engineers, Testers, etc.</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Graphik" panose="020B0503030202060203" pitchFamily="34" charset="0"/>
                  <a:ea typeface="+mn-ea"/>
                  <a:cs typeface="+mn-cs"/>
                </a:rPr>
                <a:t>Align content and practice to real Pod backlog</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Graphik" panose="020B0503030202060203" pitchFamily="34" charset="0"/>
                  <a:ea typeface="+mn-ea"/>
                  <a:cs typeface="+mn-cs"/>
                </a:rPr>
                <a:t>Use Citizens environments, tools, platforms, and data</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Graphik" panose="020B0503030202060203" pitchFamily="34" charset="0"/>
                  <a:ea typeface="+mn-ea"/>
                  <a:cs typeface="+mn-cs"/>
                </a:rPr>
                <a:t>Measure skills acquisition and learning outcomes</a:t>
              </a:r>
            </a:p>
          </p:txBody>
        </p:sp>
      </p:grpSp>
      <p:grpSp>
        <p:nvGrpSpPr>
          <p:cNvPr id="30" name="Group 29">
            <a:extLst>
              <a:ext uri="{FF2B5EF4-FFF2-40B4-BE49-F238E27FC236}">
                <a16:creationId xmlns:a16="http://schemas.microsoft.com/office/drawing/2014/main" id="{20393BA9-E906-8867-62E8-1FAA2848B9FA}"/>
              </a:ext>
            </a:extLst>
          </p:cNvPr>
          <p:cNvGrpSpPr/>
          <p:nvPr/>
        </p:nvGrpSpPr>
        <p:grpSpPr>
          <a:xfrm>
            <a:off x="3737803" y="4126429"/>
            <a:ext cx="4563688" cy="597860"/>
            <a:chOff x="3899651" y="2735416"/>
            <a:chExt cx="4563688" cy="597860"/>
          </a:xfrm>
        </p:grpSpPr>
        <p:sp>
          <p:nvSpPr>
            <p:cNvPr id="29" name="Isosceles Triangle 28">
              <a:extLst>
                <a:ext uri="{FF2B5EF4-FFF2-40B4-BE49-F238E27FC236}">
                  <a16:creationId xmlns:a16="http://schemas.microsoft.com/office/drawing/2014/main" id="{F3DB2DFB-A5A1-983E-B56F-B18080EB79C9}"/>
                </a:ext>
              </a:extLst>
            </p:cNvPr>
            <p:cNvSpPr/>
            <p:nvPr/>
          </p:nvSpPr>
          <p:spPr>
            <a:xfrm rot="10800000">
              <a:off x="3899651" y="2842825"/>
              <a:ext cx="4563688" cy="490451"/>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7" name="Isosceles Triangle 26">
              <a:extLst>
                <a:ext uri="{FF2B5EF4-FFF2-40B4-BE49-F238E27FC236}">
                  <a16:creationId xmlns:a16="http://schemas.microsoft.com/office/drawing/2014/main" id="{AF44565A-7B72-1D0A-212D-DD66873D31CD}"/>
                </a:ext>
              </a:extLst>
            </p:cNvPr>
            <p:cNvSpPr/>
            <p:nvPr/>
          </p:nvSpPr>
          <p:spPr>
            <a:xfrm rot="10800000">
              <a:off x="3899651" y="2735416"/>
              <a:ext cx="4563688" cy="490451"/>
            </a:xfrm>
            <a:prstGeom prst="triangle">
              <a:avLst/>
            </a:prstGeom>
            <a:solidFill>
              <a:srgbClr val="E8E8E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 name="Title 1">
            <a:extLst>
              <a:ext uri="{FF2B5EF4-FFF2-40B4-BE49-F238E27FC236}">
                <a16:creationId xmlns:a16="http://schemas.microsoft.com/office/drawing/2014/main" id="{1C97B481-C03B-D96F-8633-6C49F5B77031}"/>
              </a:ext>
            </a:extLst>
          </p:cNvPr>
          <p:cNvSpPr>
            <a:spLocks noGrp="1"/>
          </p:cNvSpPr>
          <p:nvPr>
            <p:ph type="title"/>
          </p:nvPr>
        </p:nvSpPr>
        <p:spPr/>
        <p:txBody>
          <a:bodyPr/>
          <a:lstStyle/>
          <a:p>
            <a:r>
              <a:rPr lang="en-US"/>
              <a:t>Goals and Approach of AI Academy Program</a:t>
            </a:r>
          </a:p>
        </p:txBody>
      </p:sp>
      <p:sp>
        <p:nvSpPr>
          <p:cNvPr id="7" name="Text Placeholder 6">
            <a:extLst>
              <a:ext uri="{FF2B5EF4-FFF2-40B4-BE49-F238E27FC236}">
                <a16:creationId xmlns:a16="http://schemas.microsoft.com/office/drawing/2014/main" id="{D38F3499-171B-9D09-EC56-FBC5A9D98249}"/>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1002193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0E4CDC-6A39-CD53-06E2-699F0D13C74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77EF8F0-84B0-D3AD-E2B2-FA38E4BCA034}"/>
              </a:ext>
            </a:extLst>
          </p:cNvPr>
          <p:cNvSpPr>
            <a:spLocks noGrp="1"/>
          </p:cNvSpPr>
          <p:nvPr>
            <p:ph type="title"/>
          </p:nvPr>
        </p:nvSpPr>
        <p:spPr/>
        <p:txBody>
          <a:bodyPr/>
          <a:lstStyle/>
          <a:p>
            <a:r>
              <a:rPr lang="en-US" dirty="0"/>
              <a:t>Tool Resilience: Planning for the Inevitable</a:t>
            </a:r>
          </a:p>
        </p:txBody>
      </p:sp>
      <p:sp>
        <p:nvSpPr>
          <p:cNvPr id="3" name="Text Placeholder 2">
            <a:extLst>
              <a:ext uri="{FF2B5EF4-FFF2-40B4-BE49-F238E27FC236}">
                <a16:creationId xmlns:a16="http://schemas.microsoft.com/office/drawing/2014/main" id="{671C1209-8DEC-6EBB-D9D0-4ACC093E3DBB}"/>
              </a:ext>
            </a:extLst>
          </p:cNvPr>
          <p:cNvSpPr>
            <a:spLocks noGrp="1"/>
          </p:cNvSpPr>
          <p:nvPr>
            <p:ph type="body" sz="quarter" idx="10"/>
          </p:nvPr>
        </p:nvSpPr>
        <p:spPr>
          <a:xfrm>
            <a:off x="384175" y="1231900"/>
            <a:ext cx="4780253" cy="4957763"/>
          </a:xfrm>
        </p:spPr>
        <p:txBody>
          <a:bodyPr/>
          <a:lstStyle/>
          <a:p>
            <a:r>
              <a:rPr lang="en-US" sz="2000" dirty="0"/>
              <a:t>Our experiments illustrate that we need to design agents with redundancies</a:t>
            </a:r>
          </a:p>
          <a:p>
            <a:endParaRPr lang="en-US" sz="2000" dirty="0"/>
          </a:p>
          <a:p>
            <a:r>
              <a:rPr lang="en-US" sz="2000" dirty="0"/>
              <a:t>Create fallback options – like properly caught exceptions in software</a:t>
            </a:r>
            <a:br>
              <a:rPr lang="en-US" sz="2000" dirty="0"/>
            </a:br>
            <a:endParaRPr lang="en-US" sz="2000" dirty="0"/>
          </a:p>
          <a:p>
            <a:r>
              <a:rPr lang="en-US" sz="2000" dirty="0"/>
              <a:t>Design processes that are flexible enough to allow for human intervention</a:t>
            </a:r>
            <a:br>
              <a:rPr lang="en-US" sz="2000" dirty="0"/>
            </a:br>
            <a:endParaRPr lang="en-US" sz="2000" dirty="0"/>
          </a:p>
          <a:p>
            <a:r>
              <a:rPr lang="en-US" sz="2000" dirty="0"/>
              <a:t>Effective deployment of agents lies in fostering a partnership between AI efficiencies and human ingenuity.</a:t>
            </a:r>
            <a:br>
              <a:rPr lang="en-US" sz="2000" dirty="0"/>
            </a:br>
            <a:br>
              <a:rPr lang="en-US" sz="2000" dirty="0"/>
            </a:br>
            <a:endParaRPr lang="en-US" sz="2000" dirty="0"/>
          </a:p>
        </p:txBody>
      </p:sp>
      <p:grpSp>
        <p:nvGrpSpPr>
          <p:cNvPr id="16" name="Group 15">
            <a:extLst>
              <a:ext uri="{FF2B5EF4-FFF2-40B4-BE49-F238E27FC236}">
                <a16:creationId xmlns:a16="http://schemas.microsoft.com/office/drawing/2014/main" id="{1D3D514C-326B-4486-13C5-254C2D0E647B}"/>
              </a:ext>
            </a:extLst>
          </p:cNvPr>
          <p:cNvGrpSpPr/>
          <p:nvPr/>
        </p:nvGrpSpPr>
        <p:grpSpPr>
          <a:xfrm>
            <a:off x="5624538" y="1231900"/>
            <a:ext cx="4802408" cy="4444593"/>
            <a:chOff x="3676762" y="1416570"/>
            <a:chExt cx="4802408" cy="4444593"/>
          </a:xfrm>
        </p:grpSpPr>
        <p:sp>
          <p:nvSpPr>
            <p:cNvPr id="17" name="Shape">
              <a:extLst>
                <a:ext uri="{FF2B5EF4-FFF2-40B4-BE49-F238E27FC236}">
                  <a16:creationId xmlns:a16="http://schemas.microsoft.com/office/drawing/2014/main" id="{F0B7822B-BCF1-1F2F-7081-DDC84861D56B}"/>
                </a:ext>
              </a:extLst>
            </p:cNvPr>
            <p:cNvSpPr/>
            <p:nvPr/>
          </p:nvSpPr>
          <p:spPr>
            <a:xfrm>
              <a:off x="3848037" y="1416570"/>
              <a:ext cx="4447451" cy="4444593"/>
            </a:xfrm>
            <a:custGeom>
              <a:avLst/>
              <a:gdLst/>
              <a:ahLst/>
              <a:cxnLst>
                <a:cxn ang="0">
                  <a:pos x="wd2" y="hd2"/>
                </a:cxn>
                <a:cxn ang="5400000">
                  <a:pos x="wd2" y="hd2"/>
                </a:cxn>
                <a:cxn ang="10800000">
                  <a:pos x="wd2" y="hd2"/>
                </a:cxn>
                <a:cxn ang="16200000">
                  <a:pos x="wd2" y="hd2"/>
                </a:cxn>
              </a:cxnLst>
              <a:rect l="0" t="0" r="r" b="b"/>
              <a:pathLst>
                <a:path w="21600" h="21600" extrusionOk="0">
                  <a:moveTo>
                    <a:pt x="16946" y="12708"/>
                  </a:moveTo>
                  <a:lnTo>
                    <a:pt x="21184" y="12708"/>
                  </a:lnTo>
                  <a:lnTo>
                    <a:pt x="21184" y="7057"/>
                  </a:lnTo>
                  <a:lnTo>
                    <a:pt x="21600" y="7057"/>
                  </a:lnTo>
                  <a:lnTo>
                    <a:pt x="21600" y="21600"/>
                  </a:lnTo>
                  <a:lnTo>
                    <a:pt x="5" y="21600"/>
                  </a:lnTo>
                  <a:lnTo>
                    <a:pt x="5" y="11292"/>
                  </a:lnTo>
                  <a:lnTo>
                    <a:pt x="421" y="11292"/>
                  </a:lnTo>
                  <a:lnTo>
                    <a:pt x="421" y="19769"/>
                  </a:lnTo>
                  <a:lnTo>
                    <a:pt x="3244" y="19769"/>
                  </a:lnTo>
                  <a:lnTo>
                    <a:pt x="3244" y="20185"/>
                  </a:lnTo>
                  <a:lnTo>
                    <a:pt x="421" y="20185"/>
                  </a:lnTo>
                  <a:lnTo>
                    <a:pt x="421" y="21179"/>
                  </a:lnTo>
                  <a:lnTo>
                    <a:pt x="5652" y="21179"/>
                  </a:lnTo>
                  <a:lnTo>
                    <a:pt x="5652" y="19764"/>
                  </a:lnTo>
                  <a:lnTo>
                    <a:pt x="7482" y="19764"/>
                  </a:lnTo>
                  <a:lnTo>
                    <a:pt x="7482" y="20180"/>
                  </a:lnTo>
                  <a:lnTo>
                    <a:pt x="6068" y="20180"/>
                  </a:lnTo>
                  <a:lnTo>
                    <a:pt x="6068" y="21175"/>
                  </a:lnTo>
                  <a:lnTo>
                    <a:pt x="11299" y="21175"/>
                  </a:lnTo>
                  <a:lnTo>
                    <a:pt x="11299" y="18765"/>
                  </a:lnTo>
                  <a:lnTo>
                    <a:pt x="8891" y="18765"/>
                  </a:lnTo>
                  <a:lnTo>
                    <a:pt x="8891" y="19760"/>
                  </a:lnTo>
                  <a:lnTo>
                    <a:pt x="10301" y="19760"/>
                  </a:lnTo>
                  <a:lnTo>
                    <a:pt x="10301" y="20176"/>
                  </a:lnTo>
                  <a:lnTo>
                    <a:pt x="8471" y="20176"/>
                  </a:lnTo>
                  <a:lnTo>
                    <a:pt x="8471" y="18761"/>
                  </a:lnTo>
                  <a:lnTo>
                    <a:pt x="4654" y="18761"/>
                  </a:lnTo>
                  <a:lnTo>
                    <a:pt x="4654" y="20176"/>
                  </a:lnTo>
                  <a:lnTo>
                    <a:pt x="4238" y="20176"/>
                  </a:lnTo>
                  <a:lnTo>
                    <a:pt x="4238" y="18761"/>
                  </a:lnTo>
                  <a:lnTo>
                    <a:pt x="1414" y="18761"/>
                  </a:lnTo>
                  <a:lnTo>
                    <a:pt x="1414" y="11279"/>
                  </a:lnTo>
                  <a:lnTo>
                    <a:pt x="1830" y="11279"/>
                  </a:lnTo>
                  <a:lnTo>
                    <a:pt x="1830" y="14104"/>
                  </a:lnTo>
                  <a:lnTo>
                    <a:pt x="4654" y="14104"/>
                  </a:lnTo>
                  <a:lnTo>
                    <a:pt x="4654" y="15519"/>
                  </a:lnTo>
                  <a:lnTo>
                    <a:pt x="5647" y="15519"/>
                  </a:lnTo>
                  <a:lnTo>
                    <a:pt x="5647" y="10298"/>
                  </a:lnTo>
                  <a:lnTo>
                    <a:pt x="4654" y="10298"/>
                  </a:lnTo>
                  <a:lnTo>
                    <a:pt x="4654" y="13124"/>
                  </a:lnTo>
                  <a:lnTo>
                    <a:pt x="4238" y="13124"/>
                  </a:lnTo>
                  <a:lnTo>
                    <a:pt x="4238" y="9882"/>
                  </a:lnTo>
                  <a:lnTo>
                    <a:pt x="6068" y="9882"/>
                  </a:lnTo>
                  <a:lnTo>
                    <a:pt x="6068" y="15949"/>
                  </a:lnTo>
                  <a:lnTo>
                    <a:pt x="4238" y="15949"/>
                  </a:lnTo>
                  <a:lnTo>
                    <a:pt x="4238" y="14534"/>
                  </a:lnTo>
                  <a:lnTo>
                    <a:pt x="1830" y="14534"/>
                  </a:lnTo>
                  <a:lnTo>
                    <a:pt x="1830" y="18354"/>
                  </a:lnTo>
                  <a:lnTo>
                    <a:pt x="8471" y="18354"/>
                  </a:lnTo>
                  <a:lnTo>
                    <a:pt x="8471" y="16939"/>
                  </a:lnTo>
                  <a:lnTo>
                    <a:pt x="13125" y="16939"/>
                  </a:lnTo>
                  <a:lnTo>
                    <a:pt x="13125" y="19764"/>
                  </a:lnTo>
                  <a:lnTo>
                    <a:pt x="14118" y="19764"/>
                  </a:lnTo>
                  <a:lnTo>
                    <a:pt x="14118" y="15944"/>
                  </a:lnTo>
                  <a:lnTo>
                    <a:pt x="8471" y="15944"/>
                  </a:lnTo>
                  <a:lnTo>
                    <a:pt x="8471" y="15528"/>
                  </a:lnTo>
                  <a:lnTo>
                    <a:pt x="11294" y="15528"/>
                  </a:lnTo>
                  <a:lnTo>
                    <a:pt x="11294" y="10298"/>
                  </a:lnTo>
                  <a:lnTo>
                    <a:pt x="8471" y="10298"/>
                  </a:lnTo>
                  <a:lnTo>
                    <a:pt x="8471" y="9882"/>
                  </a:lnTo>
                  <a:lnTo>
                    <a:pt x="9880" y="9882"/>
                  </a:lnTo>
                  <a:lnTo>
                    <a:pt x="9880" y="6062"/>
                  </a:lnTo>
                  <a:lnTo>
                    <a:pt x="8887" y="6062"/>
                  </a:lnTo>
                  <a:lnTo>
                    <a:pt x="8887" y="7477"/>
                  </a:lnTo>
                  <a:lnTo>
                    <a:pt x="8471" y="7477"/>
                  </a:lnTo>
                  <a:lnTo>
                    <a:pt x="8471" y="3242"/>
                  </a:lnTo>
                  <a:lnTo>
                    <a:pt x="6063" y="3242"/>
                  </a:lnTo>
                  <a:lnTo>
                    <a:pt x="6063" y="4236"/>
                  </a:lnTo>
                  <a:lnTo>
                    <a:pt x="7477" y="4236"/>
                  </a:lnTo>
                  <a:lnTo>
                    <a:pt x="7477" y="4652"/>
                  </a:lnTo>
                  <a:lnTo>
                    <a:pt x="6063" y="4652"/>
                  </a:lnTo>
                  <a:lnTo>
                    <a:pt x="6063" y="7477"/>
                  </a:lnTo>
                  <a:lnTo>
                    <a:pt x="5647" y="7477"/>
                  </a:lnTo>
                  <a:lnTo>
                    <a:pt x="5647" y="6062"/>
                  </a:lnTo>
                  <a:lnTo>
                    <a:pt x="4233" y="6062"/>
                  </a:lnTo>
                  <a:lnTo>
                    <a:pt x="4233" y="5646"/>
                  </a:lnTo>
                  <a:lnTo>
                    <a:pt x="5647" y="5646"/>
                  </a:lnTo>
                  <a:lnTo>
                    <a:pt x="5647" y="3237"/>
                  </a:lnTo>
                  <a:lnTo>
                    <a:pt x="1830" y="3237"/>
                  </a:lnTo>
                  <a:lnTo>
                    <a:pt x="1830" y="6062"/>
                  </a:lnTo>
                  <a:lnTo>
                    <a:pt x="1414" y="6062"/>
                  </a:lnTo>
                  <a:lnTo>
                    <a:pt x="1414" y="2821"/>
                  </a:lnTo>
                  <a:lnTo>
                    <a:pt x="8471" y="2821"/>
                  </a:lnTo>
                  <a:lnTo>
                    <a:pt x="8471" y="1406"/>
                  </a:lnTo>
                  <a:lnTo>
                    <a:pt x="11710" y="1406"/>
                  </a:lnTo>
                  <a:lnTo>
                    <a:pt x="11710" y="3237"/>
                  </a:lnTo>
                  <a:lnTo>
                    <a:pt x="11294" y="3237"/>
                  </a:lnTo>
                  <a:lnTo>
                    <a:pt x="11294" y="1822"/>
                  </a:lnTo>
                  <a:lnTo>
                    <a:pt x="8887" y="1822"/>
                  </a:lnTo>
                  <a:lnTo>
                    <a:pt x="8887" y="5642"/>
                  </a:lnTo>
                  <a:lnTo>
                    <a:pt x="13120" y="5642"/>
                  </a:lnTo>
                  <a:lnTo>
                    <a:pt x="13120" y="7473"/>
                  </a:lnTo>
                  <a:lnTo>
                    <a:pt x="12704" y="7473"/>
                  </a:lnTo>
                  <a:lnTo>
                    <a:pt x="12704" y="6058"/>
                  </a:lnTo>
                  <a:lnTo>
                    <a:pt x="10296" y="6058"/>
                  </a:lnTo>
                  <a:lnTo>
                    <a:pt x="10296" y="9877"/>
                  </a:lnTo>
                  <a:lnTo>
                    <a:pt x="15528" y="9877"/>
                  </a:lnTo>
                  <a:lnTo>
                    <a:pt x="15528" y="8462"/>
                  </a:lnTo>
                  <a:lnTo>
                    <a:pt x="17358" y="8462"/>
                  </a:lnTo>
                  <a:lnTo>
                    <a:pt x="17358" y="8879"/>
                  </a:lnTo>
                  <a:lnTo>
                    <a:pt x="15943" y="8879"/>
                  </a:lnTo>
                  <a:lnTo>
                    <a:pt x="15943" y="10294"/>
                  </a:lnTo>
                  <a:lnTo>
                    <a:pt x="14529" y="10294"/>
                  </a:lnTo>
                  <a:lnTo>
                    <a:pt x="14529" y="11709"/>
                  </a:lnTo>
                  <a:lnTo>
                    <a:pt x="14113" y="11709"/>
                  </a:lnTo>
                  <a:lnTo>
                    <a:pt x="14113" y="10298"/>
                  </a:lnTo>
                  <a:lnTo>
                    <a:pt x="11715" y="10298"/>
                  </a:lnTo>
                  <a:lnTo>
                    <a:pt x="11715" y="15533"/>
                  </a:lnTo>
                  <a:lnTo>
                    <a:pt x="14123" y="15533"/>
                  </a:lnTo>
                  <a:lnTo>
                    <a:pt x="14123" y="14118"/>
                  </a:lnTo>
                  <a:lnTo>
                    <a:pt x="14539" y="14118"/>
                  </a:lnTo>
                  <a:lnTo>
                    <a:pt x="14539" y="19769"/>
                  </a:lnTo>
                  <a:lnTo>
                    <a:pt x="16946" y="19769"/>
                  </a:lnTo>
                  <a:lnTo>
                    <a:pt x="16946" y="18358"/>
                  </a:lnTo>
                  <a:lnTo>
                    <a:pt x="17362" y="18358"/>
                  </a:lnTo>
                  <a:lnTo>
                    <a:pt x="17362" y="20190"/>
                  </a:lnTo>
                  <a:lnTo>
                    <a:pt x="12709" y="20190"/>
                  </a:lnTo>
                  <a:lnTo>
                    <a:pt x="12709" y="17364"/>
                  </a:lnTo>
                  <a:lnTo>
                    <a:pt x="8891" y="17364"/>
                  </a:lnTo>
                  <a:lnTo>
                    <a:pt x="8891" y="18358"/>
                  </a:lnTo>
                  <a:lnTo>
                    <a:pt x="11715" y="18358"/>
                  </a:lnTo>
                  <a:lnTo>
                    <a:pt x="11715" y="21184"/>
                  </a:lnTo>
                  <a:lnTo>
                    <a:pt x="18356" y="21184"/>
                  </a:lnTo>
                  <a:lnTo>
                    <a:pt x="18356" y="17364"/>
                  </a:lnTo>
                  <a:lnTo>
                    <a:pt x="15948" y="17364"/>
                  </a:lnTo>
                  <a:lnTo>
                    <a:pt x="15948" y="18775"/>
                  </a:lnTo>
                  <a:lnTo>
                    <a:pt x="15532" y="18775"/>
                  </a:lnTo>
                  <a:lnTo>
                    <a:pt x="15532" y="13124"/>
                  </a:lnTo>
                  <a:lnTo>
                    <a:pt x="13125" y="13124"/>
                  </a:lnTo>
                  <a:lnTo>
                    <a:pt x="13125" y="14539"/>
                  </a:lnTo>
                  <a:lnTo>
                    <a:pt x="12709" y="14539"/>
                  </a:lnTo>
                  <a:lnTo>
                    <a:pt x="12709" y="11297"/>
                  </a:lnTo>
                  <a:lnTo>
                    <a:pt x="13125" y="11297"/>
                  </a:lnTo>
                  <a:lnTo>
                    <a:pt x="13125" y="12712"/>
                  </a:lnTo>
                  <a:lnTo>
                    <a:pt x="15532" y="12712"/>
                  </a:lnTo>
                  <a:lnTo>
                    <a:pt x="15532" y="11297"/>
                  </a:lnTo>
                  <a:lnTo>
                    <a:pt x="16946" y="11297"/>
                  </a:lnTo>
                  <a:lnTo>
                    <a:pt x="16946" y="9882"/>
                  </a:lnTo>
                  <a:lnTo>
                    <a:pt x="18360" y="9882"/>
                  </a:lnTo>
                  <a:lnTo>
                    <a:pt x="18360" y="7473"/>
                  </a:lnTo>
                  <a:lnTo>
                    <a:pt x="14543" y="7473"/>
                  </a:lnTo>
                  <a:lnTo>
                    <a:pt x="14543" y="8888"/>
                  </a:lnTo>
                  <a:lnTo>
                    <a:pt x="11299" y="8888"/>
                  </a:lnTo>
                  <a:lnTo>
                    <a:pt x="11299" y="7057"/>
                  </a:lnTo>
                  <a:lnTo>
                    <a:pt x="11715" y="7057"/>
                  </a:lnTo>
                  <a:lnTo>
                    <a:pt x="11715" y="8472"/>
                  </a:lnTo>
                  <a:lnTo>
                    <a:pt x="14123" y="8472"/>
                  </a:lnTo>
                  <a:lnTo>
                    <a:pt x="14123" y="4652"/>
                  </a:lnTo>
                  <a:lnTo>
                    <a:pt x="9890" y="4652"/>
                  </a:lnTo>
                  <a:lnTo>
                    <a:pt x="9890" y="2821"/>
                  </a:lnTo>
                  <a:lnTo>
                    <a:pt x="10306" y="2821"/>
                  </a:lnTo>
                  <a:lnTo>
                    <a:pt x="10306" y="4231"/>
                  </a:lnTo>
                  <a:lnTo>
                    <a:pt x="12713" y="4231"/>
                  </a:lnTo>
                  <a:lnTo>
                    <a:pt x="12713" y="1406"/>
                  </a:lnTo>
                  <a:lnTo>
                    <a:pt x="17367" y="1406"/>
                  </a:lnTo>
                  <a:lnTo>
                    <a:pt x="17367" y="3237"/>
                  </a:lnTo>
                  <a:lnTo>
                    <a:pt x="15953" y="3237"/>
                  </a:lnTo>
                  <a:lnTo>
                    <a:pt x="15953" y="6062"/>
                  </a:lnTo>
                  <a:lnTo>
                    <a:pt x="15537" y="6062"/>
                  </a:lnTo>
                  <a:lnTo>
                    <a:pt x="15537" y="3237"/>
                  </a:lnTo>
                  <a:lnTo>
                    <a:pt x="14123" y="3237"/>
                  </a:lnTo>
                  <a:lnTo>
                    <a:pt x="14123" y="2821"/>
                  </a:lnTo>
                  <a:lnTo>
                    <a:pt x="16946" y="2821"/>
                  </a:lnTo>
                  <a:lnTo>
                    <a:pt x="16946" y="1827"/>
                  </a:lnTo>
                  <a:lnTo>
                    <a:pt x="13129" y="1827"/>
                  </a:lnTo>
                  <a:lnTo>
                    <a:pt x="13129" y="4236"/>
                  </a:lnTo>
                  <a:lnTo>
                    <a:pt x="14543" y="4236"/>
                  </a:lnTo>
                  <a:lnTo>
                    <a:pt x="14543" y="7061"/>
                  </a:lnTo>
                  <a:lnTo>
                    <a:pt x="20191" y="7061"/>
                  </a:lnTo>
                  <a:lnTo>
                    <a:pt x="20191" y="11718"/>
                  </a:lnTo>
                  <a:lnTo>
                    <a:pt x="18360" y="11718"/>
                  </a:lnTo>
                  <a:lnTo>
                    <a:pt x="18360" y="11302"/>
                  </a:lnTo>
                  <a:lnTo>
                    <a:pt x="19775" y="11302"/>
                  </a:lnTo>
                  <a:lnTo>
                    <a:pt x="19775" y="7482"/>
                  </a:lnTo>
                  <a:lnTo>
                    <a:pt x="18781" y="7482"/>
                  </a:lnTo>
                  <a:lnTo>
                    <a:pt x="18781" y="10308"/>
                  </a:lnTo>
                  <a:lnTo>
                    <a:pt x="17367" y="10308"/>
                  </a:lnTo>
                  <a:lnTo>
                    <a:pt x="17367" y="11723"/>
                  </a:lnTo>
                  <a:lnTo>
                    <a:pt x="15953" y="11723"/>
                  </a:lnTo>
                  <a:lnTo>
                    <a:pt x="15953" y="16957"/>
                  </a:lnTo>
                  <a:lnTo>
                    <a:pt x="18776" y="16957"/>
                  </a:lnTo>
                  <a:lnTo>
                    <a:pt x="18776" y="19783"/>
                  </a:lnTo>
                  <a:lnTo>
                    <a:pt x="20191" y="19783"/>
                  </a:lnTo>
                  <a:lnTo>
                    <a:pt x="20191" y="20199"/>
                  </a:lnTo>
                  <a:lnTo>
                    <a:pt x="18776" y="20199"/>
                  </a:lnTo>
                  <a:lnTo>
                    <a:pt x="18776" y="21193"/>
                  </a:lnTo>
                  <a:lnTo>
                    <a:pt x="21184" y="21193"/>
                  </a:lnTo>
                  <a:lnTo>
                    <a:pt x="21184" y="14548"/>
                  </a:lnTo>
                  <a:lnTo>
                    <a:pt x="18360" y="14548"/>
                  </a:lnTo>
                  <a:lnTo>
                    <a:pt x="18360" y="14132"/>
                  </a:lnTo>
                  <a:lnTo>
                    <a:pt x="21184" y="14132"/>
                  </a:lnTo>
                  <a:lnTo>
                    <a:pt x="21184" y="13138"/>
                  </a:lnTo>
                  <a:lnTo>
                    <a:pt x="17367" y="13138"/>
                  </a:lnTo>
                  <a:lnTo>
                    <a:pt x="17367" y="15547"/>
                  </a:lnTo>
                  <a:lnTo>
                    <a:pt x="20191" y="15547"/>
                  </a:lnTo>
                  <a:lnTo>
                    <a:pt x="20191" y="18788"/>
                  </a:lnTo>
                  <a:lnTo>
                    <a:pt x="19775" y="18788"/>
                  </a:lnTo>
                  <a:lnTo>
                    <a:pt x="19775" y="15963"/>
                  </a:lnTo>
                  <a:lnTo>
                    <a:pt x="16951" y="15963"/>
                  </a:lnTo>
                  <a:lnTo>
                    <a:pt x="16951" y="12708"/>
                  </a:lnTo>
                  <a:close/>
                  <a:moveTo>
                    <a:pt x="5" y="10298"/>
                  </a:moveTo>
                  <a:lnTo>
                    <a:pt x="421" y="10298"/>
                  </a:lnTo>
                  <a:lnTo>
                    <a:pt x="421" y="7473"/>
                  </a:lnTo>
                  <a:lnTo>
                    <a:pt x="4238" y="7473"/>
                  </a:lnTo>
                  <a:lnTo>
                    <a:pt x="4238" y="8467"/>
                  </a:lnTo>
                  <a:lnTo>
                    <a:pt x="2824" y="8467"/>
                  </a:lnTo>
                  <a:lnTo>
                    <a:pt x="2824" y="9882"/>
                  </a:lnTo>
                  <a:lnTo>
                    <a:pt x="1830" y="9882"/>
                  </a:lnTo>
                  <a:lnTo>
                    <a:pt x="1830" y="8467"/>
                  </a:lnTo>
                  <a:lnTo>
                    <a:pt x="1414" y="8467"/>
                  </a:lnTo>
                  <a:lnTo>
                    <a:pt x="1414" y="10298"/>
                  </a:lnTo>
                  <a:lnTo>
                    <a:pt x="2824" y="10298"/>
                  </a:lnTo>
                  <a:lnTo>
                    <a:pt x="2824" y="13124"/>
                  </a:lnTo>
                  <a:lnTo>
                    <a:pt x="3240" y="13124"/>
                  </a:lnTo>
                  <a:lnTo>
                    <a:pt x="3240" y="8883"/>
                  </a:lnTo>
                  <a:lnTo>
                    <a:pt x="7057" y="8883"/>
                  </a:lnTo>
                  <a:lnTo>
                    <a:pt x="7057" y="11709"/>
                  </a:lnTo>
                  <a:lnTo>
                    <a:pt x="9880" y="11709"/>
                  </a:lnTo>
                  <a:lnTo>
                    <a:pt x="9880" y="14118"/>
                  </a:lnTo>
                  <a:lnTo>
                    <a:pt x="7473" y="14118"/>
                  </a:lnTo>
                  <a:lnTo>
                    <a:pt x="7473" y="13124"/>
                  </a:lnTo>
                  <a:lnTo>
                    <a:pt x="8887" y="13124"/>
                  </a:lnTo>
                  <a:lnTo>
                    <a:pt x="8887" y="12708"/>
                  </a:lnTo>
                  <a:lnTo>
                    <a:pt x="7057" y="12708"/>
                  </a:lnTo>
                  <a:lnTo>
                    <a:pt x="7057" y="16948"/>
                  </a:lnTo>
                  <a:lnTo>
                    <a:pt x="3240" y="16948"/>
                  </a:lnTo>
                  <a:lnTo>
                    <a:pt x="3240" y="15533"/>
                  </a:lnTo>
                  <a:lnTo>
                    <a:pt x="2824" y="15533"/>
                  </a:lnTo>
                  <a:lnTo>
                    <a:pt x="2824" y="17364"/>
                  </a:lnTo>
                  <a:lnTo>
                    <a:pt x="7477" y="17364"/>
                  </a:lnTo>
                  <a:lnTo>
                    <a:pt x="7477" y="14539"/>
                  </a:lnTo>
                  <a:lnTo>
                    <a:pt x="10301" y="14539"/>
                  </a:lnTo>
                  <a:lnTo>
                    <a:pt x="10301" y="11297"/>
                  </a:lnTo>
                  <a:lnTo>
                    <a:pt x="7477" y="11297"/>
                  </a:lnTo>
                  <a:lnTo>
                    <a:pt x="7477" y="8888"/>
                  </a:lnTo>
                  <a:lnTo>
                    <a:pt x="8891" y="8888"/>
                  </a:lnTo>
                  <a:lnTo>
                    <a:pt x="8891" y="8472"/>
                  </a:lnTo>
                  <a:lnTo>
                    <a:pt x="7477" y="8472"/>
                  </a:lnTo>
                  <a:lnTo>
                    <a:pt x="7477" y="5646"/>
                  </a:lnTo>
                  <a:lnTo>
                    <a:pt x="7061" y="5646"/>
                  </a:lnTo>
                  <a:lnTo>
                    <a:pt x="7061" y="8472"/>
                  </a:lnTo>
                  <a:lnTo>
                    <a:pt x="4654" y="8472"/>
                  </a:lnTo>
                  <a:lnTo>
                    <a:pt x="4654" y="7057"/>
                  </a:lnTo>
                  <a:lnTo>
                    <a:pt x="3240" y="7057"/>
                  </a:lnTo>
                  <a:lnTo>
                    <a:pt x="3240" y="4647"/>
                  </a:lnTo>
                  <a:lnTo>
                    <a:pt x="4654" y="4647"/>
                  </a:lnTo>
                  <a:lnTo>
                    <a:pt x="4654" y="4231"/>
                  </a:lnTo>
                  <a:lnTo>
                    <a:pt x="2824" y="4231"/>
                  </a:lnTo>
                  <a:lnTo>
                    <a:pt x="2824" y="7057"/>
                  </a:lnTo>
                  <a:lnTo>
                    <a:pt x="416" y="7057"/>
                  </a:lnTo>
                  <a:lnTo>
                    <a:pt x="416" y="412"/>
                  </a:lnTo>
                  <a:lnTo>
                    <a:pt x="7057" y="412"/>
                  </a:lnTo>
                  <a:lnTo>
                    <a:pt x="7057" y="1406"/>
                  </a:lnTo>
                  <a:lnTo>
                    <a:pt x="1409" y="1406"/>
                  </a:lnTo>
                  <a:lnTo>
                    <a:pt x="1409" y="1822"/>
                  </a:lnTo>
                  <a:lnTo>
                    <a:pt x="7473" y="1822"/>
                  </a:lnTo>
                  <a:lnTo>
                    <a:pt x="7473" y="407"/>
                  </a:lnTo>
                  <a:lnTo>
                    <a:pt x="18351" y="407"/>
                  </a:lnTo>
                  <a:lnTo>
                    <a:pt x="18351" y="4227"/>
                  </a:lnTo>
                  <a:lnTo>
                    <a:pt x="16937" y="4227"/>
                  </a:lnTo>
                  <a:lnTo>
                    <a:pt x="16937" y="6058"/>
                  </a:lnTo>
                  <a:lnTo>
                    <a:pt x="20177" y="6058"/>
                  </a:lnTo>
                  <a:lnTo>
                    <a:pt x="20177" y="5642"/>
                  </a:lnTo>
                  <a:lnTo>
                    <a:pt x="17353" y="5642"/>
                  </a:lnTo>
                  <a:lnTo>
                    <a:pt x="17353" y="4647"/>
                  </a:lnTo>
                  <a:lnTo>
                    <a:pt x="18767" y="4647"/>
                  </a:lnTo>
                  <a:lnTo>
                    <a:pt x="18767" y="1822"/>
                  </a:lnTo>
                  <a:lnTo>
                    <a:pt x="20181" y="1822"/>
                  </a:lnTo>
                  <a:lnTo>
                    <a:pt x="20181" y="1406"/>
                  </a:lnTo>
                  <a:lnTo>
                    <a:pt x="18767" y="1406"/>
                  </a:lnTo>
                  <a:lnTo>
                    <a:pt x="18767" y="412"/>
                  </a:lnTo>
                  <a:lnTo>
                    <a:pt x="21175" y="412"/>
                  </a:lnTo>
                  <a:lnTo>
                    <a:pt x="21175" y="4231"/>
                  </a:lnTo>
                  <a:lnTo>
                    <a:pt x="20181" y="4231"/>
                  </a:lnTo>
                  <a:lnTo>
                    <a:pt x="20181" y="2821"/>
                  </a:lnTo>
                  <a:lnTo>
                    <a:pt x="19765" y="2821"/>
                  </a:lnTo>
                  <a:lnTo>
                    <a:pt x="19765" y="4652"/>
                  </a:lnTo>
                  <a:lnTo>
                    <a:pt x="21179" y="4652"/>
                  </a:lnTo>
                  <a:lnTo>
                    <a:pt x="21179" y="6067"/>
                  </a:lnTo>
                  <a:lnTo>
                    <a:pt x="21595" y="6067"/>
                  </a:lnTo>
                  <a:lnTo>
                    <a:pt x="21595" y="0"/>
                  </a:lnTo>
                  <a:lnTo>
                    <a:pt x="0" y="0"/>
                  </a:lnTo>
                  <a:lnTo>
                    <a:pt x="0" y="10298"/>
                  </a:lnTo>
                  <a:close/>
                </a:path>
              </a:pathLst>
            </a:custGeom>
            <a:solidFill>
              <a:schemeClr val="tx1"/>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18" name="Shape">
              <a:extLst>
                <a:ext uri="{FF2B5EF4-FFF2-40B4-BE49-F238E27FC236}">
                  <a16:creationId xmlns:a16="http://schemas.microsoft.com/office/drawing/2014/main" id="{BFFC17B5-1016-684B-4081-E3C516CADD8E}"/>
                </a:ext>
              </a:extLst>
            </p:cNvPr>
            <p:cNvSpPr/>
            <p:nvPr/>
          </p:nvSpPr>
          <p:spPr>
            <a:xfrm>
              <a:off x="3676762" y="1568814"/>
              <a:ext cx="4802408" cy="3601817"/>
            </a:xfrm>
            <a:custGeom>
              <a:avLst/>
              <a:gdLst/>
              <a:ahLst/>
              <a:cxnLst>
                <a:cxn ang="0">
                  <a:pos x="wd2" y="hd2"/>
                </a:cxn>
                <a:cxn ang="5400000">
                  <a:pos x="wd2" y="hd2"/>
                </a:cxn>
                <a:cxn ang="10800000">
                  <a:pos x="wd2" y="hd2"/>
                </a:cxn>
                <a:cxn ang="16200000">
                  <a:pos x="wd2" y="hd2"/>
                </a:cxn>
              </a:cxnLst>
              <a:rect l="0" t="0" r="r" b="b"/>
              <a:pathLst>
                <a:path w="21596" h="21573" extrusionOk="0">
                  <a:moveTo>
                    <a:pt x="4326" y="21573"/>
                  </a:moveTo>
                  <a:cubicBezTo>
                    <a:pt x="4039" y="21573"/>
                    <a:pt x="3753" y="21567"/>
                    <a:pt x="3466" y="21556"/>
                  </a:cubicBezTo>
                  <a:cubicBezTo>
                    <a:pt x="3325" y="21550"/>
                    <a:pt x="3025" y="21539"/>
                    <a:pt x="2858" y="21242"/>
                  </a:cubicBezTo>
                  <a:cubicBezTo>
                    <a:pt x="2756" y="21060"/>
                    <a:pt x="2743" y="20849"/>
                    <a:pt x="2734" y="20690"/>
                  </a:cubicBezTo>
                  <a:lnTo>
                    <a:pt x="2674" y="19658"/>
                  </a:lnTo>
                  <a:cubicBezTo>
                    <a:pt x="2649" y="19179"/>
                    <a:pt x="2610" y="18524"/>
                    <a:pt x="2854" y="17994"/>
                  </a:cubicBezTo>
                  <a:cubicBezTo>
                    <a:pt x="3004" y="17669"/>
                    <a:pt x="3286" y="17441"/>
                    <a:pt x="3577" y="17413"/>
                  </a:cubicBezTo>
                  <a:cubicBezTo>
                    <a:pt x="3812" y="17390"/>
                    <a:pt x="4014" y="17498"/>
                    <a:pt x="4155" y="17715"/>
                  </a:cubicBezTo>
                  <a:cubicBezTo>
                    <a:pt x="4296" y="17937"/>
                    <a:pt x="4335" y="18210"/>
                    <a:pt x="4369" y="18456"/>
                  </a:cubicBezTo>
                  <a:cubicBezTo>
                    <a:pt x="4399" y="18672"/>
                    <a:pt x="4424" y="18860"/>
                    <a:pt x="4510" y="18957"/>
                  </a:cubicBezTo>
                  <a:cubicBezTo>
                    <a:pt x="4574" y="19031"/>
                    <a:pt x="4677" y="19065"/>
                    <a:pt x="4771" y="19094"/>
                  </a:cubicBezTo>
                  <a:cubicBezTo>
                    <a:pt x="5263" y="19231"/>
                    <a:pt x="5764" y="19265"/>
                    <a:pt x="6260" y="19179"/>
                  </a:cubicBezTo>
                  <a:cubicBezTo>
                    <a:pt x="6350" y="19162"/>
                    <a:pt x="6457" y="19139"/>
                    <a:pt x="6495" y="19077"/>
                  </a:cubicBezTo>
                  <a:cubicBezTo>
                    <a:pt x="6530" y="19020"/>
                    <a:pt x="6538" y="18889"/>
                    <a:pt x="6542" y="18792"/>
                  </a:cubicBezTo>
                  <a:cubicBezTo>
                    <a:pt x="6675" y="16467"/>
                    <a:pt x="6705" y="14107"/>
                    <a:pt x="6628" y="11776"/>
                  </a:cubicBezTo>
                  <a:cubicBezTo>
                    <a:pt x="6619" y="11531"/>
                    <a:pt x="6602" y="11280"/>
                    <a:pt x="6500" y="11155"/>
                  </a:cubicBezTo>
                  <a:cubicBezTo>
                    <a:pt x="6431" y="11069"/>
                    <a:pt x="6316" y="11035"/>
                    <a:pt x="6204" y="11007"/>
                  </a:cubicBezTo>
                  <a:cubicBezTo>
                    <a:pt x="5789" y="10898"/>
                    <a:pt x="5366" y="10847"/>
                    <a:pt x="4942" y="10847"/>
                  </a:cubicBezTo>
                  <a:cubicBezTo>
                    <a:pt x="4848" y="10847"/>
                    <a:pt x="4750" y="10853"/>
                    <a:pt x="4690" y="10904"/>
                  </a:cubicBezTo>
                  <a:cubicBezTo>
                    <a:pt x="4557" y="11007"/>
                    <a:pt x="4544" y="11332"/>
                    <a:pt x="4544" y="11599"/>
                  </a:cubicBezTo>
                  <a:cubicBezTo>
                    <a:pt x="4548" y="12426"/>
                    <a:pt x="4557" y="13258"/>
                    <a:pt x="4561" y="14084"/>
                  </a:cubicBezTo>
                  <a:cubicBezTo>
                    <a:pt x="4566" y="14540"/>
                    <a:pt x="4566" y="15104"/>
                    <a:pt x="4377" y="15595"/>
                  </a:cubicBezTo>
                  <a:cubicBezTo>
                    <a:pt x="4176" y="16113"/>
                    <a:pt x="3697" y="16506"/>
                    <a:pt x="3248" y="16273"/>
                  </a:cubicBezTo>
                  <a:cubicBezTo>
                    <a:pt x="2790" y="16033"/>
                    <a:pt x="2606" y="15287"/>
                    <a:pt x="2747" y="14272"/>
                  </a:cubicBezTo>
                  <a:cubicBezTo>
                    <a:pt x="2833" y="13668"/>
                    <a:pt x="2880" y="13018"/>
                    <a:pt x="2584" y="12762"/>
                  </a:cubicBezTo>
                  <a:cubicBezTo>
                    <a:pt x="2448" y="12642"/>
                    <a:pt x="2264" y="12631"/>
                    <a:pt x="2032" y="12631"/>
                  </a:cubicBezTo>
                  <a:lnTo>
                    <a:pt x="201" y="12625"/>
                  </a:lnTo>
                  <a:cubicBezTo>
                    <a:pt x="90" y="12625"/>
                    <a:pt x="0" y="12506"/>
                    <a:pt x="0" y="12357"/>
                  </a:cubicBezTo>
                  <a:cubicBezTo>
                    <a:pt x="0" y="12209"/>
                    <a:pt x="90" y="12089"/>
                    <a:pt x="201" y="12089"/>
                  </a:cubicBezTo>
                  <a:cubicBezTo>
                    <a:pt x="201" y="12089"/>
                    <a:pt x="201" y="12089"/>
                    <a:pt x="201" y="12089"/>
                  </a:cubicBezTo>
                  <a:lnTo>
                    <a:pt x="2032" y="12095"/>
                  </a:lnTo>
                  <a:cubicBezTo>
                    <a:pt x="2255" y="12095"/>
                    <a:pt x="2559" y="12095"/>
                    <a:pt x="2803" y="12312"/>
                  </a:cubicBezTo>
                  <a:cubicBezTo>
                    <a:pt x="3359" y="12802"/>
                    <a:pt x="3205" y="13902"/>
                    <a:pt x="3141" y="14369"/>
                  </a:cubicBezTo>
                  <a:cubicBezTo>
                    <a:pt x="3059" y="14945"/>
                    <a:pt x="3085" y="15612"/>
                    <a:pt x="3393" y="15771"/>
                  </a:cubicBezTo>
                  <a:cubicBezTo>
                    <a:pt x="3620" y="15891"/>
                    <a:pt x="3898" y="15646"/>
                    <a:pt x="4018" y="15344"/>
                  </a:cubicBezTo>
                  <a:cubicBezTo>
                    <a:pt x="4163" y="14973"/>
                    <a:pt x="4159" y="14500"/>
                    <a:pt x="4159" y="14084"/>
                  </a:cubicBezTo>
                  <a:cubicBezTo>
                    <a:pt x="4155" y="13258"/>
                    <a:pt x="4151" y="12426"/>
                    <a:pt x="4142" y="11599"/>
                  </a:cubicBezTo>
                  <a:cubicBezTo>
                    <a:pt x="4142" y="11332"/>
                    <a:pt x="4133" y="10710"/>
                    <a:pt x="4484" y="10437"/>
                  </a:cubicBezTo>
                  <a:cubicBezTo>
                    <a:pt x="4630" y="10323"/>
                    <a:pt x="4797" y="10311"/>
                    <a:pt x="4938" y="10306"/>
                  </a:cubicBezTo>
                  <a:cubicBezTo>
                    <a:pt x="5387" y="10300"/>
                    <a:pt x="5841" y="10357"/>
                    <a:pt x="6281" y="10471"/>
                  </a:cubicBezTo>
                  <a:cubicBezTo>
                    <a:pt x="6440" y="10511"/>
                    <a:pt x="6624" y="10574"/>
                    <a:pt x="6769" y="10750"/>
                  </a:cubicBezTo>
                  <a:cubicBezTo>
                    <a:pt x="6983" y="11012"/>
                    <a:pt x="7013" y="11400"/>
                    <a:pt x="7026" y="11742"/>
                  </a:cubicBezTo>
                  <a:cubicBezTo>
                    <a:pt x="7103" y="14090"/>
                    <a:pt x="7073" y="16472"/>
                    <a:pt x="6940" y="18820"/>
                  </a:cubicBezTo>
                  <a:cubicBezTo>
                    <a:pt x="6932" y="18980"/>
                    <a:pt x="6919" y="19213"/>
                    <a:pt x="6803" y="19402"/>
                  </a:cubicBezTo>
                  <a:cubicBezTo>
                    <a:pt x="6675" y="19612"/>
                    <a:pt x="6478" y="19669"/>
                    <a:pt x="6307" y="19698"/>
                  </a:cubicBezTo>
                  <a:cubicBezTo>
                    <a:pt x="5764" y="19789"/>
                    <a:pt x="5220" y="19755"/>
                    <a:pt x="4685" y="19601"/>
                  </a:cubicBezTo>
                  <a:cubicBezTo>
                    <a:pt x="4531" y="19555"/>
                    <a:pt x="4369" y="19493"/>
                    <a:pt x="4240" y="19345"/>
                  </a:cubicBezTo>
                  <a:cubicBezTo>
                    <a:pt x="4052" y="19122"/>
                    <a:pt x="4009" y="18809"/>
                    <a:pt x="3971" y="18535"/>
                  </a:cubicBezTo>
                  <a:cubicBezTo>
                    <a:pt x="3945" y="18342"/>
                    <a:pt x="3919" y="18159"/>
                    <a:pt x="3847" y="18045"/>
                  </a:cubicBezTo>
                  <a:cubicBezTo>
                    <a:pt x="3778" y="17937"/>
                    <a:pt x="3680" y="17925"/>
                    <a:pt x="3607" y="17931"/>
                  </a:cubicBezTo>
                  <a:cubicBezTo>
                    <a:pt x="3449" y="17948"/>
                    <a:pt x="3278" y="18079"/>
                    <a:pt x="3196" y="18256"/>
                  </a:cubicBezTo>
                  <a:cubicBezTo>
                    <a:pt x="3034" y="18609"/>
                    <a:pt x="3047" y="19071"/>
                    <a:pt x="3077" y="19595"/>
                  </a:cubicBezTo>
                  <a:lnTo>
                    <a:pt x="3136" y="20627"/>
                  </a:lnTo>
                  <a:cubicBezTo>
                    <a:pt x="3141" y="20724"/>
                    <a:pt x="3149" y="20838"/>
                    <a:pt x="3179" y="20895"/>
                  </a:cubicBezTo>
                  <a:cubicBezTo>
                    <a:pt x="3226" y="20975"/>
                    <a:pt x="3355" y="20992"/>
                    <a:pt x="3479" y="20997"/>
                  </a:cubicBezTo>
                  <a:cubicBezTo>
                    <a:pt x="4852" y="21054"/>
                    <a:pt x="6239" y="20969"/>
                    <a:pt x="7604" y="20747"/>
                  </a:cubicBezTo>
                  <a:cubicBezTo>
                    <a:pt x="7745" y="20724"/>
                    <a:pt x="7865" y="20701"/>
                    <a:pt x="7946" y="20621"/>
                  </a:cubicBezTo>
                  <a:cubicBezTo>
                    <a:pt x="8164" y="20416"/>
                    <a:pt x="8083" y="19869"/>
                    <a:pt x="8053" y="19704"/>
                  </a:cubicBezTo>
                  <a:cubicBezTo>
                    <a:pt x="8040" y="19635"/>
                    <a:pt x="8027" y="19567"/>
                    <a:pt x="8014" y="19498"/>
                  </a:cubicBezTo>
                  <a:cubicBezTo>
                    <a:pt x="7937" y="19122"/>
                    <a:pt x="7852" y="18695"/>
                    <a:pt x="7963" y="18279"/>
                  </a:cubicBezTo>
                  <a:cubicBezTo>
                    <a:pt x="8134" y="17623"/>
                    <a:pt x="8686" y="17350"/>
                    <a:pt x="9110" y="17316"/>
                  </a:cubicBezTo>
                  <a:cubicBezTo>
                    <a:pt x="9311" y="17299"/>
                    <a:pt x="9508" y="17321"/>
                    <a:pt x="9696" y="17338"/>
                  </a:cubicBezTo>
                  <a:cubicBezTo>
                    <a:pt x="9906" y="17361"/>
                    <a:pt x="10107" y="17378"/>
                    <a:pt x="10304" y="17350"/>
                  </a:cubicBezTo>
                  <a:cubicBezTo>
                    <a:pt x="10398" y="17338"/>
                    <a:pt x="10419" y="17316"/>
                    <a:pt x="10423" y="17310"/>
                  </a:cubicBezTo>
                  <a:cubicBezTo>
                    <a:pt x="10436" y="17287"/>
                    <a:pt x="10449" y="17202"/>
                    <a:pt x="10458" y="17162"/>
                  </a:cubicBezTo>
                  <a:cubicBezTo>
                    <a:pt x="10573" y="16313"/>
                    <a:pt x="10650" y="15441"/>
                    <a:pt x="10676" y="14580"/>
                  </a:cubicBezTo>
                  <a:cubicBezTo>
                    <a:pt x="10706" y="13685"/>
                    <a:pt x="10577" y="13138"/>
                    <a:pt x="10287" y="12893"/>
                  </a:cubicBezTo>
                  <a:cubicBezTo>
                    <a:pt x="10060" y="12705"/>
                    <a:pt x="9756" y="12728"/>
                    <a:pt x="9439" y="12756"/>
                  </a:cubicBezTo>
                  <a:cubicBezTo>
                    <a:pt x="9311" y="12768"/>
                    <a:pt x="9178" y="12779"/>
                    <a:pt x="9046" y="12773"/>
                  </a:cubicBezTo>
                  <a:cubicBezTo>
                    <a:pt x="8665" y="12762"/>
                    <a:pt x="8280" y="12523"/>
                    <a:pt x="8083" y="12169"/>
                  </a:cubicBezTo>
                  <a:cubicBezTo>
                    <a:pt x="7950" y="11930"/>
                    <a:pt x="7907" y="11662"/>
                    <a:pt x="7967" y="11388"/>
                  </a:cubicBezTo>
                  <a:cubicBezTo>
                    <a:pt x="8074" y="10881"/>
                    <a:pt x="8429" y="10710"/>
                    <a:pt x="8742" y="10556"/>
                  </a:cubicBezTo>
                  <a:cubicBezTo>
                    <a:pt x="8943" y="10460"/>
                    <a:pt x="9135" y="10368"/>
                    <a:pt x="9251" y="10203"/>
                  </a:cubicBezTo>
                  <a:cubicBezTo>
                    <a:pt x="9328" y="10095"/>
                    <a:pt x="9371" y="9929"/>
                    <a:pt x="9358" y="9753"/>
                  </a:cubicBezTo>
                  <a:cubicBezTo>
                    <a:pt x="9349" y="9576"/>
                    <a:pt x="9290" y="9422"/>
                    <a:pt x="9200" y="9331"/>
                  </a:cubicBezTo>
                  <a:cubicBezTo>
                    <a:pt x="9106" y="9234"/>
                    <a:pt x="8981" y="9183"/>
                    <a:pt x="8845" y="9126"/>
                  </a:cubicBezTo>
                  <a:cubicBezTo>
                    <a:pt x="8690" y="9063"/>
                    <a:pt x="8532" y="8995"/>
                    <a:pt x="8387" y="8858"/>
                  </a:cubicBezTo>
                  <a:cubicBezTo>
                    <a:pt x="7997" y="8488"/>
                    <a:pt x="7818" y="7752"/>
                    <a:pt x="7907" y="6886"/>
                  </a:cubicBezTo>
                  <a:cubicBezTo>
                    <a:pt x="7950" y="6481"/>
                    <a:pt x="7903" y="6128"/>
                    <a:pt x="7783" y="5929"/>
                  </a:cubicBezTo>
                  <a:cubicBezTo>
                    <a:pt x="7706" y="5798"/>
                    <a:pt x="7591" y="5723"/>
                    <a:pt x="7437" y="5706"/>
                  </a:cubicBezTo>
                  <a:cubicBezTo>
                    <a:pt x="7317" y="5695"/>
                    <a:pt x="7206" y="5746"/>
                    <a:pt x="7099" y="5872"/>
                  </a:cubicBezTo>
                  <a:cubicBezTo>
                    <a:pt x="6940" y="6060"/>
                    <a:pt x="6833" y="6379"/>
                    <a:pt x="6825" y="6692"/>
                  </a:cubicBezTo>
                  <a:cubicBezTo>
                    <a:pt x="6816" y="6966"/>
                    <a:pt x="6851" y="7245"/>
                    <a:pt x="6889" y="7536"/>
                  </a:cubicBezTo>
                  <a:cubicBezTo>
                    <a:pt x="6932" y="7866"/>
                    <a:pt x="6975" y="8214"/>
                    <a:pt x="6953" y="8567"/>
                  </a:cubicBezTo>
                  <a:cubicBezTo>
                    <a:pt x="6945" y="8710"/>
                    <a:pt x="6923" y="8915"/>
                    <a:pt x="6808" y="9069"/>
                  </a:cubicBezTo>
                  <a:cubicBezTo>
                    <a:pt x="6692" y="9223"/>
                    <a:pt x="6542" y="9251"/>
                    <a:pt x="6410" y="9268"/>
                  </a:cubicBezTo>
                  <a:cubicBezTo>
                    <a:pt x="6209" y="9291"/>
                    <a:pt x="5597" y="9365"/>
                    <a:pt x="5332" y="8790"/>
                  </a:cubicBezTo>
                  <a:cubicBezTo>
                    <a:pt x="5216" y="8539"/>
                    <a:pt x="5212" y="8254"/>
                    <a:pt x="5212" y="8009"/>
                  </a:cubicBezTo>
                  <a:cubicBezTo>
                    <a:pt x="5207" y="7792"/>
                    <a:pt x="5207" y="7610"/>
                    <a:pt x="5139" y="7485"/>
                  </a:cubicBezTo>
                  <a:cubicBezTo>
                    <a:pt x="5062" y="7348"/>
                    <a:pt x="4891" y="7285"/>
                    <a:pt x="4715" y="7217"/>
                  </a:cubicBezTo>
                  <a:cubicBezTo>
                    <a:pt x="4467" y="7125"/>
                    <a:pt x="4155" y="7012"/>
                    <a:pt x="4035" y="6601"/>
                  </a:cubicBezTo>
                  <a:cubicBezTo>
                    <a:pt x="3915" y="6191"/>
                    <a:pt x="4078" y="5592"/>
                    <a:pt x="4711" y="5262"/>
                  </a:cubicBezTo>
                  <a:cubicBezTo>
                    <a:pt x="4998" y="5114"/>
                    <a:pt x="5319" y="4948"/>
                    <a:pt x="5349" y="4652"/>
                  </a:cubicBezTo>
                  <a:cubicBezTo>
                    <a:pt x="5391" y="4213"/>
                    <a:pt x="4758" y="3985"/>
                    <a:pt x="4634" y="3945"/>
                  </a:cubicBezTo>
                  <a:cubicBezTo>
                    <a:pt x="4322" y="3843"/>
                    <a:pt x="3997" y="3740"/>
                    <a:pt x="3688" y="3791"/>
                  </a:cubicBezTo>
                  <a:cubicBezTo>
                    <a:pt x="3380" y="3837"/>
                    <a:pt x="3124" y="4059"/>
                    <a:pt x="3029" y="4350"/>
                  </a:cubicBezTo>
                  <a:cubicBezTo>
                    <a:pt x="2935" y="4652"/>
                    <a:pt x="2995" y="5017"/>
                    <a:pt x="3064" y="5404"/>
                  </a:cubicBezTo>
                  <a:cubicBezTo>
                    <a:pt x="3085" y="5518"/>
                    <a:pt x="3102" y="5632"/>
                    <a:pt x="3119" y="5746"/>
                  </a:cubicBezTo>
                  <a:cubicBezTo>
                    <a:pt x="3213" y="6430"/>
                    <a:pt x="3059" y="7211"/>
                    <a:pt x="2572" y="7388"/>
                  </a:cubicBezTo>
                  <a:cubicBezTo>
                    <a:pt x="2221" y="7513"/>
                    <a:pt x="1887" y="7239"/>
                    <a:pt x="1712" y="6915"/>
                  </a:cubicBezTo>
                  <a:cubicBezTo>
                    <a:pt x="1545" y="6601"/>
                    <a:pt x="1485" y="6231"/>
                    <a:pt x="1442" y="5866"/>
                  </a:cubicBezTo>
                  <a:cubicBezTo>
                    <a:pt x="1326" y="4886"/>
                    <a:pt x="1309" y="3888"/>
                    <a:pt x="1395" y="2902"/>
                  </a:cubicBezTo>
                  <a:cubicBezTo>
                    <a:pt x="1425" y="2538"/>
                    <a:pt x="1489" y="2127"/>
                    <a:pt x="1737" y="1877"/>
                  </a:cubicBezTo>
                  <a:cubicBezTo>
                    <a:pt x="1917" y="1694"/>
                    <a:pt x="2131" y="1660"/>
                    <a:pt x="2315" y="1643"/>
                  </a:cubicBezTo>
                  <a:cubicBezTo>
                    <a:pt x="3089" y="1569"/>
                    <a:pt x="3872" y="1666"/>
                    <a:pt x="4626" y="1757"/>
                  </a:cubicBezTo>
                  <a:cubicBezTo>
                    <a:pt x="5242" y="1837"/>
                    <a:pt x="5884" y="1916"/>
                    <a:pt x="6504" y="1894"/>
                  </a:cubicBezTo>
                  <a:cubicBezTo>
                    <a:pt x="7219" y="1871"/>
                    <a:pt x="7681" y="1649"/>
                    <a:pt x="7912" y="1198"/>
                  </a:cubicBezTo>
                  <a:cubicBezTo>
                    <a:pt x="7950" y="1124"/>
                    <a:pt x="7989" y="1005"/>
                    <a:pt x="8027" y="885"/>
                  </a:cubicBezTo>
                  <a:cubicBezTo>
                    <a:pt x="8091" y="685"/>
                    <a:pt x="8156" y="475"/>
                    <a:pt x="8267" y="326"/>
                  </a:cubicBezTo>
                  <a:cubicBezTo>
                    <a:pt x="8532" y="-27"/>
                    <a:pt x="8892" y="-10"/>
                    <a:pt x="9213" y="7"/>
                  </a:cubicBezTo>
                  <a:cubicBezTo>
                    <a:pt x="9285" y="13"/>
                    <a:pt x="9349" y="13"/>
                    <a:pt x="9414" y="13"/>
                  </a:cubicBezTo>
                  <a:cubicBezTo>
                    <a:pt x="9414" y="13"/>
                    <a:pt x="9414" y="13"/>
                    <a:pt x="9414" y="13"/>
                  </a:cubicBezTo>
                  <a:lnTo>
                    <a:pt x="16435" y="7"/>
                  </a:lnTo>
                  <a:cubicBezTo>
                    <a:pt x="16645" y="7"/>
                    <a:pt x="17039" y="7"/>
                    <a:pt x="17270" y="372"/>
                  </a:cubicBezTo>
                  <a:cubicBezTo>
                    <a:pt x="17415" y="600"/>
                    <a:pt x="17445" y="896"/>
                    <a:pt x="17467" y="1113"/>
                  </a:cubicBezTo>
                  <a:cubicBezTo>
                    <a:pt x="17561" y="2042"/>
                    <a:pt x="17599" y="3347"/>
                    <a:pt x="16876" y="3917"/>
                  </a:cubicBezTo>
                  <a:cubicBezTo>
                    <a:pt x="16790" y="3985"/>
                    <a:pt x="16701" y="4037"/>
                    <a:pt x="16615" y="4082"/>
                  </a:cubicBezTo>
                  <a:cubicBezTo>
                    <a:pt x="16529" y="4128"/>
                    <a:pt x="16452" y="4173"/>
                    <a:pt x="16384" y="4230"/>
                  </a:cubicBezTo>
                  <a:cubicBezTo>
                    <a:pt x="16059" y="4510"/>
                    <a:pt x="15969" y="5136"/>
                    <a:pt x="16093" y="6202"/>
                  </a:cubicBezTo>
                  <a:cubicBezTo>
                    <a:pt x="16123" y="6436"/>
                    <a:pt x="16157" y="6675"/>
                    <a:pt x="16264" y="6772"/>
                  </a:cubicBezTo>
                  <a:cubicBezTo>
                    <a:pt x="16337" y="6841"/>
                    <a:pt x="16457" y="6846"/>
                    <a:pt x="16589" y="6846"/>
                  </a:cubicBezTo>
                  <a:cubicBezTo>
                    <a:pt x="18181" y="6875"/>
                    <a:pt x="19794" y="6835"/>
                    <a:pt x="21386" y="6727"/>
                  </a:cubicBezTo>
                  <a:cubicBezTo>
                    <a:pt x="21497" y="6715"/>
                    <a:pt x="21591" y="6835"/>
                    <a:pt x="21596" y="6983"/>
                  </a:cubicBezTo>
                  <a:cubicBezTo>
                    <a:pt x="21600" y="7131"/>
                    <a:pt x="21514" y="7257"/>
                    <a:pt x="21403" y="7262"/>
                  </a:cubicBezTo>
                  <a:cubicBezTo>
                    <a:pt x="19803" y="7371"/>
                    <a:pt x="18181" y="7410"/>
                    <a:pt x="16581" y="7382"/>
                  </a:cubicBezTo>
                  <a:cubicBezTo>
                    <a:pt x="16427" y="7382"/>
                    <a:pt x="16213" y="7376"/>
                    <a:pt x="16037" y="7217"/>
                  </a:cubicBezTo>
                  <a:cubicBezTo>
                    <a:pt x="15798" y="7000"/>
                    <a:pt x="15734" y="6624"/>
                    <a:pt x="15695" y="6288"/>
                  </a:cubicBezTo>
                  <a:cubicBezTo>
                    <a:pt x="15597" y="5473"/>
                    <a:pt x="15541" y="4321"/>
                    <a:pt x="16161" y="3786"/>
                  </a:cubicBezTo>
                  <a:cubicBezTo>
                    <a:pt x="16260" y="3700"/>
                    <a:pt x="16363" y="3643"/>
                    <a:pt x="16457" y="3592"/>
                  </a:cubicBezTo>
                  <a:cubicBezTo>
                    <a:pt x="16534" y="3552"/>
                    <a:pt x="16602" y="3512"/>
                    <a:pt x="16666" y="3461"/>
                  </a:cubicBezTo>
                  <a:cubicBezTo>
                    <a:pt x="17060" y="3153"/>
                    <a:pt x="17184" y="2429"/>
                    <a:pt x="17064" y="1187"/>
                  </a:cubicBezTo>
                  <a:cubicBezTo>
                    <a:pt x="17043" y="987"/>
                    <a:pt x="17026" y="828"/>
                    <a:pt x="16962" y="725"/>
                  </a:cubicBezTo>
                  <a:cubicBezTo>
                    <a:pt x="16859" y="566"/>
                    <a:pt x="16636" y="554"/>
                    <a:pt x="16440" y="554"/>
                  </a:cubicBezTo>
                  <a:cubicBezTo>
                    <a:pt x="16440" y="554"/>
                    <a:pt x="16440" y="554"/>
                    <a:pt x="16435" y="554"/>
                  </a:cubicBezTo>
                  <a:lnTo>
                    <a:pt x="9414" y="560"/>
                  </a:lnTo>
                  <a:cubicBezTo>
                    <a:pt x="9414" y="560"/>
                    <a:pt x="9414" y="560"/>
                    <a:pt x="9414" y="560"/>
                  </a:cubicBezTo>
                  <a:cubicBezTo>
                    <a:pt x="9341" y="560"/>
                    <a:pt x="9264" y="554"/>
                    <a:pt x="9191" y="554"/>
                  </a:cubicBezTo>
                  <a:cubicBezTo>
                    <a:pt x="8930" y="537"/>
                    <a:pt x="8686" y="526"/>
                    <a:pt x="8549" y="714"/>
                  </a:cubicBezTo>
                  <a:cubicBezTo>
                    <a:pt x="8494" y="788"/>
                    <a:pt x="8442" y="948"/>
                    <a:pt x="8395" y="1101"/>
                  </a:cubicBezTo>
                  <a:cubicBezTo>
                    <a:pt x="8348" y="1244"/>
                    <a:pt x="8305" y="1392"/>
                    <a:pt x="8241" y="1517"/>
                  </a:cubicBezTo>
                  <a:cubicBezTo>
                    <a:pt x="7929" y="2110"/>
                    <a:pt x="7364" y="2412"/>
                    <a:pt x="6513" y="2441"/>
                  </a:cubicBezTo>
                  <a:cubicBezTo>
                    <a:pt x="5866" y="2458"/>
                    <a:pt x="5216" y="2378"/>
                    <a:pt x="4587" y="2298"/>
                  </a:cubicBezTo>
                  <a:cubicBezTo>
                    <a:pt x="3847" y="2207"/>
                    <a:pt x="3085" y="2110"/>
                    <a:pt x="2341" y="2184"/>
                  </a:cubicBezTo>
                  <a:cubicBezTo>
                    <a:pt x="2212" y="2196"/>
                    <a:pt x="2067" y="2218"/>
                    <a:pt x="1977" y="2310"/>
                  </a:cubicBezTo>
                  <a:cubicBezTo>
                    <a:pt x="1853" y="2435"/>
                    <a:pt x="1814" y="2714"/>
                    <a:pt x="1793" y="2965"/>
                  </a:cubicBezTo>
                  <a:cubicBezTo>
                    <a:pt x="1716" y="3905"/>
                    <a:pt x="1729" y="4852"/>
                    <a:pt x="1840" y="5786"/>
                  </a:cubicBezTo>
                  <a:cubicBezTo>
                    <a:pt x="1870" y="6060"/>
                    <a:pt x="1917" y="6373"/>
                    <a:pt x="2041" y="6601"/>
                  </a:cubicBezTo>
                  <a:cubicBezTo>
                    <a:pt x="2135" y="6778"/>
                    <a:pt x="2311" y="6926"/>
                    <a:pt x="2469" y="6869"/>
                  </a:cubicBezTo>
                  <a:cubicBezTo>
                    <a:pt x="2730" y="6772"/>
                    <a:pt x="2777" y="6214"/>
                    <a:pt x="2726" y="5843"/>
                  </a:cubicBezTo>
                  <a:cubicBezTo>
                    <a:pt x="2713" y="5741"/>
                    <a:pt x="2691" y="5632"/>
                    <a:pt x="2674" y="5524"/>
                  </a:cubicBezTo>
                  <a:cubicBezTo>
                    <a:pt x="2602" y="5091"/>
                    <a:pt x="2516" y="4601"/>
                    <a:pt x="2661" y="4139"/>
                  </a:cubicBezTo>
                  <a:cubicBezTo>
                    <a:pt x="2811" y="3666"/>
                    <a:pt x="3188" y="3330"/>
                    <a:pt x="3641" y="3256"/>
                  </a:cubicBezTo>
                  <a:cubicBezTo>
                    <a:pt x="4022" y="3199"/>
                    <a:pt x="4399" y="3318"/>
                    <a:pt x="4728" y="3421"/>
                  </a:cubicBezTo>
                  <a:cubicBezTo>
                    <a:pt x="5421" y="3643"/>
                    <a:pt x="5802" y="4128"/>
                    <a:pt x="5747" y="4715"/>
                  </a:cubicBezTo>
                  <a:cubicBezTo>
                    <a:pt x="5691" y="5330"/>
                    <a:pt x="5212" y="5575"/>
                    <a:pt x="4861" y="5758"/>
                  </a:cubicBezTo>
                  <a:cubicBezTo>
                    <a:pt x="4634" y="5877"/>
                    <a:pt x="4339" y="6157"/>
                    <a:pt x="4412" y="6402"/>
                  </a:cubicBezTo>
                  <a:cubicBezTo>
                    <a:pt x="4454" y="6550"/>
                    <a:pt x="4596" y="6607"/>
                    <a:pt x="4822" y="6692"/>
                  </a:cubicBezTo>
                  <a:cubicBezTo>
                    <a:pt x="5049" y="6772"/>
                    <a:pt x="5306" y="6869"/>
                    <a:pt x="5464" y="7160"/>
                  </a:cubicBezTo>
                  <a:cubicBezTo>
                    <a:pt x="5610" y="7416"/>
                    <a:pt x="5610" y="7724"/>
                    <a:pt x="5614" y="7992"/>
                  </a:cubicBezTo>
                  <a:cubicBezTo>
                    <a:pt x="5614" y="8191"/>
                    <a:pt x="5618" y="8374"/>
                    <a:pt x="5674" y="8499"/>
                  </a:cubicBezTo>
                  <a:cubicBezTo>
                    <a:pt x="5764" y="8693"/>
                    <a:pt x="5999" y="8773"/>
                    <a:pt x="6371" y="8727"/>
                  </a:cubicBezTo>
                  <a:cubicBezTo>
                    <a:pt x="6406" y="8721"/>
                    <a:pt x="6500" y="8710"/>
                    <a:pt x="6521" y="8681"/>
                  </a:cubicBezTo>
                  <a:cubicBezTo>
                    <a:pt x="6530" y="8670"/>
                    <a:pt x="6542" y="8641"/>
                    <a:pt x="6551" y="8516"/>
                  </a:cubicBezTo>
                  <a:cubicBezTo>
                    <a:pt x="6568" y="8220"/>
                    <a:pt x="6530" y="7923"/>
                    <a:pt x="6491" y="7604"/>
                  </a:cubicBezTo>
                  <a:cubicBezTo>
                    <a:pt x="6453" y="7296"/>
                    <a:pt x="6414" y="6983"/>
                    <a:pt x="6423" y="6652"/>
                  </a:cubicBezTo>
                  <a:cubicBezTo>
                    <a:pt x="6435" y="6197"/>
                    <a:pt x="6590" y="5735"/>
                    <a:pt x="6833" y="5450"/>
                  </a:cubicBezTo>
                  <a:cubicBezTo>
                    <a:pt x="7022" y="5228"/>
                    <a:pt x="7240" y="5125"/>
                    <a:pt x="7471" y="5154"/>
                  </a:cubicBezTo>
                  <a:cubicBezTo>
                    <a:pt x="7732" y="5182"/>
                    <a:pt x="7950" y="5330"/>
                    <a:pt x="8096" y="5575"/>
                  </a:cubicBezTo>
                  <a:cubicBezTo>
                    <a:pt x="8357" y="6008"/>
                    <a:pt x="8335" y="6613"/>
                    <a:pt x="8305" y="6937"/>
                  </a:cubicBezTo>
                  <a:cubicBezTo>
                    <a:pt x="8254" y="7450"/>
                    <a:pt x="8310" y="8100"/>
                    <a:pt x="8622" y="8396"/>
                  </a:cubicBezTo>
                  <a:cubicBezTo>
                    <a:pt x="8716" y="8482"/>
                    <a:pt x="8836" y="8533"/>
                    <a:pt x="8964" y="8584"/>
                  </a:cubicBezTo>
                  <a:cubicBezTo>
                    <a:pt x="9118" y="8647"/>
                    <a:pt x="9294" y="8721"/>
                    <a:pt x="9448" y="8875"/>
                  </a:cubicBezTo>
                  <a:cubicBezTo>
                    <a:pt x="9628" y="9058"/>
                    <a:pt x="9743" y="9354"/>
                    <a:pt x="9764" y="9679"/>
                  </a:cubicBezTo>
                  <a:cubicBezTo>
                    <a:pt x="9782" y="10004"/>
                    <a:pt x="9705" y="10317"/>
                    <a:pt x="9546" y="10539"/>
                  </a:cubicBezTo>
                  <a:cubicBezTo>
                    <a:pt x="9367" y="10796"/>
                    <a:pt x="9110" y="10921"/>
                    <a:pt x="8883" y="11029"/>
                  </a:cubicBezTo>
                  <a:cubicBezTo>
                    <a:pt x="8588" y="11172"/>
                    <a:pt x="8404" y="11269"/>
                    <a:pt x="8357" y="11503"/>
                  </a:cubicBezTo>
                  <a:cubicBezTo>
                    <a:pt x="8335" y="11611"/>
                    <a:pt x="8352" y="11713"/>
                    <a:pt x="8408" y="11816"/>
                  </a:cubicBezTo>
                  <a:cubicBezTo>
                    <a:pt x="8528" y="12033"/>
                    <a:pt x="8806" y="12198"/>
                    <a:pt x="9058" y="12204"/>
                  </a:cubicBezTo>
                  <a:cubicBezTo>
                    <a:pt x="9174" y="12204"/>
                    <a:pt x="9294" y="12198"/>
                    <a:pt x="9418" y="12186"/>
                  </a:cubicBezTo>
                  <a:cubicBezTo>
                    <a:pt x="9786" y="12158"/>
                    <a:pt x="10167" y="12124"/>
                    <a:pt x="10505" y="12403"/>
                  </a:cubicBezTo>
                  <a:cubicBezTo>
                    <a:pt x="11138" y="12927"/>
                    <a:pt x="11095" y="14164"/>
                    <a:pt x="11082" y="14569"/>
                  </a:cubicBezTo>
                  <a:cubicBezTo>
                    <a:pt x="11052" y="15458"/>
                    <a:pt x="10975" y="16353"/>
                    <a:pt x="10856" y="17225"/>
                  </a:cubicBezTo>
                  <a:cubicBezTo>
                    <a:pt x="10838" y="17333"/>
                    <a:pt x="10817" y="17504"/>
                    <a:pt x="10727" y="17635"/>
                  </a:cubicBezTo>
                  <a:cubicBezTo>
                    <a:pt x="10616" y="17794"/>
                    <a:pt x="10466" y="17834"/>
                    <a:pt x="10351" y="17851"/>
                  </a:cubicBezTo>
                  <a:cubicBezTo>
                    <a:pt x="10120" y="17880"/>
                    <a:pt x="9893" y="17863"/>
                    <a:pt x="9675" y="17840"/>
                  </a:cubicBezTo>
                  <a:cubicBezTo>
                    <a:pt x="9491" y="17823"/>
                    <a:pt x="9315" y="17806"/>
                    <a:pt x="9140" y="17817"/>
                  </a:cubicBezTo>
                  <a:cubicBezTo>
                    <a:pt x="8840" y="17840"/>
                    <a:pt x="8455" y="18011"/>
                    <a:pt x="8348" y="18421"/>
                  </a:cubicBezTo>
                  <a:cubicBezTo>
                    <a:pt x="8280" y="18684"/>
                    <a:pt x="8344" y="18997"/>
                    <a:pt x="8408" y="19328"/>
                  </a:cubicBezTo>
                  <a:cubicBezTo>
                    <a:pt x="8421" y="19402"/>
                    <a:pt x="8438" y="19470"/>
                    <a:pt x="8451" y="19544"/>
                  </a:cubicBezTo>
                  <a:cubicBezTo>
                    <a:pt x="8575" y="20205"/>
                    <a:pt x="8477" y="20747"/>
                    <a:pt x="8186" y="21026"/>
                  </a:cubicBezTo>
                  <a:cubicBezTo>
                    <a:pt x="8014" y="21191"/>
                    <a:pt x="7809" y="21225"/>
                    <a:pt x="7659" y="21248"/>
                  </a:cubicBezTo>
                  <a:cubicBezTo>
                    <a:pt x="6555" y="21482"/>
                    <a:pt x="5438" y="21573"/>
                    <a:pt x="4326" y="21573"/>
                  </a:cubicBezTo>
                  <a:close/>
                </a:path>
              </a:pathLst>
            </a:custGeom>
            <a:solidFill>
              <a:srgbClr val="C13018"/>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grpSp>
      <p:grpSp>
        <p:nvGrpSpPr>
          <p:cNvPr id="19" name="Group 18">
            <a:extLst>
              <a:ext uri="{FF2B5EF4-FFF2-40B4-BE49-F238E27FC236}">
                <a16:creationId xmlns:a16="http://schemas.microsoft.com/office/drawing/2014/main" id="{3C750EED-A5BC-B437-9135-7B14A4D6FC17}"/>
              </a:ext>
            </a:extLst>
          </p:cNvPr>
          <p:cNvGrpSpPr/>
          <p:nvPr/>
        </p:nvGrpSpPr>
        <p:grpSpPr>
          <a:xfrm rot="1054031">
            <a:off x="9773352" y="2826225"/>
            <a:ext cx="2688293" cy="3668695"/>
            <a:chOff x="8434409" y="2701135"/>
            <a:chExt cx="2688293" cy="3668695"/>
          </a:xfrm>
        </p:grpSpPr>
        <p:sp>
          <p:nvSpPr>
            <p:cNvPr id="20" name="Shape">
              <a:extLst>
                <a:ext uri="{FF2B5EF4-FFF2-40B4-BE49-F238E27FC236}">
                  <a16:creationId xmlns:a16="http://schemas.microsoft.com/office/drawing/2014/main" id="{A1F843FB-1678-7403-0D84-7DD80BA23F08}"/>
                </a:ext>
              </a:extLst>
            </p:cNvPr>
            <p:cNvSpPr/>
            <p:nvPr/>
          </p:nvSpPr>
          <p:spPr>
            <a:xfrm>
              <a:off x="8910173" y="3443327"/>
              <a:ext cx="2212529" cy="2926503"/>
            </a:xfrm>
            <a:custGeom>
              <a:avLst/>
              <a:gdLst/>
              <a:ahLst/>
              <a:cxnLst>
                <a:cxn ang="0">
                  <a:pos x="wd2" y="hd2"/>
                </a:cxn>
                <a:cxn ang="5400000">
                  <a:pos x="wd2" y="hd2"/>
                </a:cxn>
                <a:cxn ang="10800000">
                  <a:pos x="wd2" y="hd2"/>
                </a:cxn>
                <a:cxn ang="16200000">
                  <a:pos x="wd2" y="hd2"/>
                </a:cxn>
              </a:cxnLst>
              <a:rect l="0" t="0" r="r" b="b"/>
              <a:pathLst>
                <a:path w="21161" h="21263" extrusionOk="0">
                  <a:moveTo>
                    <a:pt x="20475" y="20578"/>
                  </a:moveTo>
                  <a:lnTo>
                    <a:pt x="19623" y="21035"/>
                  </a:lnTo>
                  <a:cubicBezTo>
                    <a:pt x="18891" y="21432"/>
                    <a:pt x="17878" y="21299"/>
                    <a:pt x="17360" y="20737"/>
                  </a:cubicBezTo>
                  <a:lnTo>
                    <a:pt x="301" y="2406"/>
                  </a:lnTo>
                  <a:cubicBezTo>
                    <a:pt x="-222" y="1849"/>
                    <a:pt x="-47" y="1080"/>
                    <a:pt x="694" y="686"/>
                  </a:cubicBezTo>
                  <a:lnTo>
                    <a:pt x="1545" y="229"/>
                  </a:lnTo>
                  <a:cubicBezTo>
                    <a:pt x="2278" y="-168"/>
                    <a:pt x="3291" y="-35"/>
                    <a:pt x="3809" y="527"/>
                  </a:cubicBezTo>
                  <a:lnTo>
                    <a:pt x="20868" y="18858"/>
                  </a:lnTo>
                  <a:cubicBezTo>
                    <a:pt x="21378" y="19417"/>
                    <a:pt x="21208" y="20181"/>
                    <a:pt x="20475" y="20578"/>
                  </a:cubicBezTo>
                  <a:lnTo>
                    <a:pt x="20475" y="20578"/>
                  </a:lnTo>
                  <a:close/>
                </a:path>
              </a:pathLst>
            </a:custGeom>
            <a:solidFill>
              <a:srgbClr val="CC333B"/>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21" name="Shape">
              <a:extLst>
                <a:ext uri="{FF2B5EF4-FFF2-40B4-BE49-F238E27FC236}">
                  <a16:creationId xmlns:a16="http://schemas.microsoft.com/office/drawing/2014/main" id="{FDE0C3FC-E2EA-8FC6-2D3B-5BB16B8C3DFD}"/>
                </a:ext>
              </a:extLst>
            </p:cNvPr>
            <p:cNvSpPr/>
            <p:nvPr/>
          </p:nvSpPr>
          <p:spPr>
            <a:xfrm>
              <a:off x="8929204" y="3500419"/>
              <a:ext cx="2139619" cy="2846724"/>
            </a:xfrm>
            <a:custGeom>
              <a:avLst/>
              <a:gdLst/>
              <a:ahLst/>
              <a:cxnLst>
                <a:cxn ang="0">
                  <a:pos x="wd2" y="hd2"/>
                </a:cxn>
                <a:cxn ang="5400000">
                  <a:pos x="wd2" y="hd2"/>
                </a:cxn>
                <a:cxn ang="10800000">
                  <a:pos x="wd2" y="hd2"/>
                </a:cxn>
                <a:cxn ang="16200000">
                  <a:pos x="wd2" y="hd2"/>
                </a:cxn>
              </a:cxnLst>
              <a:rect l="0" t="0" r="r" b="b"/>
              <a:pathLst>
                <a:path w="21385" h="21426" extrusionOk="0">
                  <a:moveTo>
                    <a:pt x="21064" y="20787"/>
                  </a:moveTo>
                  <a:cubicBezTo>
                    <a:pt x="21188" y="20725"/>
                    <a:pt x="21297" y="20640"/>
                    <a:pt x="21385" y="20554"/>
                  </a:cubicBezTo>
                  <a:lnTo>
                    <a:pt x="21203" y="20649"/>
                  </a:lnTo>
                  <a:cubicBezTo>
                    <a:pt x="20495" y="21028"/>
                    <a:pt x="19485" y="20870"/>
                    <a:pt x="18947" y="20297"/>
                  </a:cubicBezTo>
                  <a:lnTo>
                    <a:pt x="1289" y="1489"/>
                  </a:lnTo>
                  <a:cubicBezTo>
                    <a:pt x="841" y="1013"/>
                    <a:pt x="864" y="411"/>
                    <a:pt x="1288" y="0"/>
                  </a:cubicBezTo>
                  <a:lnTo>
                    <a:pt x="644" y="340"/>
                  </a:lnTo>
                  <a:cubicBezTo>
                    <a:pt x="-64" y="719"/>
                    <a:pt x="-215" y="1488"/>
                    <a:pt x="323" y="2061"/>
                  </a:cubicBezTo>
                  <a:lnTo>
                    <a:pt x="17981" y="20869"/>
                  </a:lnTo>
                  <a:cubicBezTo>
                    <a:pt x="18519" y="21442"/>
                    <a:pt x="19529" y="21600"/>
                    <a:pt x="20242" y="21215"/>
                  </a:cubicBezTo>
                  <a:lnTo>
                    <a:pt x="21064" y="20787"/>
                  </a:lnTo>
                  <a:lnTo>
                    <a:pt x="21064" y="20787"/>
                  </a:lnTo>
                  <a:close/>
                </a:path>
              </a:pathLst>
            </a:custGeom>
            <a:solidFill>
              <a:sysClr val="window" lastClr="FFFFFF">
                <a:alpha val="55000"/>
              </a:sys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22" name="Shape">
              <a:extLst>
                <a:ext uri="{FF2B5EF4-FFF2-40B4-BE49-F238E27FC236}">
                  <a16:creationId xmlns:a16="http://schemas.microsoft.com/office/drawing/2014/main" id="{B017E17B-AA8D-843F-148C-AE671BC63CBE}"/>
                </a:ext>
              </a:extLst>
            </p:cNvPr>
            <p:cNvSpPr/>
            <p:nvPr/>
          </p:nvSpPr>
          <p:spPr>
            <a:xfrm>
              <a:off x="8834051" y="3367204"/>
              <a:ext cx="471733" cy="408899"/>
            </a:xfrm>
            <a:custGeom>
              <a:avLst/>
              <a:gdLst/>
              <a:ahLst/>
              <a:cxnLst>
                <a:cxn ang="0">
                  <a:pos x="wd2" y="hd2"/>
                </a:cxn>
                <a:cxn ang="5400000">
                  <a:pos x="wd2" y="hd2"/>
                </a:cxn>
                <a:cxn ang="10800000">
                  <a:pos x="wd2" y="hd2"/>
                </a:cxn>
                <a:cxn ang="16200000">
                  <a:pos x="wd2" y="hd2"/>
                </a:cxn>
              </a:cxnLst>
              <a:rect l="0" t="0" r="r" b="b"/>
              <a:pathLst>
                <a:path w="21600" h="21600" extrusionOk="0">
                  <a:moveTo>
                    <a:pt x="21600" y="7962"/>
                  </a:moveTo>
                  <a:lnTo>
                    <a:pt x="4879" y="21600"/>
                  </a:lnTo>
                  <a:lnTo>
                    <a:pt x="0" y="13638"/>
                  </a:lnTo>
                  <a:lnTo>
                    <a:pt x="16721" y="0"/>
                  </a:lnTo>
                  <a:close/>
                </a:path>
              </a:pathLst>
            </a:custGeom>
            <a:solidFill>
              <a:srgbClr val="010101"/>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23" name="Shape">
              <a:extLst>
                <a:ext uri="{FF2B5EF4-FFF2-40B4-BE49-F238E27FC236}">
                  <a16:creationId xmlns:a16="http://schemas.microsoft.com/office/drawing/2014/main" id="{314C3FAD-4391-D7AE-01B8-55E2502AE1BA}"/>
                </a:ext>
              </a:extLst>
            </p:cNvPr>
            <p:cNvSpPr/>
            <p:nvPr/>
          </p:nvSpPr>
          <p:spPr>
            <a:xfrm>
              <a:off x="8653261" y="3100776"/>
              <a:ext cx="525980" cy="516789"/>
            </a:xfrm>
            <a:custGeom>
              <a:avLst/>
              <a:gdLst/>
              <a:ahLst/>
              <a:cxnLst>
                <a:cxn ang="0">
                  <a:pos x="wd2" y="hd2"/>
                </a:cxn>
                <a:cxn ang="5400000">
                  <a:pos x="wd2" y="hd2"/>
                </a:cxn>
                <a:cxn ang="10800000">
                  <a:pos x="wd2" y="hd2"/>
                </a:cxn>
                <a:cxn ang="16200000">
                  <a:pos x="wd2" y="hd2"/>
                </a:cxn>
              </a:cxnLst>
              <a:rect l="0" t="0" r="r" b="b"/>
              <a:pathLst>
                <a:path w="21600" h="21600" extrusionOk="0">
                  <a:moveTo>
                    <a:pt x="13204" y="0"/>
                  </a:moveTo>
                  <a:lnTo>
                    <a:pt x="0" y="9516"/>
                  </a:lnTo>
                  <a:lnTo>
                    <a:pt x="8396" y="21600"/>
                  </a:lnTo>
                  <a:lnTo>
                    <a:pt x="21600" y="12084"/>
                  </a:lnTo>
                  <a:lnTo>
                    <a:pt x="13204" y="0"/>
                  </a:lnTo>
                  <a:close/>
                </a:path>
              </a:pathLst>
            </a:custGeom>
            <a:solidFill>
              <a:srgbClr val="010101"/>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24" name="Shape">
              <a:extLst>
                <a:ext uri="{FF2B5EF4-FFF2-40B4-BE49-F238E27FC236}">
                  <a16:creationId xmlns:a16="http://schemas.microsoft.com/office/drawing/2014/main" id="{5E9E62A9-2B4B-3D07-BE04-2FCCE9658725}"/>
                </a:ext>
              </a:extLst>
            </p:cNvPr>
            <p:cNvSpPr/>
            <p:nvPr/>
          </p:nvSpPr>
          <p:spPr>
            <a:xfrm>
              <a:off x="8481986" y="2805803"/>
              <a:ext cx="501528" cy="529723"/>
            </a:xfrm>
            <a:custGeom>
              <a:avLst/>
              <a:gdLst/>
              <a:ahLst/>
              <a:cxnLst>
                <a:cxn ang="0">
                  <a:pos x="wd2" y="hd2"/>
                </a:cxn>
                <a:cxn ang="5400000">
                  <a:pos x="wd2" y="hd2"/>
                </a:cxn>
                <a:cxn ang="10800000">
                  <a:pos x="wd2" y="hd2"/>
                </a:cxn>
                <a:cxn ang="16200000">
                  <a:pos x="wd2" y="hd2"/>
                </a:cxn>
              </a:cxnLst>
              <a:rect l="0" t="0" r="r" b="b"/>
              <a:pathLst>
                <a:path w="21600" h="21600" extrusionOk="0">
                  <a:moveTo>
                    <a:pt x="7059" y="0"/>
                  </a:moveTo>
                  <a:lnTo>
                    <a:pt x="0" y="4747"/>
                  </a:lnTo>
                  <a:cubicBezTo>
                    <a:pt x="3754" y="9766"/>
                    <a:pt x="4034" y="16601"/>
                    <a:pt x="7752" y="21600"/>
                  </a:cubicBezTo>
                  <a:lnTo>
                    <a:pt x="21600" y="12316"/>
                  </a:lnTo>
                  <a:cubicBezTo>
                    <a:pt x="17882" y="7317"/>
                    <a:pt x="10813" y="5018"/>
                    <a:pt x="7059" y="0"/>
                  </a:cubicBezTo>
                  <a:close/>
                </a:path>
              </a:pathLst>
            </a:custGeom>
            <a:solidFill>
              <a:srgbClr val="010101"/>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25" name="Shape">
              <a:extLst>
                <a:ext uri="{FF2B5EF4-FFF2-40B4-BE49-F238E27FC236}">
                  <a16:creationId xmlns:a16="http://schemas.microsoft.com/office/drawing/2014/main" id="{97E39584-B567-0C4C-C1A9-6577E83C8EFD}"/>
                </a:ext>
              </a:extLst>
            </p:cNvPr>
            <p:cNvSpPr/>
            <p:nvPr/>
          </p:nvSpPr>
          <p:spPr>
            <a:xfrm>
              <a:off x="8434409" y="2701135"/>
              <a:ext cx="200602" cy="225471"/>
            </a:xfrm>
            <a:custGeom>
              <a:avLst/>
              <a:gdLst/>
              <a:ahLst/>
              <a:cxnLst>
                <a:cxn ang="0">
                  <a:pos x="wd2" y="hd2"/>
                </a:cxn>
                <a:cxn ang="5400000">
                  <a:pos x="wd2" y="hd2"/>
                </a:cxn>
                <a:cxn ang="10800000">
                  <a:pos x="wd2" y="hd2"/>
                </a:cxn>
                <a:cxn ang="16200000">
                  <a:pos x="wd2" y="hd2"/>
                </a:cxn>
              </a:cxnLst>
              <a:rect l="0" t="0" r="r" b="b"/>
              <a:pathLst>
                <a:path w="20149" h="21600" extrusionOk="0">
                  <a:moveTo>
                    <a:pt x="565" y="0"/>
                  </a:moveTo>
                  <a:cubicBezTo>
                    <a:pt x="11785" y="1336"/>
                    <a:pt x="15378" y="6157"/>
                    <a:pt x="20149" y="12679"/>
                  </a:cubicBezTo>
                  <a:lnTo>
                    <a:pt x="13429" y="17399"/>
                  </a:lnTo>
                  <a:lnTo>
                    <a:pt x="6913" y="21600"/>
                  </a:lnTo>
                  <a:cubicBezTo>
                    <a:pt x="2225" y="15124"/>
                    <a:pt x="-1451" y="10258"/>
                    <a:pt x="565" y="0"/>
                  </a:cubicBezTo>
                  <a:close/>
                </a:path>
              </a:pathLst>
            </a:custGeom>
            <a:solidFill>
              <a:srgbClr val="CC333B"/>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26" name="Shape">
              <a:extLst>
                <a:ext uri="{FF2B5EF4-FFF2-40B4-BE49-F238E27FC236}">
                  <a16:creationId xmlns:a16="http://schemas.microsoft.com/office/drawing/2014/main" id="{861AE5E9-197F-7D5F-5808-995D317DCC26}"/>
                </a:ext>
              </a:extLst>
            </p:cNvPr>
            <p:cNvSpPr/>
            <p:nvPr/>
          </p:nvSpPr>
          <p:spPr>
            <a:xfrm>
              <a:off x="8881627" y="3557511"/>
              <a:ext cx="164033" cy="174795"/>
            </a:xfrm>
            <a:custGeom>
              <a:avLst/>
              <a:gdLst/>
              <a:ahLst/>
              <a:cxnLst>
                <a:cxn ang="0">
                  <a:pos x="wd2" y="hd2"/>
                </a:cxn>
                <a:cxn ang="5400000">
                  <a:pos x="wd2" y="hd2"/>
                </a:cxn>
                <a:cxn ang="10800000">
                  <a:pos x="wd2" y="hd2"/>
                </a:cxn>
                <a:cxn ang="16200000">
                  <a:pos x="wd2" y="hd2"/>
                </a:cxn>
              </a:cxnLst>
              <a:rect l="0" t="0" r="r" b="b"/>
              <a:pathLst>
                <a:path w="21600" h="21600" extrusionOk="0">
                  <a:moveTo>
                    <a:pt x="21600" y="14411"/>
                  </a:moveTo>
                  <a:lnTo>
                    <a:pt x="10789" y="0"/>
                  </a:lnTo>
                  <a:lnTo>
                    <a:pt x="0" y="7189"/>
                  </a:lnTo>
                  <a:lnTo>
                    <a:pt x="10811" y="21600"/>
                  </a:lnTo>
                  <a:lnTo>
                    <a:pt x="21600" y="14411"/>
                  </a:lnTo>
                  <a:close/>
                </a:path>
              </a:pathLst>
            </a:custGeom>
            <a:solidFill>
              <a:srgbClr val="737474"/>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27" name="Shape">
              <a:extLst>
                <a:ext uri="{FF2B5EF4-FFF2-40B4-BE49-F238E27FC236}">
                  <a16:creationId xmlns:a16="http://schemas.microsoft.com/office/drawing/2014/main" id="{B1043143-3618-37D3-5735-12167FA2FC91}"/>
                </a:ext>
              </a:extLst>
            </p:cNvPr>
            <p:cNvSpPr/>
            <p:nvPr/>
          </p:nvSpPr>
          <p:spPr>
            <a:xfrm>
              <a:off x="8510531" y="2891440"/>
              <a:ext cx="437802" cy="696785"/>
            </a:xfrm>
            <a:custGeom>
              <a:avLst/>
              <a:gdLst/>
              <a:ahLst/>
              <a:cxnLst>
                <a:cxn ang="0">
                  <a:pos x="wd2" y="hd2"/>
                </a:cxn>
                <a:cxn ang="5400000">
                  <a:pos x="wd2" y="hd2"/>
                </a:cxn>
                <a:cxn ang="10800000">
                  <a:pos x="wd2" y="hd2"/>
                </a:cxn>
                <a:cxn ang="16200000">
                  <a:pos x="wd2" y="hd2"/>
                </a:cxn>
              </a:cxnLst>
              <a:rect l="0" t="0" r="r" b="b"/>
              <a:pathLst>
                <a:path w="21600" h="21600" extrusionOk="0">
                  <a:moveTo>
                    <a:pt x="21600" y="20491"/>
                  </a:moveTo>
                  <a:lnTo>
                    <a:pt x="12064" y="11991"/>
                  </a:lnTo>
                  <a:lnTo>
                    <a:pt x="11850" y="11811"/>
                  </a:lnTo>
                  <a:lnTo>
                    <a:pt x="11850" y="11811"/>
                  </a:lnTo>
                  <a:cubicBezTo>
                    <a:pt x="7846" y="8145"/>
                    <a:pt x="6574" y="3630"/>
                    <a:pt x="2483" y="0"/>
                  </a:cubicBezTo>
                  <a:lnTo>
                    <a:pt x="0" y="1109"/>
                  </a:lnTo>
                  <a:cubicBezTo>
                    <a:pt x="4091" y="4739"/>
                    <a:pt x="5363" y="9254"/>
                    <a:pt x="9367" y="12920"/>
                  </a:cubicBezTo>
                  <a:lnTo>
                    <a:pt x="9367" y="12920"/>
                  </a:lnTo>
                  <a:lnTo>
                    <a:pt x="9581" y="13100"/>
                  </a:lnTo>
                  <a:lnTo>
                    <a:pt x="19117" y="21600"/>
                  </a:lnTo>
                  <a:lnTo>
                    <a:pt x="21600" y="20491"/>
                  </a:lnTo>
                  <a:close/>
                </a:path>
              </a:pathLst>
            </a:custGeom>
            <a:solidFill>
              <a:srgbClr val="737474"/>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grpSp>
    </p:spTree>
    <p:extLst>
      <p:ext uri="{BB962C8B-B14F-4D97-AF65-F5344CB8AC3E}">
        <p14:creationId xmlns:p14="http://schemas.microsoft.com/office/powerpoint/2010/main" val="14749259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1646E3-BD67-06FF-9988-91E1F3513D99}"/>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8526418B-5C97-A4E8-670E-EE13DA7C46B4}"/>
              </a:ext>
            </a:extLst>
          </p:cNvPr>
          <p:cNvPicPr>
            <a:picLocks noGrp="1" noChangeAspect="1"/>
          </p:cNvPicPr>
          <p:nvPr>
            <p:ph sz="quarter" idx="11"/>
          </p:nvPr>
        </p:nvPicPr>
        <p:blipFill>
          <a:blip r:embed="rId2">
            <a:alphaModFix amt="17000"/>
          </a:blip>
          <a:stretch>
            <a:fillRect/>
          </a:stretch>
        </p:blipFill>
        <p:spPr>
          <a:xfrm>
            <a:off x="82853" y="102231"/>
            <a:ext cx="12014489" cy="6650698"/>
          </a:xfrm>
        </p:spPr>
      </p:pic>
      <p:sp>
        <p:nvSpPr>
          <p:cNvPr id="2" name="Text Placeholder 1">
            <a:extLst>
              <a:ext uri="{FF2B5EF4-FFF2-40B4-BE49-F238E27FC236}">
                <a16:creationId xmlns:a16="http://schemas.microsoft.com/office/drawing/2014/main" id="{8343A345-07D7-696D-DFBF-44856F18059D}"/>
              </a:ext>
            </a:extLst>
          </p:cNvPr>
          <p:cNvSpPr>
            <a:spLocks noGrp="1"/>
          </p:cNvSpPr>
          <p:nvPr>
            <p:ph type="body" sz="quarter" idx="10"/>
          </p:nvPr>
        </p:nvSpPr>
        <p:spPr>
          <a:xfrm>
            <a:off x="1234464" y="1743723"/>
            <a:ext cx="9711266" cy="3367714"/>
          </a:xfrm>
        </p:spPr>
        <p:txBody>
          <a:bodyPr anchor="ctr"/>
          <a:lstStyle/>
          <a:p>
            <a:pPr marL="0" indent="0">
              <a:buNone/>
            </a:pPr>
            <a:r>
              <a:rPr lang="en-US" sz="4800" b="1" dirty="0"/>
              <a:t>Frameworks in Practice</a:t>
            </a:r>
          </a:p>
        </p:txBody>
      </p:sp>
    </p:spTree>
    <p:extLst>
      <p:ext uri="{BB962C8B-B14F-4D97-AF65-F5344CB8AC3E}">
        <p14:creationId xmlns:p14="http://schemas.microsoft.com/office/powerpoint/2010/main" val="34071579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7628F9-2AD4-5045-C0D1-4062623FA7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B67A21-2E2C-8F22-1646-AFD2D069FC2C}"/>
              </a:ext>
            </a:extLst>
          </p:cNvPr>
          <p:cNvSpPr>
            <a:spLocks noGrp="1"/>
          </p:cNvSpPr>
          <p:nvPr>
            <p:ph type="title"/>
          </p:nvPr>
        </p:nvSpPr>
        <p:spPr/>
        <p:txBody>
          <a:bodyPr/>
          <a:lstStyle/>
          <a:p>
            <a:r>
              <a:rPr lang="en-US" dirty="0"/>
              <a:t>A Framework For Building Tools</a:t>
            </a:r>
          </a:p>
        </p:txBody>
      </p:sp>
      <p:graphicFrame>
        <p:nvGraphicFramePr>
          <p:cNvPr id="6" name="Table 5">
            <a:extLst>
              <a:ext uri="{FF2B5EF4-FFF2-40B4-BE49-F238E27FC236}">
                <a16:creationId xmlns:a16="http://schemas.microsoft.com/office/drawing/2014/main" id="{54CAFFE1-322F-D1F1-761A-7B6117AA867C}"/>
              </a:ext>
            </a:extLst>
          </p:cNvPr>
          <p:cNvGraphicFramePr>
            <a:graphicFrameLocks noGrp="1"/>
          </p:cNvGraphicFramePr>
          <p:nvPr>
            <p:extLst>
              <p:ext uri="{D42A27DB-BD31-4B8C-83A1-F6EECF244321}">
                <p14:modId xmlns:p14="http://schemas.microsoft.com/office/powerpoint/2010/main" val="2377686770"/>
              </p:ext>
            </p:extLst>
          </p:nvPr>
        </p:nvGraphicFramePr>
        <p:xfrm>
          <a:off x="2681415" y="1915296"/>
          <a:ext cx="8019536" cy="4250726"/>
        </p:xfrm>
        <a:graphic>
          <a:graphicData uri="http://schemas.openxmlformats.org/drawingml/2006/table">
            <a:tbl>
              <a:tblPr firstRow="1" bandRow="1">
                <a:tableStyleId>{5940675A-B579-460E-94D1-54222C63F5DA}</a:tableStyleId>
              </a:tblPr>
              <a:tblGrid>
                <a:gridCol w="4009768">
                  <a:extLst>
                    <a:ext uri="{9D8B030D-6E8A-4147-A177-3AD203B41FA5}">
                      <a16:colId xmlns:a16="http://schemas.microsoft.com/office/drawing/2014/main" val="3179708217"/>
                    </a:ext>
                  </a:extLst>
                </a:gridCol>
                <a:gridCol w="4009768">
                  <a:extLst>
                    <a:ext uri="{9D8B030D-6E8A-4147-A177-3AD203B41FA5}">
                      <a16:colId xmlns:a16="http://schemas.microsoft.com/office/drawing/2014/main" val="3577859804"/>
                    </a:ext>
                  </a:extLst>
                </a:gridCol>
              </a:tblGrid>
              <a:tr h="2125363">
                <a:tc>
                  <a:txBody>
                    <a:bodyPr/>
                    <a:lstStyle/>
                    <a:p>
                      <a:pPr algn="ctr"/>
                      <a:r>
                        <a:rPr lang="en-US" sz="2000" b="1" dirty="0">
                          <a:solidFill>
                            <a:schemeClr val="bg1"/>
                          </a:solidFill>
                        </a:rPr>
                        <a:t>High Importance, </a:t>
                      </a:r>
                    </a:p>
                    <a:p>
                      <a:pPr algn="ctr"/>
                      <a:r>
                        <a:rPr lang="en-US" sz="2000" b="1" dirty="0">
                          <a:solidFill>
                            <a:schemeClr val="bg1"/>
                          </a:solidFill>
                        </a:rPr>
                        <a:t>Low Likelihood of Disruption</a:t>
                      </a:r>
                    </a:p>
                  </a:txBody>
                  <a:tcPr>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lin ang="13500000" scaled="1"/>
                      <a:tileRect/>
                    </a:gradFill>
                  </a:tcPr>
                </a:tc>
                <a:tc>
                  <a:txBody>
                    <a:bodyPr/>
                    <a:lstStyle/>
                    <a:p>
                      <a:pPr algn="ctr"/>
                      <a:r>
                        <a:rPr lang="en-US" sz="2000" b="1" dirty="0">
                          <a:solidFill>
                            <a:schemeClr val="bg1"/>
                          </a:solidFill>
                        </a:rPr>
                        <a:t>High Importance, </a:t>
                      </a:r>
                    </a:p>
                    <a:p>
                      <a:pPr algn="ctr"/>
                      <a:r>
                        <a:rPr lang="en-US" sz="2000" b="1" dirty="0">
                          <a:solidFill>
                            <a:schemeClr val="bg1"/>
                          </a:solidFill>
                        </a:rPr>
                        <a:t>High Likelihood of Disruption</a:t>
                      </a:r>
                    </a:p>
                  </a:txBody>
                  <a:tcPr>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lin ang="18900000" scaled="1"/>
                      <a:tileRect/>
                    </a:gradFill>
                  </a:tcPr>
                </a:tc>
                <a:extLst>
                  <a:ext uri="{0D108BD9-81ED-4DB2-BD59-A6C34878D82A}">
                    <a16:rowId xmlns:a16="http://schemas.microsoft.com/office/drawing/2014/main" val="3982258455"/>
                  </a:ext>
                </a:extLst>
              </a:tr>
              <a:tr h="2125363">
                <a:tc>
                  <a:txBody>
                    <a:bodyPr/>
                    <a:lstStyle/>
                    <a:p>
                      <a:pPr algn="ctr"/>
                      <a:r>
                        <a:rPr lang="en-US" sz="2000" b="1" dirty="0">
                          <a:solidFill>
                            <a:schemeClr val="bg1"/>
                          </a:solidFill>
                        </a:rPr>
                        <a:t>Low Importance,</a:t>
                      </a:r>
                    </a:p>
                    <a:p>
                      <a:pPr algn="ctr"/>
                      <a:r>
                        <a:rPr lang="en-US" sz="2000" b="1" dirty="0">
                          <a:solidFill>
                            <a:schemeClr val="bg1"/>
                          </a:solidFill>
                        </a:rPr>
                        <a:t>Low Likelihood of Disruption</a:t>
                      </a:r>
                    </a:p>
                  </a:txBody>
                  <a:tcPr>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lin ang="8100000" scaled="1"/>
                      <a:tileRect/>
                    </a:gradFill>
                  </a:tcPr>
                </a:tc>
                <a:tc>
                  <a:txBody>
                    <a:bodyPr/>
                    <a:lstStyle/>
                    <a:p>
                      <a:pPr algn="ctr"/>
                      <a:r>
                        <a:rPr lang="en-US" sz="2000" b="1" dirty="0">
                          <a:solidFill>
                            <a:schemeClr val="bg1"/>
                          </a:solidFill>
                        </a:rPr>
                        <a:t>Low Importance,</a:t>
                      </a:r>
                    </a:p>
                    <a:p>
                      <a:pPr algn="ctr"/>
                      <a:r>
                        <a:rPr lang="en-US" sz="2000" b="1" dirty="0">
                          <a:solidFill>
                            <a:schemeClr val="bg1"/>
                          </a:solidFill>
                        </a:rPr>
                        <a:t>High Likelihood of Disruption</a:t>
                      </a:r>
                    </a:p>
                  </a:txBody>
                  <a:tcPr>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lin ang="2700000" scaled="1"/>
                      <a:tileRect/>
                    </a:gradFill>
                  </a:tcPr>
                </a:tc>
                <a:extLst>
                  <a:ext uri="{0D108BD9-81ED-4DB2-BD59-A6C34878D82A}">
                    <a16:rowId xmlns:a16="http://schemas.microsoft.com/office/drawing/2014/main" val="3822537752"/>
                  </a:ext>
                </a:extLst>
              </a:tr>
            </a:tbl>
          </a:graphicData>
        </a:graphic>
      </p:graphicFrame>
      <p:sp>
        <p:nvSpPr>
          <p:cNvPr id="7" name="TextBox 6">
            <a:extLst>
              <a:ext uri="{FF2B5EF4-FFF2-40B4-BE49-F238E27FC236}">
                <a16:creationId xmlns:a16="http://schemas.microsoft.com/office/drawing/2014/main" id="{CF33A94D-0B6F-BC05-8D24-016AC25453B6}"/>
              </a:ext>
            </a:extLst>
          </p:cNvPr>
          <p:cNvSpPr txBox="1"/>
          <p:nvPr/>
        </p:nvSpPr>
        <p:spPr>
          <a:xfrm>
            <a:off x="5399804" y="1545964"/>
            <a:ext cx="2582758" cy="369332"/>
          </a:xfrm>
          <a:prstGeom prst="rect">
            <a:avLst/>
          </a:prstGeom>
          <a:noFill/>
        </p:spPr>
        <p:txBody>
          <a:bodyPr wrap="none" rtlCol="0">
            <a:spAutoFit/>
          </a:bodyPr>
          <a:lstStyle/>
          <a:p>
            <a:r>
              <a:rPr lang="en-US" dirty="0"/>
              <a:t>Likelihood of Disruption</a:t>
            </a:r>
          </a:p>
        </p:txBody>
      </p:sp>
      <p:sp>
        <p:nvSpPr>
          <p:cNvPr id="10" name="TextBox 9">
            <a:extLst>
              <a:ext uri="{FF2B5EF4-FFF2-40B4-BE49-F238E27FC236}">
                <a16:creationId xmlns:a16="http://schemas.microsoft.com/office/drawing/2014/main" id="{7A3A43AC-9420-4E2F-6EB5-B5204306FF1D}"/>
              </a:ext>
            </a:extLst>
          </p:cNvPr>
          <p:cNvSpPr txBox="1"/>
          <p:nvPr/>
        </p:nvSpPr>
        <p:spPr>
          <a:xfrm rot="16200000">
            <a:off x="1790265" y="3744783"/>
            <a:ext cx="1338828" cy="369332"/>
          </a:xfrm>
          <a:prstGeom prst="rect">
            <a:avLst/>
          </a:prstGeom>
          <a:noFill/>
        </p:spPr>
        <p:txBody>
          <a:bodyPr wrap="none" rtlCol="0">
            <a:spAutoFit/>
          </a:bodyPr>
          <a:lstStyle/>
          <a:p>
            <a:r>
              <a:rPr lang="en-US" dirty="0"/>
              <a:t>Importance</a:t>
            </a:r>
          </a:p>
        </p:txBody>
      </p:sp>
      <p:sp>
        <p:nvSpPr>
          <p:cNvPr id="11" name="TextBox 10">
            <a:extLst>
              <a:ext uri="{FF2B5EF4-FFF2-40B4-BE49-F238E27FC236}">
                <a16:creationId xmlns:a16="http://schemas.microsoft.com/office/drawing/2014/main" id="{F8288A2A-EE81-0FF9-7FB9-42F99221DE89}"/>
              </a:ext>
            </a:extLst>
          </p:cNvPr>
          <p:cNvSpPr txBox="1"/>
          <p:nvPr/>
        </p:nvSpPr>
        <p:spPr>
          <a:xfrm>
            <a:off x="3188043" y="2944271"/>
            <a:ext cx="2907957" cy="584775"/>
          </a:xfrm>
          <a:prstGeom prst="rect">
            <a:avLst/>
          </a:prstGeom>
          <a:noFill/>
        </p:spPr>
        <p:txBody>
          <a:bodyPr wrap="square" rtlCol="0">
            <a:spAutoFit/>
          </a:bodyPr>
          <a:lstStyle/>
          <a:p>
            <a:r>
              <a:rPr lang="en-US" sz="1600" dirty="0">
                <a:solidFill>
                  <a:schemeClr val="bg1"/>
                </a:solidFill>
              </a:rPr>
              <a:t>Primary decision making and customer interfaces</a:t>
            </a:r>
          </a:p>
        </p:txBody>
      </p:sp>
      <p:sp>
        <p:nvSpPr>
          <p:cNvPr id="12" name="TextBox 11">
            <a:extLst>
              <a:ext uri="{FF2B5EF4-FFF2-40B4-BE49-F238E27FC236}">
                <a16:creationId xmlns:a16="http://schemas.microsoft.com/office/drawing/2014/main" id="{F9034411-74E3-08AC-F64F-7D8216F5A88D}"/>
              </a:ext>
            </a:extLst>
          </p:cNvPr>
          <p:cNvSpPr txBox="1"/>
          <p:nvPr/>
        </p:nvSpPr>
        <p:spPr>
          <a:xfrm>
            <a:off x="7195751" y="2946420"/>
            <a:ext cx="3245709" cy="830997"/>
          </a:xfrm>
          <a:prstGeom prst="rect">
            <a:avLst/>
          </a:prstGeom>
          <a:noFill/>
        </p:spPr>
        <p:txBody>
          <a:bodyPr wrap="square" rtlCol="0">
            <a:spAutoFit/>
          </a:bodyPr>
          <a:lstStyle/>
          <a:p>
            <a:r>
              <a:rPr lang="en-US" sz="1600" dirty="0">
                <a:solidFill>
                  <a:schemeClr val="bg1"/>
                </a:solidFill>
              </a:rPr>
              <a:t>Core systems tools, critical data storage, real-time transaction processing</a:t>
            </a:r>
          </a:p>
        </p:txBody>
      </p:sp>
      <p:sp>
        <p:nvSpPr>
          <p:cNvPr id="13" name="TextBox 12">
            <a:extLst>
              <a:ext uri="{FF2B5EF4-FFF2-40B4-BE49-F238E27FC236}">
                <a16:creationId xmlns:a16="http://schemas.microsoft.com/office/drawing/2014/main" id="{CF486B86-8DA0-EBD2-0AEE-7B90AA797E5F}"/>
              </a:ext>
            </a:extLst>
          </p:cNvPr>
          <p:cNvSpPr txBox="1"/>
          <p:nvPr/>
        </p:nvSpPr>
        <p:spPr>
          <a:xfrm>
            <a:off x="3188043" y="5019648"/>
            <a:ext cx="2907957" cy="830997"/>
          </a:xfrm>
          <a:prstGeom prst="rect">
            <a:avLst/>
          </a:prstGeom>
          <a:noFill/>
        </p:spPr>
        <p:txBody>
          <a:bodyPr wrap="square" rtlCol="0">
            <a:spAutoFit/>
          </a:bodyPr>
          <a:lstStyle/>
          <a:p>
            <a:r>
              <a:rPr lang="en-US" sz="1600" dirty="0">
                <a:solidFill>
                  <a:schemeClr val="bg1"/>
                </a:solidFill>
              </a:rPr>
              <a:t>Peripheral tools or optional systems, do not have bearing on mission success</a:t>
            </a:r>
          </a:p>
        </p:txBody>
      </p:sp>
      <p:sp>
        <p:nvSpPr>
          <p:cNvPr id="14" name="TextBox 13">
            <a:extLst>
              <a:ext uri="{FF2B5EF4-FFF2-40B4-BE49-F238E27FC236}">
                <a16:creationId xmlns:a16="http://schemas.microsoft.com/office/drawing/2014/main" id="{4B51A3A5-FCB4-3230-CB61-F4F48B57139A}"/>
              </a:ext>
            </a:extLst>
          </p:cNvPr>
          <p:cNvSpPr txBox="1"/>
          <p:nvPr/>
        </p:nvSpPr>
        <p:spPr>
          <a:xfrm>
            <a:off x="7195750" y="4942705"/>
            <a:ext cx="3245709" cy="830997"/>
          </a:xfrm>
          <a:prstGeom prst="rect">
            <a:avLst/>
          </a:prstGeom>
          <a:noFill/>
        </p:spPr>
        <p:txBody>
          <a:bodyPr wrap="square" rtlCol="0">
            <a:spAutoFit/>
          </a:bodyPr>
          <a:lstStyle/>
          <a:p>
            <a:r>
              <a:rPr lang="en-US" sz="1600" dirty="0">
                <a:solidFill>
                  <a:schemeClr val="bg1"/>
                </a:solidFill>
              </a:rPr>
              <a:t>Auxiliary tools or secondary information sources, non-essentials</a:t>
            </a:r>
          </a:p>
        </p:txBody>
      </p:sp>
    </p:spTree>
    <p:extLst>
      <p:ext uri="{BB962C8B-B14F-4D97-AF65-F5344CB8AC3E}">
        <p14:creationId xmlns:p14="http://schemas.microsoft.com/office/powerpoint/2010/main" val="337858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4206B2-4C84-0062-B557-97CC0A2D3E3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BADE286-17D8-7122-9B58-F410DEA26E29}"/>
              </a:ext>
            </a:extLst>
          </p:cNvPr>
          <p:cNvSpPr>
            <a:spLocks noGrp="1"/>
          </p:cNvSpPr>
          <p:nvPr>
            <p:ph type="title"/>
          </p:nvPr>
        </p:nvSpPr>
        <p:spPr/>
        <p:txBody>
          <a:bodyPr/>
          <a:lstStyle/>
          <a:p>
            <a:r>
              <a:rPr lang="en-US" dirty="0"/>
              <a:t>Turbo Break: Applying the tool framework</a:t>
            </a:r>
          </a:p>
        </p:txBody>
      </p:sp>
      <p:sp>
        <p:nvSpPr>
          <p:cNvPr id="3" name="Text Placeholder 2">
            <a:extLst>
              <a:ext uri="{FF2B5EF4-FFF2-40B4-BE49-F238E27FC236}">
                <a16:creationId xmlns:a16="http://schemas.microsoft.com/office/drawing/2014/main" id="{CB06A2D7-DC6D-049A-5AB2-6E34C55D58BF}"/>
              </a:ext>
            </a:extLst>
          </p:cNvPr>
          <p:cNvSpPr>
            <a:spLocks noGrp="1"/>
          </p:cNvSpPr>
          <p:nvPr>
            <p:ph type="body" sz="quarter" idx="10"/>
          </p:nvPr>
        </p:nvSpPr>
        <p:spPr/>
        <p:txBody>
          <a:bodyPr/>
          <a:lstStyle/>
          <a:p>
            <a:r>
              <a:rPr lang="en-US" b="1" dirty="0"/>
              <a:t>Account Summary API</a:t>
            </a:r>
            <a:endParaRPr lang="en-US" dirty="0"/>
          </a:p>
          <a:p>
            <a:pPr lvl="1"/>
            <a:r>
              <a:rPr lang="en-US" b="1" dirty="0"/>
              <a:t>Importance:</a:t>
            </a:r>
            <a:r>
              <a:rPr lang="en-US" dirty="0"/>
              <a:t> </a:t>
            </a:r>
          </a:p>
          <a:p>
            <a:pPr lvl="1"/>
            <a:r>
              <a:rPr lang="en-US" b="1" dirty="0"/>
              <a:t>Impact:</a:t>
            </a:r>
            <a:r>
              <a:rPr lang="en-US" dirty="0"/>
              <a:t> </a:t>
            </a:r>
          </a:p>
          <a:p>
            <a:r>
              <a:rPr lang="en-US" b="1" dirty="0"/>
              <a:t>Real Time Fraud Detection Rules</a:t>
            </a:r>
            <a:endParaRPr lang="en-US" dirty="0"/>
          </a:p>
          <a:p>
            <a:pPr lvl="1"/>
            <a:r>
              <a:rPr lang="en-US" b="1" dirty="0"/>
              <a:t>Importance:</a:t>
            </a:r>
            <a:r>
              <a:rPr lang="en-US" dirty="0"/>
              <a:t> </a:t>
            </a:r>
          </a:p>
          <a:p>
            <a:pPr lvl="1"/>
            <a:r>
              <a:rPr lang="en-US" b="1" dirty="0"/>
              <a:t>Impact:</a:t>
            </a:r>
            <a:r>
              <a:rPr lang="en-US" dirty="0"/>
              <a:t> </a:t>
            </a:r>
          </a:p>
          <a:p>
            <a:r>
              <a:rPr lang="en-US" b="1" dirty="0"/>
              <a:t>Internal Expense Reporting Tool</a:t>
            </a:r>
            <a:endParaRPr lang="en-US" dirty="0"/>
          </a:p>
          <a:p>
            <a:pPr lvl="1"/>
            <a:r>
              <a:rPr lang="en-US" b="1" dirty="0"/>
              <a:t>Importance:</a:t>
            </a:r>
            <a:r>
              <a:rPr lang="en-US" dirty="0"/>
              <a:t> </a:t>
            </a:r>
          </a:p>
          <a:p>
            <a:pPr lvl="1"/>
            <a:r>
              <a:rPr lang="en-US" b="1" dirty="0"/>
              <a:t>Impact:</a:t>
            </a:r>
            <a:r>
              <a:rPr lang="en-US" dirty="0"/>
              <a:t> </a:t>
            </a:r>
          </a:p>
          <a:p>
            <a:r>
              <a:rPr lang="en-US" b="1" dirty="0"/>
              <a:t>Policy Finder (for Retrieval Chatbot)</a:t>
            </a:r>
            <a:endParaRPr lang="en-US" dirty="0"/>
          </a:p>
          <a:p>
            <a:pPr lvl="1"/>
            <a:r>
              <a:rPr lang="en-US" b="1" dirty="0"/>
              <a:t>Importance:</a:t>
            </a:r>
            <a:r>
              <a:rPr lang="en-US" dirty="0"/>
              <a:t> </a:t>
            </a:r>
          </a:p>
          <a:p>
            <a:pPr lvl="1"/>
            <a:r>
              <a:rPr lang="en-US" b="1" dirty="0"/>
              <a:t>Impact:</a:t>
            </a:r>
            <a:r>
              <a:rPr lang="en-US" dirty="0"/>
              <a:t> </a:t>
            </a:r>
          </a:p>
        </p:txBody>
      </p:sp>
    </p:spTree>
    <p:extLst>
      <p:ext uri="{BB962C8B-B14F-4D97-AF65-F5344CB8AC3E}">
        <p14:creationId xmlns:p14="http://schemas.microsoft.com/office/powerpoint/2010/main" val="361192911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3CCD14-8FB6-CE09-46FC-D58A4FB14C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018BF8-6A6F-3C59-34ED-86CDB8EEC51C}"/>
              </a:ext>
            </a:extLst>
          </p:cNvPr>
          <p:cNvSpPr>
            <a:spLocks noGrp="1"/>
          </p:cNvSpPr>
          <p:nvPr>
            <p:ph type="title"/>
          </p:nvPr>
        </p:nvSpPr>
        <p:spPr/>
        <p:txBody>
          <a:bodyPr/>
          <a:lstStyle/>
          <a:p>
            <a:r>
              <a:rPr lang="en-US" dirty="0"/>
              <a:t>Turbo Break: Applying the tool framework</a:t>
            </a:r>
          </a:p>
        </p:txBody>
      </p:sp>
      <p:sp>
        <p:nvSpPr>
          <p:cNvPr id="3" name="Text Placeholder 2">
            <a:extLst>
              <a:ext uri="{FF2B5EF4-FFF2-40B4-BE49-F238E27FC236}">
                <a16:creationId xmlns:a16="http://schemas.microsoft.com/office/drawing/2014/main" id="{7F15F21E-FE40-C8B7-841F-C0DC84FE6D58}"/>
              </a:ext>
            </a:extLst>
          </p:cNvPr>
          <p:cNvSpPr>
            <a:spLocks noGrp="1"/>
          </p:cNvSpPr>
          <p:nvPr>
            <p:ph type="body" sz="quarter" idx="10"/>
          </p:nvPr>
        </p:nvSpPr>
        <p:spPr/>
        <p:txBody>
          <a:bodyPr/>
          <a:lstStyle/>
          <a:p>
            <a:r>
              <a:rPr lang="en-US" b="1" dirty="0"/>
              <a:t>Account Summary API</a:t>
            </a:r>
            <a:endParaRPr lang="en-US" dirty="0"/>
          </a:p>
          <a:p>
            <a:pPr lvl="1"/>
            <a:r>
              <a:rPr lang="en-US" b="1" dirty="0"/>
              <a:t>Importance:</a:t>
            </a:r>
            <a:r>
              <a:rPr lang="en-US" dirty="0"/>
              <a:t> Critical interface.</a:t>
            </a:r>
          </a:p>
          <a:p>
            <a:pPr lvl="1"/>
            <a:r>
              <a:rPr lang="en-US" b="1" dirty="0"/>
              <a:t>Impact:</a:t>
            </a:r>
            <a:r>
              <a:rPr lang="en-US" dirty="0"/>
              <a:t> Low disruption; incremental changes.</a:t>
            </a:r>
          </a:p>
          <a:p>
            <a:r>
              <a:rPr lang="en-US" b="1" dirty="0"/>
              <a:t>Real Time Fraud Detection Rules</a:t>
            </a:r>
            <a:endParaRPr lang="en-US" dirty="0"/>
          </a:p>
          <a:p>
            <a:pPr lvl="1"/>
            <a:r>
              <a:rPr lang="en-US" b="1" dirty="0"/>
              <a:t>Importance:</a:t>
            </a:r>
            <a:r>
              <a:rPr lang="en-US" dirty="0"/>
              <a:t> Protects assets &amp; compliance.</a:t>
            </a:r>
          </a:p>
          <a:p>
            <a:pPr lvl="1"/>
            <a:r>
              <a:rPr lang="en-US" b="1" dirty="0"/>
              <a:t>Impact:</a:t>
            </a:r>
            <a:r>
              <a:rPr lang="en-US" dirty="0"/>
              <a:t> High disruption; AI can transform detection.</a:t>
            </a:r>
          </a:p>
          <a:p>
            <a:r>
              <a:rPr lang="en-US" b="1" dirty="0"/>
              <a:t>Internal Expense Reporting Tool</a:t>
            </a:r>
            <a:endParaRPr lang="en-US" dirty="0"/>
          </a:p>
          <a:p>
            <a:pPr lvl="1"/>
            <a:r>
              <a:rPr lang="en-US" b="1" dirty="0"/>
              <a:t>Importance:</a:t>
            </a:r>
            <a:r>
              <a:rPr lang="en-US" dirty="0"/>
              <a:t> Peripheral, low value.</a:t>
            </a:r>
          </a:p>
          <a:p>
            <a:pPr lvl="1"/>
            <a:r>
              <a:rPr lang="en-US" b="1" dirty="0"/>
              <a:t>Impact:</a:t>
            </a:r>
            <a:r>
              <a:rPr lang="en-US" dirty="0"/>
              <a:t> Low disruption; minor upgrades.</a:t>
            </a:r>
          </a:p>
          <a:p>
            <a:r>
              <a:rPr lang="en-US" b="1" dirty="0"/>
              <a:t>Policy Finder (for Retrieval Chatbot)</a:t>
            </a:r>
            <a:endParaRPr lang="en-US" dirty="0"/>
          </a:p>
          <a:p>
            <a:pPr lvl="1"/>
            <a:r>
              <a:rPr lang="en-US" b="1" dirty="0"/>
              <a:t>Importance:</a:t>
            </a:r>
            <a:r>
              <a:rPr lang="en-US" dirty="0"/>
              <a:t> Supportive, non-core.</a:t>
            </a:r>
          </a:p>
          <a:p>
            <a:pPr lvl="1"/>
            <a:r>
              <a:rPr lang="en-US" b="1" dirty="0"/>
              <a:t>Impact:</a:t>
            </a:r>
            <a:r>
              <a:rPr lang="en-US" dirty="0"/>
              <a:t> High disruption; quick AI win.</a:t>
            </a:r>
          </a:p>
        </p:txBody>
      </p:sp>
    </p:spTree>
    <p:extLst>
      <p:ext uri="{BB962C8B-B14F-4D97-AF65-F5344CB8AC3E}">
        <p14:creationId xmlns:p14="http://schemas.microsoft.com/office/powerpoint/2010/main" val="19620597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3A14BD-E389-ED61-7C73-C9E6E83D987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BFB565-1724-09FE-6F75-4E286728C8C9}"/>
              </a:ext>
            </a:extLst>
          </p:cNvPr>
          <p:cNvSpPr>
            <a:spLocks noGrp="1"/>
          </p:cNvSpPr>
          <p:nvPr>
            <p:ph type="title"/>
          </p:nvPr>
        </p:nvSpPr>
        <p:spPr/>
        <p:txBody>
          <a:bodyPr/>
          <a:lstStyle/>
          <a:p>
            <a:r>
              <a:rPr lang="en-US" dirty="0"/>
              <a:t>When Tools Meet Trust</a:t>
            </a:r>
          </a:p>
        </p:txBody>
      </p:sp>
      <p:sp>
        <p:nvSpPr>
          <p:cNvPr id="3" name="Text Placeholder 2">
            <a:extLst>
              <a:ext uri="{FF2B5EF4-FFF2-40B4-BE49-F238E27FC236}">
                <a16:creationId xmlns:a16="http://schemas.microsoft.com/office/drawing/2014/main" id="{17AA403B-53C1-0173-E705-404D1737EE5B}"/>
              </a:ext>
            </a:extLst>
          </p:cNvPr>
          <p:cNvSpPr>
            <a:spLocks noGrp="1"/>
          </p:cNvSpPr>
          <p:nvPr>
            <p:ph type="body" sz="quarter" idx="10"/>
          </p:nvPr>
        </p:nvSpPr>
        <p:spPr>
          <a:xfrm>
            <a:off x="4327761" y="2541665"/>
            <a:ext cx="5460571" cy="4957763"/>
          </a:xfrm>
        </p:spPr>
        <p:txBody>
          <a:bodyPr/>
          <a:lstStyle/>
          <a:p>
            <a:pPr marL="0" indent="0">
              <a:buNone/>
            </a:pPr>
            <a:r>
              <a:rPr lang="en-US" dirty="0"/>
              <a:t>Recall the tool paradox…</a:t>
            </a:r>
          </a:p>
          <a:p>
            <a:pPr lvl="1"/>
            <a:r>
              <a:rPr lang="en-US" dirty="0"/>
              <a:t>Imagine an agent with 3 tools:</a:t>
            </a:r>
          </a:p>
          <a:p>
            <a:pPr lvl="2"/>
            <a:r>
              <a:rPr lang="en-US" dirty="0"/>
              <a:t>Check stock level</a:t>
            </a:r>
          </a:p>
          <a:p>
            <a:pPr lvl="2"/>
            <a:r>
              <a:rPr lang="en-US" dirty="0"/>
              <a:t>Discount Item</a:t>
            </a:r>
          </a:p>
          <a:p>
            <a:pPr lvl="2"/>
            <a:r>
              <a:rPr lang="en-US" dirty="0"/>
              <a:t>Publish Sales</a:t>
            </a:r>
          </a:p>
          <a:p>
            <a:pPr lvl="1"/>
            <a:r>
              <a:rPr lang="en-US" dirty="0"/>
              <a:t>In theory this should be great at keeping merchandise moving! What’s the catch?</a:t>
            </a:r>
            <a:br>
              <a:rPr lang="en-US" dirty="0"/>
            </a:br>
            <a:endParaRPr lang="en-US" dirty="0"/>
          </a:p>
          <a:p>
            <a:pPr lvl="1"/>
            <a:r>
              <a:rPr lang="en-US" dirty="0"/>
              <a:t>A solution: Progressive Tool Access</a:t>
            </a:r>
          </a:p>
        </p:txBody>
      </p:sp>
      <p:grpSp>
        <p:nvGrpSpPr>
          <p:cNvPr id="62" name="Group 61">
            <a:extLst>
              <a:ext uri="{FF2B5EF4-FFF2-40B4-BE49-F238E27FC236}">
                <a16:creationId xmlns:a16="http://schemas.microsoft.com/office/drawing/2014/main" id="{92008DE5-F008-0630-640C-A4026026737D}"/>
              </a:ext>
            </a:extLst>
          </p:cNvPr>
          <p:cNvGrpSpPr/>
          <p:nvPr/>
        </p:nvGrpSpPr>
        <p:grpSpPr>
          <a:xfrm>
            <a:off x="1803900" y="1061329"/>
            <a:ext cx="3819479" cy="4503282"/>
            <a:chOff x="7493738" y="1388922"/>
            <a:chExt cx="3819479" cy="4503282"/>
          </a:xfrm>
        </p:grpSpPr>
        <p:sp>
          <p:nvSpPr>
            <p:cNvPr id="5" name="Shape">
              <a:extLst>
                <a:ext uri="{FF2B5EF4-FFF2-40B4-BE49-F238E27FC236}">
                  <a16:creationId xmlns:a16="http://schemas.microsoft.com/office/drawing/2014/main" id="{5825EDAF-5CEC-C9F5-BF73-F8DCB9858968}"/>
                </a:ext>
              </a:extLst>
            </p:cNvPr>
            <p:cNvSpPr/>
            <p:nvPr/>
          </p:nvSpPr>
          <p:spPr>
            <a:xfrm>
              <a:off x="7496313" y="1388922"/>
              <a:ext cx="3816904" cy="4503282"/>
            </a:xfrm>
            <a:custGeom>
              <a:avLst/>
              <a:gdLst/>
              <a:ahLst/>
              <a:cxnLst>
                <a:cxn ang="0">
                  <a:pos x="wd2" y="hd2"/>
                </a:cxn>
                <a:cxn ang="5400000">
                  <a:pos x="wd2" y="hd2"/>
                </a:cxn>
                <a:cxn ang="10800000">
                  <a:pos x="wd2" y="hd2"/>
                </a:cxn>
                <a:cxn ang="16200000">
                  <a:pos x="wd2" y="hd2"/>
                </a:cxn>
              </a:cxnLst>
              <a:rect l="0" t="0" r="r" b="b"/>
              <a:pathLst>
                <a:path w="21600" h="21600" extrusionOk="0">
                  <a:moveTo>
                    <a:pt x="16439" y="0"/>
                  </a:moveTo>
                  <a:lnTo>
                    <a:pt x="21600" y="1296"/>
                  </a:lnTo>
                  <a:lnTo>
                    <a:pt x="21600" y="2388"/>
                  </a:lnTo>
                  <a:lnTo>
                    <a:pt x="16670" y="4346"/>
                  </a:lnTo>
                  <a:cubicBezTo>
                    <a:pt x="16670" y="4346"/>
                    <a:pt x="10123" y="5661"/>
                    <a:pt x="7967" y="10539"/>
                  </a:cubicBezTo>
                  <a:lnTo>
                    <a:pt x="8363" y="11602"/>
                  </a:lnTo>
                  <a:lnTo>
                    <a:pt x="8429" y="12609"/>
                  </a:lnTo>
                  <a:lnTo>
                    <a:pt x="10112" y="13617"/>
                  </a:lnTo>
                  <a:lnTo>
                    <a:pt x="10112" y="14540"/>
                  </a:lnTo>
                  <a:lnTo>
                    <a:pt x="12731" y="14932"/>
                  </a:lnTo>
                  <a:lnTo>
                    <a:pt x="12731" y="20817"/>
                  </a:lnTo>
                  <a:lnTo>
                    <a:pt x="12731" y="21600"/>
                  </a:lnTo>
                  <a:lnTo>
                    <a:pt x="5887" y="20173"/>
                  </a:lnTo>
                  <a:lnTo>
                    <a:pt x="1419" y="15995"/>
                  </a:lnTo>
                  <a:lnTo>
                    <a:pt x="1254" y="15099"/>
                  </a:lnTo>
                  <a:lnTo>
                    <a:pt x="957" y="14232"/>
                  </a:lnTo>
                  <a:lnTo>
                    <a:pt x="297" y="10418"/>
                  </a:lnTo>
                  <a:lnTo>
                    <a:pt x="0" y="9550"/>
                  </a:lnTo>
                  <a:lnTo>
                    <a:pt x="2377" y="6547"/>
                  </a:lnTo>
                  <a:lnTo>
                    <a:pt x="2146" y="5568"/>
                  </a:lnTo>
                  <a:lnTo>
                    <a:pt x="6184" y="3665"/>
                  </a:lnTo>
                  <a:lnTo>
                    <a:pt x="6151" y="2630"/>
                  </a:lnTo>
                  <a:lnTo>
                    <a:pt x="11015" y="1903"/>
                  </a:lnTo>
                  <a:lnTo>
                    <a:pt x="11114" y="923"/>
                  </a:lnTo>
                  <a:lnTo>
                    <a:pt x="15680" y="1063"/>
                  </a:lnTo>
                  <a:lnTo>
                    <a:pt x="16439" y="0"/>
                  </a:lnTo>
                  <a:close/>
                </a:path>
              </a:pathLst>
            </a:custGeom>
            <a:solidFill>
              <a:srgbClr val="475A5A"/>
            </a:solidFill>
            <a:ln w="12700">
              <a:miter lim="400000"/>
            </a:ln>
          </p:spPr>
          <p:txBody>
            <a:bodyPr lIns="38100" tIns="38100" rIns="38100" bIns="38100" anchor="ctr"/>
            <a:lstStyle/>
            <a:p>
              <a:pPr>
                <a:defRPr sz="3000">
                  <a:solidFill>
                    <a:srgbClr val="FFFFFF"/>
                  </a:solidFill>
                </a:defRPr>
              </a:pPr>
              <a:endParaRPr/>
            </a:p>
          </p:txBody>
        </p:sp>
        <p:sp>
          <p:nvSpPr>
            <p:cNvPr id="6" name="Shape">
              <a:extLst>
                <a:ext uri="{FF2B5EF4-FFF2-40B4-BE49-F238E27FC236}">
                  <a16:creationId xmlns:a16="http://schemas.microsoft.com/office/drawing/2014/main" id="{C66AEB9D-F081-4BE4-31E7-5DDC727F0418}"/>
                </a:ext>
              </a:extLst>
            </p:cNvPr>
            <p:cNvSpPr/>
            <p:nvPr/>
          </p:nvSpPr>
          <p:spPr>
            <a:xfrm>
              <a:off x="10057800" y="1388922"/>
              <a:ext cx="1252209" cy="678605"/>
            </a:xfrm>
            <a:custGeom>
              <a:avLst/>
              <a:gdLst/>
              <a:ahLst/>
              <a:cxnLst>
                <a:cxn ang="0">
                  <a:pos x="wd2" y="hd2"/>
                </a:cxn>
                <a:cxn ang="5400000">
                  <a:pos x="wd2" y="hd2"/>
                </a:cxn>
                <a:cxn ang="10800000">
                  <a:pos x="wd2" y="hd2"/>
                </a:cxn>
                <a:cxn ang="16200000">
                  <a:pos x="wd2" y="hd2"/>
                </a:cxn>
              </a:cxnLst>
              <a:rect l="0" t="0" r="r" b="b"/>
              <a:pathLst>
                <a:path w="21600" h="21600" extrusionOk="0">
                  <a:moveTo>
                    <a:pt x="3522" y="7117"/>
                  </a:moveTo>
                  <a:lnTo>
                    <a:pt x="0" y="17330"/>
                  </a:lnTo>
                  <a:lnTo>
                    <a:pt x="6876" y="21600"/>
                  </a:lnTo>
                  <a:lnTo>
                    <a:pt x="21600" y="8603"/>
                  </a:lnTo>
                  <a:lnTo>
                    <a:pt x="5870" y="0"/>
                  </a:lnTo>
                  <a:close/>
                </a:path>
              </a:pathLst>
            </a:custGeom>
            <a:solidFill>
              <a:schemeClr val="tx2">
                <a:lumMod val="75000"/>
                <a:lumOff val="25000"/>
              </a:schemeClr>
            </a:solidFill>
            <a:ln w="12700">
              <a:miter lim="400000"/>
            </a:ln>
          </p:spPr>
          <p:txBody>
            <a:bodyPr lIns="38100" tIns="38100" rIns="38100" bIns="38100" anchor="ctr"/>
            <a:lstStyle/>
            <a:p>
              <a:pPr>
                <a:defRPr sz="3000">
                  <a:solidFill>
                    <a:srgbClr val="FFFFFF"/>
                  </a:solidFill>
                </a:defRPr>
              </a:pPr>
              <a:endParaRPr/>
            </a:p>
          </p:txBody>
        </p:sp>
        <p:sp>
          <p:nvSpPr>
            <p:cNvPr id="7" name="Shape">
              <a:extLst>
                <a:ext uri="{FF2B5EF4-FFF2-40B4-BE49-F238E27FC236}">
                  <a16:creationId xmlns:a16="http://schemas.microsoft.com/office/drawing/2014/main" id="{A10CC94D-F6CD-EE82-B890-972AA83DE510}"/>
                </a:ext>
              </a:extLst>
            </p:cNvPr>
            <p:cNvSpPr/>
            <p:nvPr/>
          </p:nvSpPr>
          <p:spPr>
            <a:xfrm>
              <a:off x="9460180" y="1583363"/>
              <a:ext cx="804992" cy="571661"/>
            </a:xfrm>
            <a:custGeom>
              <a:avLst/>
              <a:gdLst/>
              <a:ahLst/>
              <a:cxnLst>
                <a:cxn ang="0">
                  <a:pos x="wd2" y="hd2"/>
                </a:cxn>
                <a:cxn ang="5400000">
                  <a:pos x="wd2" y="hd2"/>
                </a:cxn>
                <a:cxn ang="10800000">
                  <a:pos x="wd2" y="hd2"/>
                </a:cxn>
                <a:cxn ang="16200000">
                  <a:pos x="wd2" y="hd2"/>
                </a:cxn>
              </a:cxnLst>
              <a:rect l="0" t="0" r="r" b="b"/>
              <a:pathLst>
                <a:path w="21600" h="21600" extrusionOk="0">
                  <a:moveTo>
                    <a:pt x="4383" y="21600"/>
                  </a:moveTo>
                  <a:lnTo>
                    <a:pt x="0" y="0"/>
                  </a:lnTo>
                  <a:lnTo>
                    <a:pt x="21600" y="1102"/>
                  </a:lnTo>
                  <a:lnTo>
                    <a:pt x="16122" y="13224"/>
                  </a:lnTo>
                  <a:lnTo>
                    <a:pt x="16122" y="21600"/>
                  </a:lnTo>
                  <a:close/>
                </a:path>
              </a:pathLst>
            </a:custGeom>
            <a:solidFill>
              <a:schemeClr val="accent3"/>
            </a:solidFill>
            <a:ln w="12700">
              <a:miter lim="400000"/>
            </a:ln>
          </p:spPr>
          <p:txBody>
            <a:bodyPr lIns="38100" tIns="38100" rIns="38100" bIns="38100" anchor="ctr"/>
            <a:lstStyle/>
            <a:p>
              <a:pPr>
                <a:defRPr sz="3000">
                  <a:solidFill>
                    <a:srgbClr val="FFFFFF"/>
                  </a:solidFill>
                </a:defRPr>
              </a:pPr>
              <a:endParaRPr/>
            </a:p>
          </p:txBody>
        </p:sp>
        <p:sp>
          <p:nvSpPr>
            <p:cNvPr id="8" name="Shape">
              <a:extLst>
                <a:ext uri="{FF2B5EF4-FFF2-40B4-BE49-F238E27FC236}">
                  <a16:creationId xmlns:a16="http://schemas.microsoft.com/office/drawing/2014/main" id="{3CF44F75-8F0B-6620-633F-69EEDEF7684F}"/>
                </a:ext>
              </a:extLst>
            </p:cNvPr>
            <p:cNvSpPr/>
            <p:nvPr/>
          </p:nvSpPr>
          <p:spPr>
            <a:xfrm>
              <a:off x="8582613" y="1785530"/>
              <a:ext cx="1016934" cy="666938"/>
            </a:xfrm>
            <a:custGeom>
              <a:avLst/>
              <a:gdLst/>
              <a:ahLst/>
              <a:cxnLst>
                <a:cxn ang="0">
                  <a:pos x="wd2" y="hd2"/>
                </a:cxn>
                <a:cxn ang="5400000">
                  <a:pos x="wd2" y="hd2"/>
                </a:cxn>
                <a:cxn ang="10800000">
                  <a:pos x="wd2" y="hd2"/>
                </a:cxn>
                <a:cxn ang="16200000">
                  <a:pos x="wd2" y="hd2"/>
                </a:cxn>
              </a:cxnLst>
              <a:rect l="0" t="0" r="r" b="b"/>
              <a:pathLst>
                <a:path w="21600" h="21600" extrusionOk="0">
                  <a:moveTo>
                    <a:pt x="0" y="4912"/>
                  </a:moveTo>
                  <a:lnTo>
                    <a:pt x="13629" y="21600"/>
                  </a:lnTo>
                  <a:lnTo>
                    <a:pt x="21600" y="18955"/>
                  </a:lnTo>
                  <a:lnTo>
                    <a:pt x="18255" y="0"/>
                  </a:lnTo>
                  <a:close/>
                </a:path>
              </a:pathLst>
            </a:cu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a:p>
          </p:txBody>
        </p:sp>
        <p:sp>
          <p:nvSpPr>
            <p:cNvPr id="9" name="Shape">
              <a:extLst>
                <a:ext uri="{FF2B5EF4-FFF2-40B4-BE49-F238E27FC236}">
                  <a16:creationId xmlns:a16="http://schemas.microsoft.com/office/drawing/2014/main" id="{6AE170E8-129D-39A6-97A7-0D26B31D9680}"/>
                </a:ext>
              </a:extLst>
            </p:cNvPr>
            <p:cNvSpPr/>
            <p:nvPr/>
          </p:nvSpPr>
          <p:spPr>
            <a:xfrm>
              <a:off x="7873479" y="2149820"/>
              <a:ext cx="1343596" cy="719438"/>
            </a:xfrm>
            <a:custGeom>
              <a:avLst/>
              <a:gdLst/>
              <a:ahLst/>
              <a:cxnLst>
                <a:cxn ang="0">
                  <a:pos x="wd2" y="hd2"/>
                </a:cxn>
                <a:cxn ang="5400000">
                  <a:pos x="wd2" y="hd2"/>
                </a:cxn>
                <a:cxn ang="10800000">
                  <a:pos x="wd2" y="hd2"/>
                </a:cxn>
                <a:cxn ang="16200000">
                  <a:pos x="wd2" y="hd2"/>
                </a:cxn>
              </a:cxnLst>
              <a:rect l="0" t="0" r="r" b="b"/>
              <a:pathLst>
                <a:path w="21600" h="21600" extrusionOk="0">
                  <a:moveTo>
                    <a:pt x="0" y="11968"/>
                  </a:moveTo>
                  <a:lnTo>
                    <a:pt x="17192" y="21600"/>
                  </a:lnTo>
                  <a:lnTo>
                    <a:pt x="21600" y="15470"/>
                  </a:lnTo>
                  <a:lnTo>
                    <a:pt x="11472" y="0"/>
                  </a:lnTo>
                  <a:close/>
                </a:path>
              </a:pathLst>
            </a:custGeom>
            <a:solidFill>
              <a:schemeClr val="accent6"/>
            </a:solidFill>
            <a:ln w="12700">
              <a:miter lim="400000"/>
            </a:ln>
          </p:spPr>
          <p:txBody>
            <a:bodyPr lIns="38100" tIns="38100" rIns="38100" bIns="38100" anchor="ctr"/>
            <a:lstStyle/>
            <a:p>
              <a:pPr>
                <a:defRPr sz="3000">
                  <a:solidFill>
                    <a:srgbClr val="FFFFFF"/>
                  </a:solidFill>
                </a:defRPr>
              </a:pPr>
              <a:endParaRPr/>
            </a:p>
          </p:txBody>
        </p:sp>
        <p:sp>
          <p:nvSpPr>
            <p:cNvPr id="10" name="Shape">
              <a:extLst>
                <a:ext uri="{FF2B5EF4-FFF2-40B4-BE49-F238E27FC236}">
                  <a16:creationId xmlns:a16="http://schemas.microsoft.com/office/drawing/2014/main" id="{ED670598-DE8B-53ED-3D74-4FB9F6F00CE0}"/>
                </a:ext>
              </a:extLst>
            </p:cNvPr>
            <p:cNvSpPr/>
            <p:nvPr/>
          </p:nvSpPr>
          <p:spPr>
            <a:xfrm>
              <a:off x="7493738" y="2752592"/>
              <a:ext cx="1473874" cy="62610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9719" y="19990"/>
                  </a:lnTo>
                  <a:lnTo>
                    <a:pt x="21600" y="10465"/>
                  </a:lnTo>
                  <a:lnTo>
                    <a:pt x="6184" y="0"/>
                  </a:lnTo>
                  <a:close/>
                </a:path>
              </a:pathLst>
            </a:custGeom>
            <a:solidFill>
              <a:schemeClr val="accent6">
                <a:lumMod val="60000"/>
                <a:lumOff val="40000"/>
              </a:schemeClr>
            </a:solidFill>
            <a:ln w="12700">
              <a:miter lim="400000"/>
            </a:ln>
          </p:spPr>
          <p:txBody>
            <a:bodyPr lIns="38100" tIns="38100" rIns="38100" bIns="38100" anchor="ctr"/>
            <a:lstStyle/>
            <a:p>
              <a:pPr>
                <a:defRPr sz="3000">
                  <a:solidFill>
                    <a:srgbClr val="FFFFFF"/>
                  </a:solidFill>
                </a:defRPr>
              </a:pPr>
              <a:endParaRPr/>
            </a:p>
          </p:txBody>
        </p:sp>
        <p:sp>
          <p:nvSpPr>
            <p:cNvPr id="11" name="Shape">
              <a:extLst>
                <a:ext uri="{FF2B5EF4-FFF2-40B4-BE49-F238E27FC236}">
                  <a16:creationId xmlns:a16="http://schemas.microsoft.com/office/drawing/2014/main" id="{F64489AA-0FCB-A052-F354-1574A49B1716}"/>
                </a:ext>
              </a:extLst>
            </p:cNvPr>
            <p:cNvSpPr/>
            <p:nvPr/>
          </p:nvSpPr>
          <p:spPr>
            <a:xfrm>
              <a:off x="7545553" y="3507026"/>
              <a:ext cx="1427209" cy="836103"/>
            </a:xfrm>
            <a:custGeom>
              <a:avLst/>
              <a:gdLst/>
              <a:ahLst/>
              <a:cxnLst>
                <a:cxn ang="0">
                  <a:pos x="wd2" y="hd2"/>
                </a:cxn>
                <a:cxn ang="5400000">
                  <a:pos x="wd2" y="hd2"/>
                </a:cxn>
                <a:cxn ang="10800000">
                  <a:pos x="wd2" y="hd2"/>
                </a:cxn>
                <a:cxn ang="16200000">
                  <a:pos x="wd2" y="hd2"/>
                </a:cxn>
              </a:cxnLst>
              <a:rect l="0" t="0" r="r" b="b"/>
              <a:pathLst>
                <a:path w="21600" h="21600" extrusionOk="0">
                  <a:moveTo>
                    <a:pt x="1766" y="21600"/>
                  </a:moveTo>
                  <a:lnTo>
                    <a:pt x="21600" y="7384"/>
                  </a:lnTo>
                  <a:lnTo>
                    <a:pt x="20099" y="0"/>
                  </a:lnTo>
                  <a:lnTo>
                    <a:pt x="0" y="1055"/>
                  </a:lnTo>
                  <a:close/>
                </a:path>
              </a:pathLst>
            </a:custGeom>
            <a:solidFill>
              <a:schemeClr val="accent4"/>
            </a:solidFill>
            <a:ln w="12700">
              <a:miter lim="400000"/>
            </a:ln>
          </p:spPr>
          <p:txBody>
            <a:bodyPr lIns="38100" tIns="38100" rIns="38100" bIns="38100" anchor="ctr"/>
            <a:lstStyle/>
            <a:p>
              <a:pPr>
                <a:defRPr sz="3000">
                  <a:solidFill>
                    <a:srgbClr val="FFFFFF"/>
                  </a:solidFill>
                </a:defRPr>
              </a:pPr>
              <a:endParaRPr/>
            </a:p>
          </p:txBody>
        </p:sp>
        <p:sp>
          <p:nvSpPr>
            <p:cNvPr id="12" name="Shape">
              <a:extLst>
                <a:ext uri="{FF2B5EF4-FFF2-40B4-BE49-F238E27FC236}">
                  <a16:creationId xmlns:a16="http://schemas.microsoft.com/office/drawing/2014/main" id="{85CC02D7-22EB-375D-C5F0-1E8BE0CD967D}"/>
                </a:ext>
              </a:extLst>
            </p:cNvPr>
            <p:cNvSpPr/>
            <p:nvPr/>
          </p:nvSpPr>
          <p:spPr>
            <a:xfrm>
              <a:off x="7717924" y="4019042"/>
              <a:ext cx="1565261" cy="1226930"/>
            </a:xfrm>
            <a:custGeom>
              <a:avLst/>
              <a:gdLst/>
              <a:ahLst/>
              <a:cxnLst>
                <a:cxn ang="0">
                  <a:pos x="wd2" y="hd2"/>
                </a:cxn>
                <a:cxn ang="5400000">
                  <a:pos x="wd2" y="hd2"/>
                </a:cxn>
                <a:cxn ang="10800000">
                  <a:pos x="wd2" y="hd2"/>
                </a:cxn>
                <a:cxn ang="16200000">
                  <a:pos x="wd2" y="hd2"/>
                </a:cxn>
              </a:cxnLst>
              <a:rect l="0" t="0" r="r" b="b"/>
              <a:pathLst>
                <a:path w="21600" h="21600" extrusionOk="0">
                  <a:moveTo>
                    <a:pt x="0" y="9140"/>
                  </a:moveTo>
                  <a:lnTo>
                    <a:pt x="17495" y="0"/>
                  </a:lnTo>
                  <a:lnTo>
                    <a:pt x="21600" y="3697"/>
                  </a:lnTo>
                  <a:lnTo>
                    <a:pt x="10787" y="21600"/>
                  </a:lnTo>
                  <a:close/>
                </a:path>
              </a:pathLst>
            </a:custGeom>
            <a:solidFill>
              <a:schemeClr val="accent2"/>
            </a:solidFill>
            <a:ln w="12700">
              <a:miter lim="400000"/>
            </a:ln>
          </p:spPr>
          <p:txBody>
            <a:bodyPr lIns="38100" tIns="38100" rIns="38100" bIns="38100" anchor="ctr"/>
            <a:lstStyle/>
            <a:p>
              <a:pPr>
                <a:defRPr sz="3000">
                  <a:solidFill>
                    <a:srgbClr val="FFFFFF"/>
                  </a:solidFill>
                </a:defRPr>
              </a:pPr>
              <a:endParaRPr dirty="0"/>
            </a:p>
          </p:txBody>
        </p:sp>
        <p:sp>
          <p:nvSpPr>
            <p:cNvPr id="13" name="Shape">
              <a:extLst>
                <a:ext uri="{FF2B5EF4-FFF2-40B4-BE49-F238E27FC236}">
                  <a16:creationId xmlns:a16="http://schemas.microsoft.com/office/drawing/2014/main" id="{3EBDACFD-8DDD-B3EC-582C-5748CE57E885}"/>
                </a:ext>
              </a:extLst>
            </p:cNvPr>
            <p:cNvSpPr/>
            <p:nvPr/>
          </p:nvSpPr>
          <p:spPr>
            <a:xfrm>
              <a:off x="8546300" y="4422218"/>
              <a:ext cx="1199710" cy="1310543"/>
            </a:xfrm>
            <a:custGeom>
              <a:avLst/>
              <a:gdLst/>
              <a:ahLst/>
              <a:cxnLst>
                <a:cxn ang="0">
                  <a:pos x="wd2" y="hd2"/>
                </a:cxn>
                <a:cxn ang="5400000">
                  <a:pos x="wd2" y="hd2"/>
                </a:cxn>
                <a:cxn ang="10800000">
                  <a:pos x="wd2" y="hd2"/>
                </a:cxn>
                <a:cxn ang="16200000">
                  <a:pos x="wd2" y="hd2"/>
                </a:cxn>
              </a:cxnLst>
              <a:rect l="0" t="0" r="r" b="b"/>
              <a:pathLst>
                <a:path w="21600" h="21600" extrusionOk="0">
                  <a:moveTo>
                    <a:pt x="0" y="16761"/>
                  </a:moveTo>
                  <a:lnTo>
                    <a:pt x="13268" y="0"/>
                  </a:lnTo>
                  <a:lnTo>
                    <a:pt x="21600" y="1346"/>
                  </a:lnTo>
                  <a:lnTo>
                    <a:pt x="21600" y="21600"/>
                  </a:lnTo>
                  <a:close/>
                </a:path>
              </a:pathLst>
            </a:custGeom>
            <a:solidFill>
              <a:schemeClr val="accent5"/>
            </a:solidFill>
            <a:ln w="12700">
              <a:miter lim="400000"/>
            </a:ln>
          </p:spPr>
          <p:txBody>
            <a:bodyPr lIns="38100" tIns="38100" rIns="38100" bIns="38100" anchor="ctr"/>
            <a:lstStyle/>
            <a:p>
              <a:pPr>
                <a:defRPr sz="3000">
                  <a:solidFill>
                    <a:srgbClr val="FFFFFF"/>
                  </a:solidFill>
                </a:defRPr>
              </a:pPr>
              <a:endParaRPr/>
            </a:p>
          </p:txBody>
        </p:sp>
      </p:grpSp>
    </p:spTree>
    <p:extLst>
      <p:ext uri="{BB962C8B-B14F-4D97-AF65-F5344CB8AC3E}">
        <p14:creationId xmlns:p14="http://schemas.microsoft.com/office/powerpoint/2010/main" val="182912086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056C9C-3699-45AE-5919-CCCE9A7DFA2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D72BFA-99E3-0452-22D5-F7C85A34BF43}"/>
              </a:ext>
            </a:extLst>
          </p:cNvPr>
          <p:cNvSpPr>
            <a:spLocks noGrp="1"/>
          </p:cNvSpPr>
          <p:nvPr>
            <p:ph type="title"/>
          </p:nvPr>
        </p:nvSpPr>
        <p:spPr/>
        <p:txBody>
          <a:bodyPr/>
          <a:lstStyle/>
          <a:p>
            <a:r>
              <a:rPr lang="en-US" dirty="0"/>
              <a:t>Progressive Tool Access</a:t>
            </a:r>
          </a:p>
        </p:txBody>
      </p:sp>
      <p:sp>
        <p:nvSpPr>
          <p:cNvPr id="14" name="Text Placeholder 13">
            <a:extLst>
              <a:ext uri="{FF2B5EF4-FFF2-40B4-BE49-F238E27FC236}">
                <a16:creationId xmlns:a16="http://schemas.microsoft.com/office/drawing/2014/main" id="{13DA53D5-AA8A-E478-B023-0C2CD5A7F8A0}"/>
              </a:ext>
            </a:extLst>
          </p:cNvPr>
          <p:cNvSpPr>
            <a:spLocks noGrp="1"/>
          </p:cNvSpPr>
          <p:nvPr>
            <p:ph type="body" sz="quarter" idx="10"/>
          </p:nvPr>
        </p:nvSpPr>
        <p:spPr>
          <a:xfrm>
            <a:off x="790575" y="1173843"/>
            <a:ext cx="7546022" cy="4957763"/>
          </a:xfrm>
        </p:spPr>
        <p:txBody>
          <a:bodyPr/>
          <a:lstStyle/>
          <a:p>
            <a:r>
              <a:rPr lang="en-US" dirty="0"/>
              <a:t>Provide tools on a need-to-use basis only giving tools that are essential for the immediate task</a:t>
            </a:r>
          </a:p>
          <a:p>
            <a:endParaRPr lang="en-US" dirty="0"/>
          </a:p>
          <a:p>
            <a:r>
              <a:rPr lang="en-US" dirty="0"/>
              <a:t>Incrementally add tools and validate performance.</a:t>
            </a:r>
          </a:p>
          <a:p>
            <a:endParaRPr lang="en-US" dirty="0"/>
          </a:p>
          <a:p>
            <a:r>
              <a:rPr lang="en-US" dirty="0"/>
              <a:t>Build trust over a set of tools, thus reducing the risk of misuse and errors by overcomplicating the system.</a:t>
            </a:r>
          </a:p>
          <a:p>
            <a:pPr lvl="1"/>
            <a:r>
              <a:rPr lang="en-US" dirty="0"/>
              <a:t>Ex: Give the agent the ability to analyze the stock including what stock should be eligible for discounts.</a:t>
            </a:r>
            <a:br>
              <a:rPr lang="en-US" dirty="0"/>
            </a:br>
            <a:endParaRPr lang="en-US" dirty="0"/>
          </a:p>
          <a:p>
            <a:r>
              <a:rPr lang="en-US" dirty="0"/>
              <a:t>Logging and Monitoring helps us improve our tools and understand why agents repeatedly fails.</a:t>
            </a:r>
            <a:br>
              <a:rPr lang="en-US" dirty="0"/>
            </a:br>
            <a:endParaRPr lang="en-US" dirty="0"/>
          </a:p>
        </p:txBody>
      </p:sp>
      <p:grpSp>
        <p:nvGrpSpPr>
          <p:cNvPr id="38" name="Group 37">
            <a:extLst>
              <a:ext uri="{FF2B5EF4-FFF2-40B4-BE49-F238E27FC236}">
                <a16:creationId xmlns:a16="http://schemas.microsoft.com/office/drawing/2014/main" id="{0A19289C-4336-659D-3C58-5A90FA954E63}"/>
              </a:ext>
            </a:extLst>
          </p:cNvPr>
          <p:cNvGrpSpPr/>
          <p:nvPr/>
        </p:nvGrpSpPr>
        <p:grpSpPr>
          <a:xfrm>
            <a:off x="8530477" y="884172"/>
            <a:ext cx="2645799" cy="4856163"/>
            <a:chOff x="7079049" y="1173843"/>
            <a:chExt cx="2645799" cy="4856163"/>
          </a:xfrm>
        </p:grpSpPr>
        <p:sp>
          <p:nvSpPr>
            <p:cNvPr id="15" name="Freeform: Shape 46">
              <a:extLst>
                <a:ext uri="{FF2B5EF4-FFF2-40B4-BE49-F238E27FC236}">
                  <a16:creationId xmlns:a16="http://schemas.microsoft.com/office/drawing/2014/main" id="{53BAC5D0-4BAC-7FEC-79AD-C9BF9B9AB106}"/>
                </a:ext>
              </a:extLst>
            </p:cNvPr>
            <p:cNvSpPr>
              <a:spLocks/>
            </p:cNvSpPr>
            <p:nvPr/>
          </p:nvSpPr>
          <p:spPr bwMode="auto">
            <a:xfrm>
              <a:off x="7624095" y="1173843"/>
              <a:ext cx="1859957" cy="1820753"/>
            </a:xfrm>
            <a:custGeom>
              <a:avLst/>
              <a:gdLst>
                <a:gd name="connsiteX0" fmla="*/ 350756 w 1859957"/>
                <a:gd name="connsiteY0" fmla="*/ 0 h 1820753"/>
                <a:gd name="connsiteX1" fmla="*/ 1859957 w 1859957"/>
                <a:gd name="connsiteY1" fmla="*/ 1357459 h 1820753"/>
                <a:gd name="connsiteX2" fmla="*/ 818260 w 1859957"/>
                <a:gd name="connsiteY2" fmla="*/ 1820753 h 1820753"/>
                <a:gd name="connsiteX3" fmla="*/ 782145 w 1859957"/>
                <a:gd name="connsiteY3" fmla="*/ 1745781 h 1820753"/>
                <a:gd name="connsiteX4" fmla="*/ 80662 w 1859957"/>
                <a:gd name="connsiteY4" fmla="*/ 1109148 h 1820753"/>
                <a:gd name="connsiteX5" fmla="*/ 0 w 1859957"/>
                <a:gd name="connsiteY5" fmla="*/ 1079626 h 1820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59957" h="1820753">
                  <a:moveTo>
                    <a:pt x="350756" y="0"/>
                  </a:moveTo>
                  <a:cubicBezTo>
                    <a:pt x="1023587" y="218245"/>
                    <a:pt x="1572145" y="711866"/>
                    <a:pt x="1859957" y="1357459"/>
                  </a:cubicBezTo>
                  <a:lnTo>
                    <a:pt x="818260" y="1820753"/>
                  </a:lnTo>
                  <a:lnTo>
                    <a:pt x="782145" y="1745781"/>
                  </a:lnTo>
                  <a:cubicBezTo>
                    <a:pt x="627893" y="1461829"/>
                    <a:pt x="380354" y="1235908"/>
                    <a:pt x="80662" y="1109148"/>
                  </a:cubicBezTo>
                  <a:lnTo>
                    <a:pt x="0" y="1079626"/>
                  </a:lnTo>
                  <a:close/>
                </a:path>
              </a:pathLst>
            </a:custGeom>
            <a:solidFill>
              <a:srgbClr val="F15F47"/>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16" name="Freeform: Shape 47">
              <a:extLst>
                <a:ext uri="{FF2B5EF4-FFF2-40B4-BE49-F238E27FC236}">
                  <a16:creationId xmlns:a16="http://schemas.microsoft.com/office/drawing/2014/main" id="{91BFD2DC-9AAE-5E41-CCC6-DD023D9FDCC6}"/>
                </a:ext>
              </a:extLst>
            </p:cNvPr>
            <p:cNvSpPr>
              <a:spLocks/>
            </p:cNvSpPr>
            <p:nvPr/>
          </p:nvSpPr>
          <p:spPr bwMode="auto">
            <a:xfrm>
              <a:off x="8468414" y="2586717"/>
              <a:ext cx="1256434" cy="2030413"/>
            </a:xfrm>
            <a:custGeom>
              <a:avLst/>
              <a:gdLst>
                <a:gd name="connsiteX0" fmla="*/ 1040611 w 1256434"/>
                <a:gd name="connsiteY0" fmla="*/ 0 h 2030413"/>
                <a:gd name="connsiteX1" fmla="*/ 1040611 w 1256434"/>
                <a:gd name="connsiteY1" fmla="*/ 2030413 h 2030413"/>
                <a:gd name="connsiteX2" fmla="*/ 0 w 1256434"/>
                <a:gd name="connsiteY2" fmla="*/ 1567193 h 2030413"/>
                <a:gd name="connsiteX3" fmla="*/ 46236 w 1256434"/>
                <a:gd name="connsiteY3" fmla="*/ 1440867 h 2030413"/>
                <a:gd name="connsiteX4" fmla="*/ 110590 w 1256434"/>
                <a:gd name="connsiteY4" fmla="*/ 1015206 h 2030413"/>
                <a:gd name="connsiteX5" fmla="*/ 46236 w 1256434"/>
                <a:gd name="connsiteY5" fmla="*/ 589545 h 2030413"/>
                <a:gd name="connsiteX6" fmla="*/ 1 w 1256434"/>
                <a:gd name="connsiteY6" fmla="*/ 463220 h 2030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434" h="2030413">
                  <a:moveTo>
                    <a:pt x="1040611" y="0"/>
                  </a:moveTo>
                  <a:cubicBezTo>
                    <a:pt x="1328375" y="646058"/>
                    <a:pt x="1328375" y="1383974"/>
                    <a:pt x="1040611" y="2030413"/>
                  </a:cubicBezTo>
                  <a:lnTo>
                    <a:pt x="0" y="1567193"/>
                  </a:lnTo>
                  <a:lnTo>
                    <a:pt x="46236" y="1440867"/>
                  </a:lnTo>
                  <a:cubicBezTo>
                    <a:pt x="88060" y="1306401"/>
                    <a:pt x="110590" y="1163435"/>
                    <a:pt x="110590" y="1015206"/>
                  </a:cubicBezTo>
                  <a:cubicBezTo>
                    <a:pt x="110590" y="866978"/>
                    <a:pt x="88060" y="724011"/>
                    <a:pt x="46236" y="589545"/>
                  </a:cubicBezTo>
                  <a:lnTo>
                    <a:pt x="1" y="463220"/>
                  </a:lnTo>
                  <a:close/>
                </a:path>
              </a:pathLst>
            </a:custGeom>
            <a:solidFill>
              <a:srgbClr val="FBA91E"/>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17" name="Freeform: Shape 48">
              <a:extLst>
                <a:ext uri="{FF2B5EF4-FFF2-40B4-BE49-F238E27FC236}">
                  <a16:creationId xmlns:a16="http://schemas.microsoft.com/office/drawing/2014/main" id="{52551059-4F2B-984F-ED1A-4A14D81E0DB2}"/>
                </a:ext>
              </a:extLst>
            </p:cNvPr>
            <p:cNvSpPr>
              <a:spLocks/>
            </p:cNvSpPr>
            <p:nvPr/>
          </p:nvSpPr>
          <p:spPr bwMode="auto">
            <a:xfrm>
              <a:off x="7624095" y="4209253"/>
              <a:ext cx="1859957" cy="1820753"/>
            </a:xfrm>
            <a:custGeom>
              <a:avLst/>
              <a:gdLst>
                <a:gd name="connsiteX0" fmla="*/ 818260 w 1859957"/>
                <a:gd name="connsiteY0" fmla="*/ 0 h 1820753"/>
                <a:gd name="connsiteX1" fmla="*/ 1859957 w 1859957"/>
                <a:gd name="connsiteY1" fmla="*/ 463294 h 1820753"/>
                <a:gd name="connsiteX2" fmla="*/ 350756 w 1859957"/>
                <a:gd name="connsiteY2" fmla="*/ 1820753 h 1820753"/>
                <a:gd name="connsiteX3" fmla="*/ 0 w 1859957"/>
                <a:gd name="connsiteY3" fmla="*/ 741127 h 1820753"/>
                <a:gd name="connsiteX4" fmla="*/ 80662 w 1859957"/>
                <a:gd name="connsiteY4" fmla="*/ 711604 h 1820753"/>
                <a:gd name="connsiteX5" fmla="*/ 782145 w 1859957"/>
                <a:gd name="connsiteY5" fmla="*/ 74972 h 1820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59957" h="1820753">
                  <a:moveTo>
                    <a:pt x="818260" y="0"/>
                  </a:moveTo>
                  <a:lnTo>
                    <a:pt x="1859957" y="463294"/>
                  </a:lnTo>
                  <a:cubicBezTo>
                    <a:pt x="1572145" y="1108887"/>
                    <a:pt x="1023587" y="1602509"/>
                    <a:pt x="350756" y="1820753"/>
                  </a:cubicBezTo>
                  <a:lnTo>
                    <a:pt x="0" y="741127"/>
                  </a:lnTo>
                  <a:lnTo>
                    <a:pt x="80662" y="711604"/>
                  </a:lnTo>
                  <a:cubicBezTo>
                    <a:pt x="380354" y="584845"/>
                    <a:pt x="627893" y="358923"/>
                    <a:pt x="782145" y="74972"/>
                  </a:cubicBezTo>
                  <a:close/>
                </a:path>
              </a:pathLst>
            </a:custGeom>
            <a:solidFill>
              <a:srgbClr val="FEDA2F"/>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pic>
          <p:nvPicPr>
            <p:cNvPr id="30" name="Graphic 29" descr="Layers Design with solid fill">
              <a:extLst>
                <a:ext uri="{FF2B5EF4-FFF2-40B4-BE49-F238E27FC236}">
                  <a16:creationId xmlns:a16="http://schemas.microsoft.com/office/drawing/2014/main" id="{498A4D20-E83E-4581-10B3-9C731C672D4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982328" y="3327603"/>
              <a:ext cx="548640" cy="548640"/>
            </a:xfrm>
            <a:prstGeom prst="rect">
              <a:avLst/>
            </a:prstGeom>
          </p:spPr>
        </p:pic>
        <p:pic>
          <p:nvPicPr>
            <p:cNvPr id="31" name="Graphic 30" descr="Badge Tick with solid fill">
              <a:extLst>
                <a:ext uri="{FF2B5EF4-FFF2-40B4-BE49-F238E27FC236}">
                  <a16:creationId xmlns:a16="http://schemas.microsoft.com/office/drawing/2014/main" id="{8F218904-D397-8345-6AB3-7FC264D45DC5}"/>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8367062" y="1845838"/>
              <a:ext cx="548640" cy="548640"/>
            </a:xfrm>
            <a:prstGeom prst="rect">
              <a:avLst/>
            </a:prstGeom>
          </p:spPr>
        </p:pic>
        <p:pic>
          <p:nvPicPr>
            <p:cNvPr id="32" name="Graphic 31" descr="Quill with solid fill">
              <a:extLst>
                <a:ext uri="{FF2B5EF4-FFF2-40B4-BE49-F238E27FC236}">
                  <a16:creationId xmlns:a16="http://schemas.microsoft.com/office/drawing/2014/main" id="{770B429C-C94F-7DF7-F35F-3068055EF010}"/>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8367062" y="4809370"/>
              <a:ext cx="548640" cy="548640"/>
            </a:xfrm>
            <a:prstGeom prst="rect">
              <a:avLst/>
            </a:prstGeom>
          </p:spPr>
        </p:pic>
        <p:pic>
          <p:nvPicPr>
            <p:cNvPr id="33" name="Graphic 32" descr="Bullseye with solid fill">
              <a:extLst>
                <a:ext uri="{FF2B5EF4-FFF2-40B4-BE49-F238E27FC236}">
                  <a16:creationId xmlns:a16="http://schemas.microsoft.com/office/drawing/2014/main" id="{1A54AFA1-CCED-5D8A-1932-5B2B71D82DF5}"/>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7079049" y="3144723"/>
              <a:ext cx="914400" cy="914400"/>
            </a:xfrm>
            <a:prstGeom prst="rect">
              <a:avLst/>
            </a:prstGeom>
          </p:spPr>
        </p:pic>
        <p:sp>
          <p:nvSpPr>
            <p:cNvPr id="34" name="Freeform: Shape 65">
              <a:extLst>
                <a:ext uri="{FF2B5EF4-FFF2-40B4-BE49-F238E27FC236}">
                  <a16:creationId xmlns:a16="http://schemas.microsoft.com/office/drawing/2014/main" id="{3673B209-D9BD-4054-CF72-852521F7BE01}"/>
                </a:ext>
              </a:extLst>
            </p:cNvPr>
            <p:cNvSpPr>
              <a:spLocks/>
            </p:cNvSpPr>
            <p:nvPr/>
          </p:nvSpPr>
          <p:spPr bwMode="auto">
            <a:xfrm>
              <a:off x="7624095" y="2012006"/>
              <a:ext cx="1055521" cy="982590"/>
            </a:xfrm>
            <a:custGeom>
              <a:avLst/>
              <a:gdLst>
                <a:gd name="connsiteX0" fmla="*/ 78448 w 1055521"/>
                <a:gd name="connsiteY0" fmla="*/ 0 h 982590"/>
                <a:gd name="connsiteX1" fmla="*/ 188583 w 1055521"/>
                <a:gd name="connsiteY1" fmla="*/ 40310 h 982590"/>
                <a:gd name="connsiteX2" fmla="*/ 1012752 w 1055521"/>
                <a:gd name="connsiteY2" fmla="*/ 788286 h 982590"/>
                <a:gd name="connsiteX3" fmla="*/ 1055521 w 1055521"/>
                <a:gd name="connsiteY3" fmla="*/ 877069 h 982590"/>
                <a:gd name="connsiteX4" fmla="*/ 818260 w 1055521"/>
                <a:gd name="connsiteY4" fmla="*/ 982590 h 982590"/>
                <a:gd name="connsiteX5" fmla="*/ 782145 w 1055521"/>
                <a:gd name="connsiteY5" fmla="*/ 907618 h 982590"/>
                <a:gd name="connsiteX6" fmla="*/ 80662 w 1055521"/>
                <a:gd name="connsiteY6" fmla="*/ 270985 h 982590"/>
                <a:gd name="connsiteX7" fmla="*/ 0 w 1055521"/>
                <a:gd name="connsiteY7" fmla="*/ 241463 h 982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5521" h="982590">
                  <a:moveTo>
                    <a:pt x="78448" y="0"/>
                  </a:moveTo>
                  <a:lnTo>
                    <a:pt x="188583" y="40310"/>
                  </a:lnTo>
                  <a:cubicBezTo>
                    <a:pt x="540691" y="189239"/>
                    <a:pt x="831522" y="454673"/>
                    <a:pt x="1012752" y="788286"/>
                  </a:cubicBezTo>
                  <a:lnTo>
                    <a:pt x="1055521" y="877069"/>
                  </a:lnTo>
                  <a:lnTo>
                    <a:pt x="818260" y="982590"/>
                  </a:lnTo>
                  <a:lnTo>
                    <a:pt x="782145" y="907618"/>
                  </a:lnTo>
                  <a:cubicBezTo>
                    <a:pt x="627893" y="623666"/>
                    <a:pt x="380354" y="397745"/>
                    <a:pt x="80662" y="270985"/>
                  </a:cubicBezTo>
                  <a:lnTo>
                    <a:pt x="0" y="241463"/>
                  </a:lnTo>
                  <a:close/>
                </a:path>
              </a:pathLst>
            </a:custGeom>
            <a:solidFill>
              <a:schemeClr val="tx1">
                <a:alpha val="2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Shape 66">
              <a:extLst>
                <a:ext uri="{FF2B5EF4-FFF2-40B4-BE49-F238E27FC236}">
                  <a16:creationId xmlns:a16="http://schemas.microsoft.com/office/drawing/2014/main" id="{4A5E1785-946A-5330-0948-9B7C84D9056A}"/>
                </a:ext>
              </a:extLst>
            </p:cNvPr>
            <p:cNvSpPr>
              <a:spLocks/>
            </p:cNvSpPr>
            <p:nvPr/>
          </p:nvSpPr>
          <p:spPr bwMode="auto">
            <a:xfrm>
              <a:off x="8468415" y="2944119"/>
              <a:ext cx="371413" cy="1315609"/>
            </a:xfrm>
            <a:custGeom>
              <a:avLst/>
              <a:gdLst>
                <a:gd name="connsiteX0" fmla="*/ 237718 w 371413"/>
                <a:gd name="connsiteY0" fmla="*/ 0 h 1315609"/>
                <a:gd name="connsiteX1" fmla="*/ 239251 w 371413"/>
                <a:gd name="connsiteY1" fmla="*/ 3184 h 1315609"/>
                <a:gd name="connsiteX2" fmla="*/ 371413 w 371413"/>
                <a:gd name="connsiteY2" fmla="*/ 657804 h 1315609"/>
                <a:gd name="connsiteX3" fmla="*/ 239251 w 371413"/>
                <a:gd name="connsiteY3" fmla="*/ 1312424 h 1315609"/>
                <a:gd name="connsiteX4" fmla="*/ 237717 w 371413"/>
                <a:gd name="connsiteY4" fmla="*/ 1315609 h 1315609"/>
                <a:gd name="connsiteX5" fmla="*/ 0 w 371413"/>
                <a:gd name="connsiteY5" fmla="*/ 1209791 h 1315609"/>
                <a:gd name="connsiteX6" fmla="*/ 46236 w 371413"/>
                <a:gd name="connsiteY6" fmla="*/ 1083465 h 1315609"/>
                <a:gd name="connsiteX7" fmla="*/ 110590 w 371413"/>
                <a:gd name="connsiteY7" fmla="*/ 657804 h 1315609"/>
                <a:gd name="connsiteX8" fmla="*/ 46236 w 371413"/>
                <a:gd name="connsiteY8" fmla="*/ 232143 h 1315609"/>
                <a:gd name="connsiteX9" fmla="*/ 1 w 371413"/>
                <a:gd name="connsiteY9" fmla="*/ 105818 h 131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1413" h="1315609">
                  <a:moveTo>
                    <a:pt x="237718" y="0"/>
                  </a:moveTo>
                  <a:lnTo>
                    <a:pt x="239251" y="3184"/>
                  </a:lnTo>
                  <a:cubicBezTo>
                    <a:pt x="324354" y="204388"/>
                    <a:pt x="371413" y="425600"/>
                    <a:pt x="371413" y="657804"/>
                  </a:cubicBezTo>
                  <a:cubicBezTo>
                    <a:pt x="371413" y="890008"/>
                    <a:pt x="324354" y="1111220"/>
                    <a:pt x="239251" y="1312424"/>
                  </a:cubicBezTo>
                  <a:lnTo>
                    <a:pt x="237717" y="1315609"/>
                  </a:lnTo>
                  <a:lnTo>
                    <a:pt x="0" y="1209791"/>
                  </a:lnTo>
                  <a:lnTo>
                    <a:pt x="46236" y="1083465"/>
                  </a:lnTo>
                  <a:cubicBezTo>
                    <a:pt x="88060" y="948999"/>
                    <a:pt x="110590" y="806033"/>
                    <a:pt x="110590" y="657804"/>
                  </a:cubicBezTo>
                  <a:cubicBezTo>
                    <a:pt x="110590" y="509576"/>
                    <a:pt x="88060" y="366609"/>
                    <a:pt x="46236" y="232143"/>
                  </a:cubicBezTo>
                  <a:lnTo>
                    <a:pt x="1" y="105818"/>
                  </a:lnTo>
                  <a:close/>
                </a:path>
              </a:pathLst>
            </a:custGeom>
            <a:solidFill>
              <a:schemeClr val="tx1">
                <a:alpha val="2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Shape 68">
              <a:extLst>
                <a:ext uri="{FF2B5EF4-FFF2-40B4-BE49-F238E27FC236}">
                  <a16:creationId xmlns:a16="http://schemas.microsoft.com/office/drawing/2014/main" id="{F009F18C-B0C8-3867-03F1-F1FC560FFFBF}"/>
                </a:ext>
              </a:extLst>
            </p:cNvPr>
            <p:cNvSpPr>
              <a:spLocks/>
            </p:cNvSpPr>
            <p:nvPr/>
          </p:nvSpPr>
          <p:spPr bwMode="auto">
            <a:xfrm>
              <a:off x="7624095" y="4209253"/>
              <a:ext cx="1055519" cy="982588"/>
            </a:xfrm>
            <a:custGeom>
              <a:avLst/>
              <a:gdLst>
                <a:gd name="connsiteX0" fmla="*/ 818260 w 1055519"/>
                <a:gd name="connsiteY0" fmla="*/ 0 h 982588"/>
                <a:gd name="connsiteX1" fmla="*/ 1055519 w 1055519"/>
                <a:gd name="connsiteY1" fmla="*/ 105521 h 982588"/>
                <a:gd name="connsiteX2" fmla="*/ 1012752 w 1055519"/>
                <a:gd name="connsiteY2" fmla="*/ 194301 h 982588"/>
                <a:gd name="connsiteX3" fmla="*/ 188583 w 1055519"/>
                <a:gd name="connsiteY3" fmla="*/ 942277 h 982588"/>
                <a:gd name="connsiteX4" fmla="*/ 78448 w 1055519"/>
                <a:gd name="connsiteY4" fmla="*/ 982588 h 982588"/>
                <a:gd name="connsiteX5" fmla="*/ 0 w 1055519"/>
                <a:gd name="connsiteY5" fmla="*/ 741127 h 982588"/>
                <a:gd name="connsiteX6" fmla="*/ 80662 w 1055519"/>
                <a:gd name="connsiteY6" fmla="*/ 711604 h 982588"/>
                <a:gd name="connsiteX7" fmla="*/ 782145 w 1055519"/>
                <a:gd name="connsiteY7" fmla="*/ 74972 h 98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5519" h="982588">
                  <a:moveTo>
                    <a:pt x="818260" y="0"/>
                  </a:moveTo>
                  <a:lnTo>
                    <a:pt x="1055519" y="105521"/>
                  </a:lnTo>
                  <a:lnTo>
                    <a:pt x="1012752" y="194301"/>
                  </a:lnTo>
                  <a:cubicBezTo>
                    <a:pt x="831522" y="527915"/>
                    <a:pt x="540691" y="793349"/>
                    <a:pt x="188583" y="942277"/>
                  </a:cubicBezTo>
                  <a:lnTo>
                    <a:pt x="78448" y="982588"/>
                  </a:lnTo>
                  <a:lnTo>
                    <a:pt x="0" y="741127"/>
                  </a:lnTo>
                  <a:lnTo>
                    <a:pt x="80662" y="711604"/>
                  </a:lnTo>
                  <a:cubicBezTo>
                    <a:pt x="380354" y="584845"/>
                    <a:pt x="627893" y="358923"/>
                    <a:pt x="782145" y="74972"/>
                  </a:cubicBezTo>
                  <a:close/>
                </a:path>
              </a:pathLst>
            </a:custGeom>
            <a:solidFill>
              <a:schemeClr val="tx1">
                <a:alpha val="2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9701988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934D55-B2EB-0662-B701-B37182041FE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BE6D2EA-AD82-B2EF-6411-4C6F82E7BF3B}"/>
              </a:ext>
            </a:extLst>
          </p:cNvPr>
          <p:cNvSpPr>
            <a:spLocks noGrp="1"/>
          </p:cNvSpPr>
          <p:nvPr>
            <p:ph type="title"/>
          </p:nvPr>
        </p:nvSpPr>
        <p:spPr/>
        <p:txBody>
          <a:bodyPr/>
          <a:lstStyle/>
          <a:p>
            <a:r>
              <a:rPr lang="en-US" dirty="0"/>
              <a:t>Test, Test, Test</a:t>
            </a:r>
          </a:p>
        </p:txBody>
      </p:sp>
      <p:sp>
        <p:nvSpPr>
          <p:cNvPr id="3" name="Text Placeholder 2">
            <a:extLst>
              <a:ext uri="{FF2B5EF4-FFF2-40B4-BE49-F238E27FC236}">
                <a16:creationId xmlns:a16="http://schemas.microsoft.com/office/drawing/2014/main" id="{7E1AB7A6-8B0E-D073-D952-60221FC018D2}"/>
              </a:ext>
            </a:extLst>
          </p:cNvPr>
          <p:cNvSpPr>
            <a:spLocks noGrp="1"/>
          </p:cNvSpPr>
          <p:nvPr>
            <p:ph type="body" sz="quarter" idx="10"/>
          </p:nvPr>
        </p:nvSpPr>
        <p:spPr>
          <a:xfrm>
            <a:off x="384049" y="884172"/>
            <a:ext cx="6410452" cy="4957763"/>
          </a:xfrm>
        </p:spPr>
        <p:txBody>
          <a:bodyPr/>
          <a:lstStyle/>
          <a:p>
            <a:pPr marL="457200" indent="-457200">
              <a:buFont typeface="+mj-lt"/>
              <a:buAutoNum type="arabicPeriod"/>
            </a:pPr>
            <a:r>
              <a:rPr lang="en-US" sz="2000" dirty="0"/>
              <a:t>Let’s do some prompting! Paste the prompt provided.</a:t>
            </a:r>
          </a:p>
          <a:p>
            <a:pPr marL="0" indent="0">
              <a:buNone/>
            </a:pPr>
            <a:endParaRPr lang="en-US" sz="2000" dirty="0"/>
          </a:p>
          <a:p>
            <a:pPr marL="0" indent="0">
              <a:buNone/>
            </a:pPr>
            <a:r>
              <a:rPr lang="en-US" sz="2000" dirty="0"/>
              <a:t>Questions:</a:t>
            </a:r>
          </a:p>
          <a:p>
            <a:pPr marL="400042" lvl="1" indent="0">
              <a:buNone/>
            </a:pPr>
            <a:r>
              <a:rPr lang="en-US" sz="1600" dirty="0"/>
              <a:t>What security checks did it implement?</a:t>
            </a:r>
          </a:p>
          <a:p>
            <a:pPr marL="400042" lvl="1" indent="0">
              <a:buNone/>
            </a:pPr>
            <a:r>
              <a:rPr lang="en-US" sz="1600" dirty="0"/>
              <a:t>Did it verify tool usage?</a:t>
            </a:r>
          </a:p>
          <a:p>
            <a:pPr marL="400042" lvl="1" indent="0">
              <a:buNone/>
            </a:pPr>
            <a:r>
              <a:rPr lang="en-US" sz="1600" dirty="0"/>
              <a:t>Did it understand the requirements?</a:t>
            </a:r>
          </a:p>
          <a:p>
            <a:pPr marL="400042" lvl="1" indent="0">
              <a:buNone/>
            </a:pPr>
            <a:r>
              <a:rPr lang="en-US" sz="1600" dirty="0"/>
              <a:t>Did it understand some instructions better than others?</a:t>
            </a:r>
            <a:br>
              <a:rPr lang="en-US" sz="1600" dirty="0"/>
            </a:br>
            <a:endParaRPr lang="en-US" sz="1600" dirty="0"/>
          </a:p>
          <a:p>
            <a:pPr marL="457200" indent="-457200">
              <a:buFont typeface="+mj-lt"/>
              <a:buAutoNum type="arabicPeriod" startAt="2"/>
            </a:pPr>
            <a:r>
              <a:rPr lang="en-US" sz="2000" dirty="0"/>
              <a:t>Let’s try another prompt!</a:t>
            </a:r>
          </a:p>
          <a:p>
            <a:pPr marL="0" indent="0">
              <a:buNone/>
            </a:pPr>
            <a:r>
              <a:rPr lang="en-US" sz="2000" dirty="0"/>
              <a:t>	Did the agent act within its known parameter?</a:t>
            </a:r>
          </a:p>
          <a:p>
            <a:pPr marL="0" indent="0">
              <a:buNone/>
            </a:pPr>
            <a:endParaRPr lang="en-US" sz="2000" dirty="0"/>
          </a:p>
          <a:p>
            <a:pPr marL="0" indent="0">
              <a:buNone/>
            </a:pPr>
            <a:r>
              <a:rPr lang="en-US" sz="2000" dirty="0"/>
              <a:t>Questions:</a:t>
            </a:r>
          </a:p>
          <a:p>
            <a:pPr marL="400042" lvl="1" indent="0">
              <a:buNone/>
            </a:pPr>
            <a:r>
              <a:rPr lang="en-US" sz="1600" dirty="0"/>
              <a:t>Did it provide any actionable capability to mitigate suspicious attempts to access data? </a:t>
            </a:r>
          </a:p>
          <a:p>
            <a:endParaRPr lang="en-US" sz="2000" dirty="0"/>
          </a:p>
          <a:p>
            <a:pPr marL="0" indent="0">
              <a:buNone/>
            </a:pPr>
            <a:endParaRPr lang="en-US" sz="2000" dirty="0"/>
          </a:p>
        </p:txBody>
      </p:sp>
      <p:sp>
        <p:nvSpPr>
          <p:cNvPr id="4" name="TextBox 3">
            <a:extLst>
              <a:ext uri="{FF2B5EF4-FFF2-40B4-BE49-F238E27FC236}">
                <a16:creationId xmlns:a16="http://schemas.microsoft.com/office/drawing/2014/main" id="{0B88A715-0FD5-2E9A-88AC-C540CAE8F230}"/>
              </a:ext>
            </a:extLst>
          </p:cNvPr>
          <p:cNvSpPr txBox="1"/>
          <p:nvPr/>
        </p:nvSpPr>
        <p:spPr>
          <a:xfrm>
            <a:off x="384048" y="6084348"/>
            <a:ext cx="3412024" cy="923330"/>
          </a:xfrm>
          <a:prstGeom prst="rect">
            <a:avLst/>
          </a:prstGeom>
          <a:noFill/>
        </p:spPr>
        <p:txBody>
          <a:bodyPr wrap="none" rtlCol="0">
            <a:spAutoFit/>
          </a:bodyPr>
          <a:lstStyle/>
          <a:p>
            <a:r>
              <a:rPr lang="en-US" dirty="0">
                <a:hlinkClick r:id="rId3"/>
              </a:rPr>
              <a:t>https://arxiv.org/pdf/2410.14728</a:t>
            </a:r>
            <a:endParaRPr lang="en-US" dirty="0"/>
          </a:p>
          <a:p>
            <a:r>
              <a:rPr lang="en-US" dirty="0">
                <a:hlinkClick r:id="rId4"/>
              </a:rPr>
              <a:t>https://arxiv.org/pdf/2108.02006</a:t>
            </a:r>
            <a:endParaRPr lang="en-US" dirty="0"/>
          </a:p>
          <a:p>
            <a:endParaRPr lang="en-US" dirty="0"/>
          </a:p>
        </p:txBody>
      </p:sp>
      <p:sp>
        <p:nvSpPr>
          <p:cNvPr id="6" name="Rounded Rectangle 5">
            <a:extLst>
              <a:ext uri="{FF2B5EF4-FFF2-40B4-BE49-F238E27FC236}">
                <a16:creationId xmlns:a16="http://schemas.microsoft.com/office/drawing/2014/main" id="{D2C7D636-7509-CA29-CF2C-5A2ED82FF8FB}"/>
              </a:ext>
            </a:extLst>
          </p:cNvPr>
          <p:cNvSpPr/>
          <p:nvPr/>
        </p:nvSpPr>
        <p:spPr>
          <a:xfrm>
            <a:off x="6855016" y="803744"/>
            <a:ext cx="5063411" cy="5632931"/>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t"/>
          <a:lstStyle/>
          <a:p>
            <a:pPr algn="ctr"/>
            <a:r>
              <a:rPr lang="en-US" sz="2400" b="1" dirty="0"/>
              <a:t>Lessons</a:t>
            </a:r>
          </a:p>
          <a:p>
            <a:pPr algn="ctr"/>
            <a:endParaRPr lang="en-US" sz="2400" b="1" dirty="0"/>
          </a:p>
          <a:p>
            <a:pPr marL="342900" indent="-342900">
              <a:buFont typeface="Arial" panose="020B0604020202020204" pitchFamily="34" charset="0"/>
              <a:buChar char="•"/>
            </a:pPr>
            <a:r>
              <a:rPr lang="en-US" sz="2400" dirty="0"/>
              <a:t>Agents must have </a:t>
            </a:r>
            <a:r>
              <a:rPr lang="en-US" sz="2400" b="1" i="1" dirty="0"/>
              <a:t>explicitly defined protocols</a:t>
            </a:r>
            <a:r>
              <a:rPr lang="en-US" sz="2400" dirty="0"/>
              <a:t>. Write out a detailed manual.</a:t>
            </a:r>
            <a:br>
              <a:rPr lang="en-US" sz="2400" dirty="0"/>
            </a:br>
            <a:endParaRPr lang="en-US" sz="2400" dirty="0"/>
          </a:p>
          <a:p>
            <a:pPr marL="342900" indent="-342900">
              <a:buFont typeface="Arial" panose="020B0604020202020204" pitchFamily="34" charset="0"/>
              <a:buChar char="•"/>
            </a:pPr>
            <a:r>
              <a:rPr lang="en-US" sz="2400" b="1" i="1" dirty="0"/>
              <a:t>Human oversight is indispensable</a:t>
            </a:r>
            <a:r>
              <a:rPr lang="en-US" sz="2400" dirty="0"/>
              <a:t>; engineer it into your tools and agents</a:t>
            </a:r>
            <a:br>
              <a:rPr lang="en-US" sz="2400" dirty="0"/>
            </a:br>
            <a:endParaRPr lang="en-US" sz="2400" dirty="0"/>
          </a:p>
          <a:p>
            <a:pPr marL="342900" indent="-342900">
              <a:buFont typeface="Arial" panose="020B0604020202020204" pitchFamily="34" charset="0"/>
              <a:buChar char="•"/>
            </a:pPr>
            <a:r>
              <a:rPr lang="en-US" sz="2400" b="1" i="1" dirty="0"/>
              <a:t>Regular audits are necessary </a:t>
            </a:r>
            <a:r>
              <a:rPr lang="en-US" sz="2400" dirty="0"/>
              <a:t>to ensure they align to customers and stated goals.</a:t>
            </a:r>
          </a:p>
        </p:txBody>
      </p:sp>
    </p:spTree>
    <p:extLst>
      <p:ext uri="{BB962C8B-B14F-4D97-AF65-F5344CB8AC3E}">
        <p14:creationId xmlns:p14="http://schemas.microsoft.com/office/powerpoint/2010/main" val="1686716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0D54C3-9FCE-8FAE-19CD-BDB0177D51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024AE52-D837-EC62-5CFA-97F430EF496D}"/>
              </a:ext>
            </a:extLst>
          </p:cNvPr>
          <p:cNvSpPr>
            <a:spLocks noGrp="1"/>
          </p:cNvSpPr>
          <p:nvPr>
            <p:ph type="title"/>
          </p:nvPr>
        </p:nvSpPr>
        <p:spPr/>
        <p:txBody>
          <a:bodyPr/>
          <a:lstStyle/>
          <a:p>
            <a:r>
              <a:rPr lang="en-US" dirty="0"/>
              <a:t>When Things Go Wrong; Lessons from the Field</a:t>
            </a:r>
          </a:p>
        </p:txBody>
      </p:sp>
      <p:sp>
        <p:nvSpPr>
          <p:cNvPr id="3" name="Text Placeholder 2">
            <a:extLst>
              <a:ext uri="{FF2B5EF4-FFF2-40B4-BE49-F238E27FC236}">
                <a16:creationId xmlns:a16="http://schemas.microsoft.com/office/drawing/2014/main" id="{31FA49C5-3C08-379B-0F71-3E4A0C2E77FA}"/>
              </a:ext>
            </a:extLst>
          </p:cNvPr>
          <p:cNvSpPr>
            <a:spLocks noGrp="1"/>
          </p:cNvSpPr>
          <p:nvPr>
            <p:ph type="body" sz="quarter" idx="10"/>
          </p:nvPr>
        </p:nvSpPr>
        <p:spPr/>
        <p:txBody>
          <a:bodyPr/>
          <a:lstStyle/>
          <a:p>
            <a:r>
              <a:rPr lang="en-US" dirty="0"/>
              <a:t>At a major pharmaceutical we deployed an AI agent for regulatory document processing equally weighting:</a:t>
            </a:r>
          </a:p>
          <a:p>
            <a:pPr lvl="1"/>
            <a:r>
              <a:rPr lang="en-US" dirty="0"/>
              <a:t>High Conflict: Regulatory Accuracy vs Processing Speed</a:t>
            </a:r>
          </a:p>
          <a:p>
            <a:pPr lvl="1"/>
            <a:r>
              <a:rPr lang="en-US" dirty="0"/>
              <a:t>High Conflict: Cost Efficiency vs Human Oversight</a:t>
            </a:r>
          </a:p>
          <a:p>
            <a:pPr lvl="1"/>
            <a:r>
              <a:rPr lang="en-US" dirty="0"/>
              <a:t>Low Conflict: Global Consistency vs Local Flexibility</a:t>
            </a:r>
          </a:p>
          <a:p>
            <a:pPr lvl="1"/>
            <a:endParaRPr lang="en-US" dirty="0"/>
          </a:p>
          <a:p>
            <a:r>
              <a:rPr lang="en-US" dirty="0"/>
              <a:t>Building an agent that can navigate conflicts is a troubling proposition. Pick one! </a:t>
            </a:r>
            <a:br>
              <a:rPr lang="en-US" dirty="0"/>
            </a:br>
            <a:endParaRPr lang="en-US" dirty="0"/>
          </a:p>
          <a:p>
            <a:r>
              <a:rPr lang="en-US" dirty="0"/>
              <a:t>This is called a priority matrix. We transform the agents role from </a:t>
            </a:r>
            <a:r>
              <a:rPr lang="en-US" dirty="0" err="1"/>
              <a:t>deicison</a:t>
            </a:r>
            <a:r>
              <a:rPr lang="en-US" dirty="0"/>
              <a:t> maker to </a:t>
            </a:r>
            <a:r>
              <a:rPr lang="en-US" b="1" u="sng" dirty="0"/>
              <a:t>decision implementer</a:t>
            </a:r>
            <a:r>
              <a:rPr lang="en-US" b="1" dirty="0"/>
              <a:t> </a:t>
            </a:r>
            <a:r>
              <a:rPr lang="en-US" dirty="0"/>
              <a:t>which is much better; play to an LLMs strengths vs weakness.</a:t>
            </a:r>
            <a:endParaRPr lang="en-US" b="1" u="sng" dirty="0"/>
          </a:p>
          <a:p>
            <a:pPr lvl="1"/>
            <a:endParaRPr lang="en-US" dirty="0"/>
          </a:p>
        </p:txBody>
      </p:sp>
    </p:spTree>
    <p:extLst>
      <p:ext uri="{BB962C8B-B14F-4D97-AF65-F5344CB8AC3E}">
        <p14:creationId xmlns:p14="http://schemas.microsoft.com/office/powerpoint/2010/main" val="239484877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4D78ED-2386-D442-8BB7-53259CAD80B3}"/>
            </a:ext>
          </a:extLst>
        </p:cNvPr>
        <p:cNvGrpSpPr/>
        <p:nvPr/>
      </p:nvGrpSpPr>
      <p:grpSpPr>
        <a:xfrm>
          <a:off x="0" y="0"/>
          <a:ext cx="0" cy="0"/>
          <a:chOff x="0" y="0"/>
          <a:chExt cx="0" cy="0"/>
        </a:xfrm>
      </p:grpSpPr>
      <p:sp>
        <p:nvSpPr>
          <p:cNvPr id="55" name="Rectangle 54">
            <a:extLst>
              <a:ext uri="{FF2B5EF4-FFF2-40B4-BE49-F238E27FC236}">
                <a16:creationId xmlns:a16="http://schemas.microsoft.com/office/drawing/2014/main" id="{6C0BDEC4-26C7-9D78-E941-CAC2767A7BE0}"/>
              </a:ext>
            </a:extLst>
          </p:cNvPr>
          <p:cNvSpPr/>
          <p:nvPr/>
        </p:nvSpPr>
        <p:spPr>
          <a:xfrm>
            <a:off x="85495" y="0"/>
            <a:ext cx="12192000" cy="6858000"/>
          </a:xfrm>
          <a:prstGeom prst="rect">
            <a:avLst/>
          </a:prstGeom>
          <a:solidFill>
            <a:schemeClr val="tx1">
              <a:lumMod val="50000"/>
              <a:lumOff val="50000"/>
              <a:alpha val="2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4E36A33B-2056-33CB-B777-52CB18F7EFE9}"/>
              </a:ext>
            </a:extLst>
          </p:cNvPr>
          <p:cNvSpPr>
            <a:spLocks noGrp="1"/>
          </p:cNvSpPr>
          <p:nvPr>
            <p:ph type="title"/>
          </p:nvPr>
        </p:nvSpPr>
        <p:spPr/>
        <p:txBody>
          <a:bodyPr/>
          <a:lstStyle/>
          <a:p>
            <a:r>
              <a:rPr lang="en-US" dirty="0"/>
              <a:t>Implementation Lessons</a:t>
            </a:r>
          </a:p>
        </p:txBody>
      </p:sp>
      <p:sp>
        <p:nvSpPr>
          <p:cNvPr id="3" name="Text Placeholder 2">
            <a:extLst>
              <a:ext uri="{FF2B5EF4-FFF2-40B4-BE49-F238E27FC236}">
                <a16:creationId xmlns:a16="http://schemas.microsoft.com/office/drawing/2014/main" id="{1AE89837-C316-3F49-D7DA-2D9DDC52B12E}"/>
              </a:ext>
            </a:extLst>
          </p:cNvPr>
          <p:cNvSpPr>
            <a:spLocks noGrp="1"/>
          </p:cNvSpPr>
          <p:nvPr>
            <p:ph type="body" sz="quarter" idx="10"/>
          </p:nvPr>
        </p:nvSpPr>
        <p:spPr>
          <a:xfrm>
            <a:off x="6014648" y="321534"/>
            <a:ext cx="6313851" cy="4957763"/>
          </a:xfrm>
        </p:spPr>
        <p:txBody>
          <a:bodyPr/>
          <a:lstStyle/>
          <a:p>
            <a:pPr marL="0" indent="0">
              <a:buNone/>
            </a:pPr>
            <a:r>
              <a:rPr lang="en-US" dirty="0"/>
              <a:t>Agents will inevitably have to resolve conflicts.</a:t>
            </a:r>
            <a:br>
              <a:rPr lang="en-US" dirty="0"/>
            </a:br>
            <a:endParaRPr lang="en-US" dirty="0"/>
          </a:p>
          <a:p>
            <a:r>
              <a:rPr lang="en-US" dirty="0"/>
              <a:t>Poll: Is this a current technical limitation or core characteristic?</a:t>
            </a:r>
            <a:br>
              <a:rPr lang="en-US" dirty="0"/>
            </a:br>
            <a:endParaRPr lang="en-US" dirty="0"/>
          </a:p>
          <a:p>
            <a:r>
              <a:rPr lang="en-US" dirty="0"/>
              <a:t>How should we scaffold conflict resolution?</a:t>
            </a:r>
            <a:br>
              <a:rPr lang="en-US" dirty="0"/>
            </a:br>
            <a:endParaRPr lang="en-US" dirty="0"/>
          </a:p>
          <a:p>
            <a:pPr marL="457200" indent="-457200">
              <a:buFont typeface="+mj-lt"/>
              <a:buAutoNum type="arabicPeriod"/>
            </a:pPr>
            <a:r>
              <a:rPr lang="en-US" dirty="0"/>
              <a:t>Avoid putting agent in conflict</a:t>
            </a:r>
          </a:p>
          <a:p>
            <a:pPr marL="457200" indent="-457200">
              <a:buFont typeface="+mj-lt"/>
              <a:buAutoNum type="arabicPeriod"/>
            </a:pPr>
            <a:r>
              <a:rPr lang="en-US" dirty="0"/>
              <a:t>Provide a clear framework for handling conflict</a:t>
            </a:r>
          </a:p>
          <a:p>
            <a:pPr marL="457200" indent="-457200">
              <a:buFont typeface="+mj-lt"/>
              <a:buAutoNum type="arabicPeriod"/>
            </a:pPr>
            <a:r>
              <a:rPr lang="en-US" dirty="0"/>
              <a:t>Human oversight must be maintained in situations with competing conflicts</a:t>
            </a:r>
            <a:r>
              <a:rPr lang="en-US" dirty="0">
                <a:sym typeface="Wingdings" pitchFamily="2" charset="2"/>
              </a:rPr>
              <a:t> (by design!)</a:t>
            </a:r>
            <a:br>
              <a:rPr lang="en-US" dirty="0"/>
            </a:br>
            <a:endParaRPr lang="en-US" dirty="0"/>
          </a:p>
          <a:p>
            <a:pPr marL="457200" indent="-457200">
              <a:buFont typeface="+mj-lt"/>
              <a:buAutoNum type="arabicPeriod"/>
            </a:pPr>
            <a:endParaRPr lang="en-US" dirty="0"/>
          </a:p>
        </p:txBody>
      </p:sp>
      <p:grpSp>
        <p:nvGrpSpPr>
          <p:cNvPr id="54" name="Group 53">
            <a:extLst>
              <a:ext uri="{FF2B5EF4-FFF2-40B4-BE49-F238E27FC236}">
                <a16:creationId xmlns:a16="http://schemas.microsoft.com/office/drawing/2014/main" id="{72A91DE5-4095-E631-EB56-66FDB6CB7BF1}"/>
              </a:ext>
            </a:extLst>
          </p:cNvPr>
          <p:cNvGrpSpPr/>
          <p:nvPr/>
        </p:nvGrpSpPr>
        <p:grpSpPr>
          <a:xfrm>
            <a:off x="470546" y="1544593"/>
            <a:ext cx="4842860" cy="3412151"/>
            <a:chOff x="3302907" y="1472619"/>
            <a:chExt cx="5586185" cy="4003110"/>
          </a:xfrm>
        </p:grpSpPr>
        <p:sp>
          <p:nvSpPr>
            <p:cNvPr id="29" name="Shape">
              <a:extLst>
                <a:ext uri="{FF2B5EF4-FFF2-40B4-BE49-F238E27FC236}">
                  <a16:creationId xmlns:a16="http://schemas.microsoft.com/office/drawing/2014/main" id="{26025CEB-2DF4-DADC-4317-6CDC0D2131D9}"/>
                </a:ext>
              </a:extLst>
            </p:cNvPr>
            <p:cNvSpPr/>
            <p:nvPr/>
          </p:nvSpPr>
          <p:spPr>
            <a:xfrm>
              <a:off x="3430418" y="5169700"/>
              <a:ext cx="1926021" cy="306029"/>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48" y="21600"/>
                    <a:pt x="0" y="16714"/>
                    <a:pt x="0" y="10800"/>
                  </a:cubicBezTo>
                  <a:cubicBezTo>
                    <a:pt x="0" y="4886"/>
                    <a:pt x="4848" y="0"/>
                    <a:pt x="10800" y="0"/>
                  </a:cubicBezTo>
                  <a:cubicBezTo>
                    <a:pt x="16752" y="0"/>
                    <a:pt x="21600" y="4886"/>
                    <a:pt x="21600" y="10800"/>
                  </a:cubicBezTo>
                  <a:cubicBezTo>
                    <a:pt x="21600" y="16714"/>
                    <a:pt x="16752" y="21600"/>
                    <a:pt x="10800" y="21600"/>
                  </a:cubicBezTo>
                  <a:close/>
                </a:path>
              </a:pathLst>
            </a:custGeom>
            <a:solidFill>
              <a:sysClr val="window" lastClr="FFFFFF">
                <a:lumMod val="75000"/>
              </a:sys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30" name="Shape">
              <a:extLst>
                <a:ext uri="{FF2B5EF4-FFF2-40B4-BE49-F238E27FC236}">
                  <a16:creationId xmlns:a16="http://schemas.microsoft.com/office/drawing/2014/main" id="{4D487529-62E7-E794-409D-DE080D3474B1}"/>
                </a:ext>
              </a:extLst>
            </p:cNvPr>
            <p:cNvSpPr/>
            <p:nvPr/>
          </p:nvSpPr>
          <p:spPr>
            <a:xfrm>
              <a:off x="3302907" y="3403496"/>
              <a:ext cx="2181043" cy="1949095"/>
            </a:xfrm>
            <a:custGeom>
              <a:avLst/>
              <a:gdLst/>
              <a:ahLst/>
              <a:cxnLst>
                <a:cxn ang="0">
                  <a:pos x="wd2" y="hd2"/>
                </a:cxn>
                <a:cxn ang="5400000">
                  <a:pos x="wd2" y="hd2"/>
                </a:cxn>
                <a:cxn ang="10800000">
                  <a:pos x="wd2" y="hd2"/>
                </a:cxn>
                <a:cxn ang="16200000">
                  <a:pos x="wd2" y="hd2"/>
                </a:cxn>
              </a:cxnLst>
              <a:rect l="0" t="0" r="r" b="b"/>
              <a:pathLst>
                <a:path w="21600" h="21600" extrusionOk="0">
                  <a:moveTo>
                    <a:pt x="4137" y="0"/>
                  </a:moveTo>
                  <a:cubicBezTo>
                    <a:pt x="1612" y="2207"/>
                    <a:pt x="0" y="5652"/>
                    <a:pt x="0" y="9515"/>
                  </a:cubicBezTo>
                  <a:cubicBezTo>
                    <a:pt x="0" y="16190"/>
                    <a:pt x="4835" y="21600"/>
                    <a:pt x="10800" y="21600"/>
                  </a:cubicBezTo>
                  <a:cubicBezTo>
                    <a:pt x="16765" y="21600"/>
                    <a:pt x="21600" y="16190"/>
                    <a:pt x="21600" y="9515"/>
                  </a:cubicBezTo>
                  <a:cubicBezTo>
                    <a:pt x="21600" y="5652"/>
                    <a:pt x="19976" y="2207"/>
                    <a:pt x="17463" y="0"/>
                  </a:cubicBezTo>
                  <a:lnTo>
                    <a:pt x="4137" y="0"/>
                  </a:lnTo>
                  <a:close/>
                </a:path>
              </a:pathLst>
            </a:custGeom>
            <a:solidFill>
              <a:sysClr val="window" lastClr="FFFFFF"/>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31" name="Shape">
              <a:extLst>
                <a:ext uri="{FF2B5EF4-FFF2-40B4-BE49-F238E27FC236}">
                  <a16:creationId xmlns:a16="http://schemas.microsoft.com/office/drawing/2014/main" id="{EF10ADC2-14C3-9231-776F-0059D790BB17}"/>
                </a:ext>
              </a:extLst>
            </p:cNvPr>
            <p:cNvSpPr/>
            <p:nvPr/>
          </p:nvSpPr>
          <p:spPr>
            <a:xfrm>
              <a:off x="3344198" y="4253569"/>
              <a:ext cx="2098461" cy="104923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11925"/>
                    <a:pt x="16763" y="21600"/>
                    <a:pt x="10800" y="21600"/>
                  </a:cubicBezTo>
                  <a:cubicBezTo>
                    <a:pt x="4837" y="21600"/>
                    <a:pt x="0" y="11925"/>
                    <a:pt x="0" y="0"/>
                  </a:cubicBezTo>
                  <a:lnTo>
                    <a:pt x="21600" y="0"/>
                  </a:lnTo>
                  <a:close/>
                </a:path>
              </a:pathLst>
            </a:custGeom>
            <a:solidFill>
              <a:srgbClr val="4CC1EF">
                <a:lumMod val="75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32" name="Shape">
              <a:extLst>
                <a:ext uri="{FF2B5EF4-FFF2-40B4-BE49-F238E27FC236}">
                  <a16:creationId xmlns:a16="http://schemas.microsoft.com/office/drawing/2014/main" id="{2673F510-AE92-39A9-ED96-365769C4474E}"/>
                </a:ext>
              </a:extLst>
            </p:cNvPr>
            <p:cNvSpPr/>
            <p:nvPr/>
          </p:nvSpPr>
          <p:spPr>
            <a:xfrm>
              <a:off x="3344198" y="4059265"/>
              <a:ext cx="2098461" cy="395893"/>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50" y="21600"/>
                    <a:pt x="0" y="16763"/>
                    <a:pt x="0" y="10800"/>
                  </a:cubicBezTo>
                  <a:cubicBezTo>
                    <a:pt x="0" y="4837"/>
                    <a:pt x="4850" y="0"/>
                    <a:pt x="10800" y="0"/>
                  </a:cubicBezTo>
                  <a:cubicBezTo>
                    <a:pt x="16750" y="0"/>
                    <a:pt x="21600" y="4837"/>
                    <a:pt x="21600" y="10800"/>
                  </a:cubicBezTo>
                  <a:cubicBezTo>
                    <a:pt x="21600" y="16763"/>
                    <a:pt x="16750" y="21600"/>
                    <a:pt x="10800" y="21600"/>
                  </a:cubicBezTo>
                  <a:close/>
                </a:path>
              </a:pathLst>
            </a:custGeom>
            <a:solidFill>
              <a:srgbClr val="4CC1EF"/>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33" name="Shape">
              <a:extLst>
                <a:ext uri="{FF2B5EF4-FFF2-40B4-BE49-F238E27FC236}">
                  <a16:creationId xmlns:a16="http://schemas.microsoft.com/office/drawing/2014/main" id="{D4A8ED5C-FD22-FD0A-C0B5-39F8C2B5DFB0}"/>
                </a:ext>
              </a:extLst>
            </p:cNvPr>
            <p:cNvSpPr/>
            <p:nvPr/>
          </p:nvSpPr>
          <p:spPr>
            <a:xfrm>
              <a:off x="3709726" y="3294202"/>
              <a:ext cx="1367404" cy="262310"/>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53" y="21600"/>
                    <a:pt x="0" y="16700"/>
                    <a:pt x="0" y="10800"/>
                  </a:cubicBezTo>
                  <a:cubicBezTo>
                    <a:pt x="0" y="4900"/>
                    <a:pt x="4853" y="0"/>
                    <a:pt x="10800" y="0"/>
                  </a:cubicBezTo>
                  <a:cubicBezTo>
                    <a:pt x="16747" y="0"/>
                    <a:pt x="21600" y="4900"/>
                    <a:pt x="21600" y="10800"/>
                  </a:cubicBezTo>
                  <a:cubicBezTo>
                    <a:pt x="21600" y="16700"/>
                    <a:pt x="16747" y="21600"/>
                    <a:pt x="10800" y="21600"/>
                  </a:cubicBezTo>
                  <a:close/>
                </a:path>
              </a:pathLst>
            </a:custGeom>
            <a:solidFill>
              <a:srgbClr val="D3D3D3">
                <a:lumMod val="90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34" name="Shape">
              <a:extLst>
                <a:ext uri="{FF2B5EF4-FFF2-40B4-BE49-F238E27FC236}">
                  <a16:creationId xmlns:a16="http://schemas.microsoft.com/office/drawing/2014/main" id="{D3993CB4-C151-FE1A-0AD7-42AF7466E1D8}"/>
                </a:ext>
              </a:extLst>
            </p:cNvPr>
            <p:cNvSpPr/>
            <p:nvPr/>
          </p:nvSpPr>
          <p:spPr>
            <a:xfrm>
              <a:off x="3760730" y="3318489"/>
              <a:ext cx="1265396" cy="213735"/>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51" y="21600"/>
                    <a:pt x="0" y="16691"/>
                    <a:pt x="0" y="10800"/>
                  </a:cubicBezTo>
                  <a:cubicBezTo>
                    <a:pt x="0" y="4787"/>
                    <a:pt x="4851" y="0"/>
                    <a:pt x="10800" y="0"/>
                  </a:cubicBezTo>
                  <a:cubicBezTo>
                    <a:pt x="16749" y="0"/>
                    <a:pt x="21600" y="4909"/>
                    <a:pt x="21600" y="10800"/>
                  </a:cubicBezTo>
                  <a:cubicBezTo>
                    <a:pt x="21600" y="16814"/>
                    <a:pt x="16749" y="21600"/>
                    <a:pt x="10800" y="21600"/>
                  </a:cubicBezTo>
                  <a:close/>
                </a:path>
              </a:pathLst>
            </a:custGeom>
            <a:solidFill>
              <a:sysClr val="window" lastClr="FFFFFF">
                <a:lumMod val="95000"/>
              </a:sys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35" name="Shape">
              <a:extLst>
                <a:ext uri="{FF2B5EF4-FFF2-40B4-BE49-F238E27FC236}">
                  <a16:creationId xmlns:a16="http://schemas.microsoft.com/office/drawing/2014/main" id="{7226BCD4-2ED7-DC55-B916-32B655F75A81}"/>
                </a:ext>
              </a:extLst>
            </p:cNvPr>
            <p:cNvSpPr/>
            <p:nvPr/>
          </p:nvSpPr>
          <p:spPr>
            <a:xfrm>
              <a:off x="3974464" y="3694950"/>
              <a:ext cx="837928" cy="637190"/>
            </a:xfrm>
            <a:custGeom>
              <a:avLst/>
              <a:gdLst/>
              <a:ahLst/>
              <a:cxnLst>
                <a:cxn ang="0">
                  <a:pos x="wd2" y="hd2"/>
                </a:cxn>
                <a:cxn ang="5400000">
                  <a:pos x="wd2" y="hd2"/>
                </a:cxn>
                <a:cxn ang="10800000">
                  <a:pos x="wd2" y="hd2"/>
                </a:cxn>
                <a:cxn ang="16200000">
                  <a:pos x="wd2" y="hd2"/>
                </a:cxn>
              </a:cxnLst>
              <a:rect l="0" t="0" r="r" b="b"/>
              <a:pathLst>
                <a:path w="21600" h="20275" extrusionOk="0">
                  <a:moveTo>
                    <a:pt x="0" y="17763"/>
                  </a:moveTo>
                  <a:cubicBezTo>
                    <a:pt x="0" y="19154"/>
                    <a:pt x="4852" y="20275"/>
                    <a:pt x="10800" y="20275"/>
                  </a:cubicBezTo>
                  <a:cubicBezTo>
                    <a:pt x="16779" y="20275"/>
                    <a:pt x="21600" y="19154"/>
                    <a:pt x="21600" y="17763"/>
                  </a:cubicBezTo>
                  <a:cubicBezTo>
                    <a:pt x="18470" y="14595"/>
                    <a:pt x="14619" y="16681"/>
                    <a:pt x="12991" y="13358"/>
                  </a:cubicBezTo>
                  <a:cubicBezTo>
                    <a:pt x="11958" y="11233"/>
                    <a:pt x="12459" y="8915"/>
                    <a:pt x="12991" y="6712"/>
                  </a:cubicBezTo>
                  <a:lnTo>
                    <a:pt x="13054" y="6403"/>
                  </a:lnTo>
                  <a:cubicBezTo>
                    <a:pt x="14713" y="-1248"/>
                    <a:pt x="7576" y="-1325"/>
                    <a:pt x="7544" y="2423"/>
                  </a:cubicBezTo>
                  <a:cubicBezTo>
                    <a:pt x="7544" y="5398"/>
                    <a:pt x="11301" y="7794"/>
                    <a:pt x="8922" y="12354"/>
                  </a:cubicBezTo>
                  <a:cubicBezTo>
                    <a:pt x="8202" y="13745"/>
                    <a:pt x="7169" y="14672"/>
                    <a:pt x="5916" y="15252"/>
                  </a:cubicBezTo>
                  <a:cubicBezTo>
                    <a:pt x="4727" y="15754"/>
                    <a:pt x="3318" y="15947"/>
                    <a:pt x="2097" y="16256"/>
                  </a:cubicBezTo>
                  <a:lnTo>
                    <a:pt x="1784" y="16334"/>
                  </a:lnTo>
                  <a:cubicBezTo>
                    <a:pt x="1096" y="16566"/>
                    <a:pt x="532" y="16797"/>
                    <a:pt x="63" y="17454"/>
                  </a:cubicBezTo>
                  <a:lnTo>
                    <a:pt x="0" y="17763"/>
                  </a:lnTo>
                  <a:close/>
                </a:path>
              </a:pathLst>
            </a:custGeom>
            <a:solidFill>
              <a:srgbClr val="4CC1EF">
                <a:lumMod val="75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36" name="Shape">
              <a:extLst>
                <a:ext uri="{FF2B5EF4-FFF2-40B4-BE49-F238E27FC236}">
                  <a16:creationId xmlns:a16="http://schemas.microsoft.com/office/drawing/2014/main" id="{CEB57197-AECB-7A64-3394-D1E225A6F7FD}"/>
                </a:ext>
              </a:extLst>
            </p:cNvPr>
            <p:cNvSpPr/>
            <p:nvPr/>
          </p:nvSpPr>
          <p:spPr>
            <a:xfrm>
              <a:off x="4189409" y="3622086"/>
              <a:ext cx="72043" cy="69568"/>
            </a:xfrm>
            <a:custGeom>
              <a:avLst/>
              <a:gdLst/>
              <a:ahLst/>
              <a:cxnLst>
                <a:cxn ang="0">
                  <a:pos x="wd2" y="hd2"/>
                </a:cxn>
                <a:cxn ang="5400000">
                  <a:pos x="wd2" y="hd2"/>
                </a:cxn>
                <a:cxn ang="10800000">
                  <a:pos x="wd2" y="hd2"/>
                </a:cxn>
                <a:cxn ang="16200000">
                  <a:pos x="wd2" y="hd2"/>
                </a:cxn>
              </a:cxnLst>
              <a:rect l="0" t="0" r="r" b="b"/>
              <a:pathLst>
                <a:path w="19415" h="19036" extrusionOk="0">
                  <a:moveTo>
                    <a:pt x="3162" y="712"/>
                  </a:moveTo>
                  <a:cubicBezTo>
                    <a:pt x="-765" y="2706"/>
                    <a:pt x="-1093" y="8355"/>
                    <a:pt x="2507" y="13007"/>
                  </a:cubicBezTo>
                  <a:cubicBezTo>
                    <a:pt x="6108" y="17992"/>
                    <a:pt x="12325" y="20318"/>
                    <a:pt x="16252" y="18325"/>
                  </a:cubicBezTo>
                  <a:cubicBezTo>
                    <a:pt x="20179" y="16331"/>
                    <a:pt x="20507" y="10681"/>
                    <a:pt x="16907" y="6029"/>
                  </a:cubicBezTo>
                  <a:cubicBezTo>
                    <a:pt x="13306" y="1045"/>
                    <a:pt x="7089" y="-1282"/>
                    <a:pt x="3162" y="712"/>
                  </a:cubicBezTo>
                  <a:close/>
                </a:path>
              </a:pathLst>
            </a:custGeom>
            <a:solidFill>
              <a:srgbClr val="6AB9E8"/>
            </a:solidFill>
            <a:ln w="12700">
              <a:miter lim="400000"/>
            </a:ln>
          </p:spPr>
          <p:txBody>
            <a:bodyPr lIns="38100" tIns="38100" rIns="38100" bIns="38100" anchor="ctr"/>
            <a:lstStyle/>
            <a:p>
              <a:pPr>
                <a:defRPr sz="3000">
                  <a:solidFill>
                    <a:srgbClr val="FFFFFF"/>
                  </a:solidFill>
                </a:defRPr>
              </a:pPr>
              <a:endParaRPr sz="3000">
                <a:solidFill>
                  <a:srgbClr val="FFFFFF"/>
                </a:solidFill>
                <a:latin typeface="Calibri" panose="020F0502020204030204"/>
              </a:endParaRPr>
            </a:p>
          </p:txBody>
        </p:sp>
        <p:sp>
          <p:nvSpPr>
            <p:cNvPr id="37" name="Shape">
              <a:extLst>
                <a:ext uri="{FF2B5EF4-FFF2-40B4-BE49-F238E27FC236}">
                  <a16:creationId xmlns:a16="http://schemas.microsoft.com/office/drawing/2014/main" id="{EF834C7F-79DB-EF4B-29E2-D9E5E35363AE}"/>
                </a:ext>
              </a:extLst>
            </p:cNvPr>
            <p:cNvSpPr/>
            <p:nvPr/>
          </p:nvSpPr>
          <p:spPr>
            <a:xfrm>
              <a:off x="4201553" y="3439928"/>
              <a:ext cx="45866" cy="58290"/>
            </a:xfrm>
            <a:custGeom>
              <a:avLst/>
              <a:gdLst/>
              <a:ahLst/>
              <a:cxnLst>
                <a:cxn ang="0">
                  <a:pos x="wd2" y="hd2"/>
                </a:cxn>
                <a:cxn ang="5400000">
                  <a:pos x="wd2" y="hd2"/>
                </a:cxn>
                <a:cxn ang="10800000">
                  <a:pos x="wd2" y="hd2"/>
                </a:cxn>
                <a:cxn ang="16200000">
                  <a:pos x="wd2" y="hd2"/>
                </a:cxn>
              </a:cxnLst>
              <a:rect l="0" t="0" r="r" b="b"/>
              <a:pathLst>
                <a:path w="19895" h="21600" extrusionOk="0">
                  <a:moveTo>
                    <a:pt x="7577" y="0"/>
                  </a:moveTo>
                  <a:cubicBezTo>
                    <a:pt x="2309" y="0"/>
                    <a:pt x="-852" y="4951"/>
                    <a:pt x="203" y="10800"/>
                  </a:cubicBezTo>
                  <a:cubicBezTo>
                    <a:pt x="1783" y="16650"/>
                    <a:pt x="7051" y="21600"/>
                    <a:pt x="12319" y="21600"/>
                  </a:cubicBezTo>
                  <a:cubicBezTo>
                    <a:pt x="17587" y="21600"/>
                    <a:pt x="20748" y="16649"/>
                    <a:pt x="19693" y="10800"/>
                  </a:cubicBezTo>
                  <a:cubicBezTo>
                    <a:pt x="18640" y="4950"/>
                    <a:pt x="13372" y="0"/>
                    <a:pt x="7577" y="0"/>
                  </a:cubicBezTo>
                  <a:close/>
                </a:path>
              </a:pathLst>
            </a:custGeom>
            <a:solidFill>
              <a:srgbClr val="6AB9E8"/>
            </a:solidFill>
            <a:ln w="12700">
              <a:miter lim="400000"/>
            </a:ln>
          </p:spPr>
          <p:txBody>
            <a:bodyPr lIns="38100" tIns="38100" rIns="38100" bIns="38100" anchor="ctr"/>
            <a:lstStyle/>
            <a:p>
              <a:pPr>
                <a:defRPr sz="3000">
                  <a:solidFill>
                    <a:srgbClr val="FFFFFF"/>
                  </a:solidFill>
                </a:defRPr>
              </a:pPr>
              <a:endParaRPr sz="3000">
                <a:solidFill>
                  <a:srgbClr val="FFFFFF"/>
                </a:solidFill>
                <a:latin typeface="Calibri" panose="020F0502020204030204"/>
              </a:endParaRPr>
            </a:p>
          </p:txBody>
        </p:sp>
        <p:sp>
          <p:nvSpPr>
            <p:cNvPr id="38" name="Shape">
              <a:extLst>
                <a:ext uri="{FF2B5EF4-FFF2-40B4-BE49-F238E27FC236}">
                  <a16:creationId xmlns:a16="http://schemas.microsoft.com/office/drawing/2014/main" id="{EC097CE5-CE66-C0A3-3077-7ECE3965FBD6}"/>
                </a:ext>
              </a:extLst>
            </p:cNvPr>
            <p:cNvSpPr/>
            <p:nvPr/>
          </p:nvSpPr>
          <p:spPr>
            <a:xfrm>
              <a:off x="4152979" y="3415640"/>
              <a:ext cx="31058" cy="34712"/>
            </a:xfrm>
            <a:custGeom>
              <a:avLst/>
              <a:gdLst/>
              <a:ahLst/>
              <a:cxnLst>
                <a:cxn ang="0">
                  <a:pos x="wd2" y="hd2"/>
                </a:cxn>
                <a:cxn ang="5400000">
                  <a:pos x="wd2" y="hd2"/>
                </a:cxn>
                <a:cxn ang="10800000">
                  <a:pos x="wd2" y="hd2"/>
                </a:cxn>
                <a:cxn ang="16200000">
                  <a:pos x="wd2" y="hd2"/>
                </a:cxn>
              </a:cxnLst>
              <a:rect l="0" t="0" r="r" b="b"/>
              <a:pathLst>
                <a:path w="19048" h="18709" extrusionOk="0">
                  <a:moveTo>
                    <a:pt x="3193" y="1173"/>
                  </a:moveTo>
                  <a:cubicBezTo>
                    <a:pt x="-530" y="3137"/>
                    <a:pt x="-1276" y="9027"/>
                    <a:pt x="2448" y="13609"/>
                  </a:cubicBezTo>
                  <a:cubicBezTo>
                    <a:pt x="5426" y="18190"/>
                    <a:pt x="11385" y="20154"/>
                    <a:pt x="15855" y="17536"/>
                  </a:cubicBezTo>
                  <a:cubicBezTo>
                    <a:pt x="19578" y="15573"/>
                    <a:pt x="20324" y="9682"/>
                    <a:pt x="16600" y="5101"/>
                  </a:cubicBezTo>
                  <a:cubicBezTo>
                    <a:pt x="12876" y="518"/>
                    <a:pt x="6917" y="-1446"/>
                    <a:pt x="3193" y="1173"/>
                  </a:cubicBezTo>
                  <a:close/>
                </a:path>
              </a:pathLst>
            </a:custGeom>
            <a:solidFill>
              <a:srgbClr val="6AB9E8"/>
            </a:solidFill>
            <a:ln w="12700">
              <a:miter lim="400000"/>
            </a:ln>
          </p:spPr>
          <p:txBody>
            <a:bodyPr lIns="38100" tIns="38100" rIns="38100" bIns="38100" anchor="ctr"/>
            <a:lstStyle/>
            <a:p>
              <a:pPr>
                <a:defRPr sz="3000">
                  <a:solidFill>
                    <a:srgbClr val="FFFFFF"/>
                  </a:solidFill>
                </a:defRPr>
              </a:pPr>
              <a:endParaRPr sz="3000">
                <a:solidFill>
                  <a:srgbClr val="FFFFFF"/>
                </a:solidFill>
                <a:latin typeface="Calibri" panose="020F0502020204030204"/>
              </a:endParaRPr>
            </a:p>
          </p:txBody>
        </p:sp>
        <p:sp>
          <p:nvSpPr>
            <p:cNvPr id="39" name="Shape">
              <a:extLst>
                <a:ext uri="{FF2B5EF4-FFF2-40B4-BE49-F238E27FC236}">
                  <a16:creationId xmlns:a16="http://schemas.microsoft.com/office/drawing/2014/main" id="{807FDB22-D09A-F017-DE81-31AA2F9FAF35}"/>
                </a:ext>
              </a:extLst>
            </p:cNvPr>
            <p:cNvSpPr/>
            <p:nvPr/>
          </p:nvSpPr>
          <p:spPr>
            <a:xfrm>
              <a:off x="6019492" y="5048261"/>
              <a:ext cx="2691087" cy="427468"/>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54" y="21600"/>
                    <a:pt x="0" y="16752"/>
                    <a:pt x="0" y="10800"/>
                  </a:cubicBezTo>
                  <a:cubicBezTo>
                    <a:pt x="0" y="4848"/>
                    <a:pt x="4854" y="0"/>
                    <a:pt x="10800" y="0"/>
                  </a:cubicBezTo>
                  <a:cubicBezTo>
                    <a:pt x="16746" y="0"/>
                    <a:pt x="21600" y="4848"/>
                    <a:pt x="21600" y="10800"/>
                  </a:cubicBezTo>
                  <a:cubicBezTo>
                    <a:pt x="21600" y="16752"/>
                    <a:pt x="16746" y="21600"/>
                    <a:pt x="10800" y="21600"/>
                  </a:cubicBezTo>
                  <a:close/>
                </a:path>
              </a:pathLst>
            </a:custGeom>
            <a:solidFill>
              <a:sysClr val="window" lastClr="FFFFFF">
                <a:lumMod val="75000"/>
              </a:sys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40" name="Shape">
              <a:extLst>
                <a:ext uri="{FF2B5EF4-FFF2-40B4-BE49-F238E27FC236}">
                  <a16:creationId xmlns:a16="http://schemas.microsoft.com/office/drawing/2014/main" id="{986DC1FD-AB44-16E4-9A2F-9BE2B4DBBF89}"/>
                </a:ext>
              </a:extLst>
            </p:cNvPr>
            <p:cNvSpPr/>
            <p:nvPr/>
          </p:nvSpPr>
          <p:spPr>
            <a:xfrm>
              <a:off x="5840978" y="2614144"/>
              <a:ext cx="3048114" cy="2723875"/>
            </a:xfrm>
            <a:custGeom>
              <a:avLst/>
              <a:gdLst/>
              <a:ahLst/>
              <a:cxnLst>
                <a:cxn ang="0">
                  <a:pos x="wd2" y="hd2"/>
                </a:cxn>
                <a:cxn ang="5400000">
                  <a:pos x="wd2" y="hd2"/>
                </a:cxn>
                <a:cxn ang="10800000">
                  <a:pos x="wd2" y="hd2"/>
                </a:cxn>
                <a:cxn ang="16200000">
                  <a:pos x="wd2" y="hd2"/>
                </a:cxn>
              </a:cxnLst>
              <a:rect l="0" t="0" r="r" b="b"/>
              <a:pathLst>
                <a:path w="21600" h="21600" extrusionOk="0">
                  <a:moveTo>
                    <a:pt x="4139" y="0"/>
                  </a:moveTo>
                  <a:cubicBezTo>
                    <a:pt x="1618" y="2215"/>
                    <a:pt x="0" y="5653"/>
                    <a:pt x="0" y="9514"/>
                  </a:cubicBezTo>
                  <a:cubicBezTo>
                    <a:pt x="0" y="16188"/>
                    <a:pt x="4836" y="21600"/>
                    <a:pt x="10800" y="21600"/>
                  </a:cubicBezTo>
                  <a:cubicBezTo>
                    <a:pt x="16764" y="21600"/>
                    <a:pt x="21600" y="16188"/>
                    <a:pt x="21600" y="9514"/>
                  </a:cubicBezTo>
                  <a:cubicBezTo>
                    <a:pt x="21600" y="5653"/>
                    <a:pt x="19982" y="2205"/>
                    <a:pt x="17461" y="0"/>
                  </a:cubicBezTo>
                  <a:lnTo>
                    <a:pt x="4139" y="0"/>
                  </a:lnTo>
                  <a:close/>
                </a:path>
              </a:pathLst>
            </a:custGeom>
            <a:solidFill>
              <a:sysClr val="window" lastClr="FFFFFF"/>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41" name="Shape">
              <a:extLst>
                <a:ext uri="{FF2B5EF4-FFF2-40B4-BE49-F238E27FC236}">
                  <a16:creationId xmlns:a16="http://schemas.microsoft.com/office/drawing/2014/main" id="{C10874B5-5C02-BAED-E3FD-C73889845715}"/>
                </a:ext>
              </a:extLst>
            </p:cNvPr>
            <p:cNvSpPr/>
            <p:nvPr/>
          </p:nvSpPr>
          <p:spPr>
            <a:xfrm>
              <a:off x="5899269" y="3804245"/>
              <a:ext cx="2931533" cy="146576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11936"/>
                    <a:pt x="16768" y="21600"/>
                    <a:pt x="10800" y="21600"/>
                  </a:cubicBezTo>
                  <a:cubicBezTo>
                    <a:pt x="4832" y="21600"/>
                    <a:pt x="0" y="11936"/>
                    <a:pt x="0" y="0"/>
                  </a:cubicBezTo>
                  <a:lnTo>
                    <a:pt x="21600" y="0"/>
                  </a:lnTo>
                  <a:close/>
                </a:path>
              </a:pathLst>
            </a:custGeom>
            <a:solidFill>
              <a:srgbClr val="4CC1EF">
                <a:lumMod val="75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42" name="Shape">
              <a:extLst>
                <a:ext uri="{FF2B5EF4-FFF2-40B4-BE49-F238E27FC236}">
                  <a16:creationId xmlns:a16="http://schemas.microsoft.com/office/drawing/2014/main" id="{D899A866-82D0-78E0-5D90-03A22FE57736}"/>
                </a:ext>
              </a:extLst>
            </p:cNvPr>
            <p:cNvSpPr/>
            <p:nvPr/>
          </p:nvSpPr>
          <p:spPr>
            <a:xfrm>
              <a:off x="5899269" y="3537080"/>
              <a:ext cx="2931533" cy="553763"/>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50" y="21600"/>
                    <a:pt x="0" y="16721"/>
                    <a:pt x="0" y="10800"/>
                  </a:cubicBezTo>
                  <a:cubicBezTo>
                    <a:pt x="0" y="4879"/>
                    <a:pt x="4850" y="0"/>
                    <a:pt x="10800" y="0"/>
                  </a:cubicBezTo>
                  <a:cubicBezTo>
                    <a:pt x="16750" y="0"/>
                    <a:pt x="21600" y="4879"/>
                    <a:pt x="21600" y="10800"/>
                  </a:cubicBezTo>
                  <a:cubicBezTo>
                    <a:pt x="21600" y="16721"/>
                    <a:pt x="16741" y="21600"/>
                    <a:pt x="10800" y="21600"/>
                  </a:cubicBezTo>
                  <a:close/>
                </a:path>
              </a:pathLst>
            </a:custGeom>
            <a:solidFill>
              <a:srgbClr val="4CC1EF"/>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43" name="Shape">
              <a:extLst>
                <a:ext uri="{FF2B5EF4-FFF2-40B4-BE49-F238E27FC236}">
                  <a16:creationId xmlns:a16="http://schemas.microsoft.com/office/drawing/2014/main" id="{00E15DDD-5681-0AF5-8641-D79C35911EC8}"/>
                </a:ext>
              </a:extLst>
            </p:cNvPr>
            <p:cNvSpPr/>
            <p:nvPr/>
          </p:nvSpPr>
          <p:spPr>
            <a:xfrm>
              <a:off x="6409312" y="2456273"/>
              <a:ext cx="1911447" cy="366749"/>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44" y="21600"/>
                    <a:pt x="0" y="16736"/>
                    <a:pt x="0" y="10800"/>
                  </a:cubicBezTo>
                  <a:cubicBezTo>
                    <a:pt x="0" y="4864"/>
                    <a:pt x="4858" y="0"/>
                    <a:pt x="10800" y="0"/>
                  </a:cubicBezTo>
                  <a:cubicBezTo>
                    <a:pt x="16756" y="0"/>
                    <a:pt x="21600" y="4864"/>
                    <a:pt x="21600" y="10800"/>
                  </a:cubicBezTo>
                  <a:cubicBezTo>
                    <a:pt x="21600" y="16736"/>
                    <a:pt x="16742" y="21600"/>
                    <a:pt x="10800" y="21600"/>
                  </a:cubicBezTo>
                  <a:close/>
                </a:path>
              </a:pathLst>
            </a:custGeom>
            <a:solidFill>
              <a:srgbClr val="D3D3D3">
                <a:lumMod val="90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44" name="Shape">
              <a:extLst>
                <a:ext uri="{FF2B5EF4-FFF2-40B4-BE49-F238E27FC236}">
                  <a16:creationId xmlns:a16="http://schemas.microsoft.com/office/drawing/2014/main" id="{C8B66812-5ECC-3902-9676-2E3CAA20070B}"/>
                </a:ext>
              </a:extLst>
            </p:cNvPr>
            <p:cNvSpPr/>
            <p:nvPr/>
          </p:nvSpPr>
          <p:spPr>
            <a:xfrm>
              <a:off x="6480960" y="2492705"/>
              <a:ext cx="1768151" cy="298742"/>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51" y="21600"/>
                    <a:pt x="0" y="16771"/>
                    <a:pt x="0" y="10800"/>
                  </a:cubicBezTo>
                  <a:cubicBezTo>
                    <a:pt x="0" y="4829"/>
                    <a:pt x="4851" y="0"/>
                    <a:pt x="10800" y="0"/>
                  </a:cubicBezTo>
                  <a:cubicBezTo>
                    <a:pt x="16749" y="0"/>
                    <a:pt x="21600" y="4829"/>
                    <a:pt x="21600" y="10800"/>
                  </a:cubicBezTo>
                  <a:cubicBezTo>
                    <a:pt x="21600" y="16683"/>
                    <a:pt x="16749" y="21600"/>
                    <a:pt x="10800" y="21600"/>
                  </a:cubicBezTo>
                  <a:close/>
                </a:path>
              </a:pathLst>
            </a:custGeom>
            <a:solidFill>
              <a:sysClr val="window" lastClr="FFFFFF">
                <a:lumMod val="95000"/>
              </a:sys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45" name="Shape">
              <a:extLst>
                <a:ext uri="{FF2B5EF4-FFF2-40B4-BE49-F238E27FC236}">
                  <a16:creationId xmlns:a16="http://schemas.microsoft.com/office/drawing/2014/main" id="{29E40229-4581-E9BE-E662-1FC0AD1D18FF}"/>
                </a:ext>
              </a:extLst>
            </p:cNvPr>
            <p:cNvSpPr/>
            <p:nvPr/>
          </p:nvSpPr>
          <p:spPr>
            <a:xfrm>
              <a:off x="6095999" y="1897655"/>
              <a:ext cx="163010" cy="219975"/>
            </a:xfrm>
            <a:custGeom>
              <a:avLst/>
              <a:gdLst/>
              <a:ahLst/>
              <a:cxnLst>
                <a:cxn ang="0">
                  <a:pos x="wd2" y="hd2"/>
                </a:cxn>
                <a:cxn ang="5400000">
                  <a:pos x="wd2" y="hd2"/>
                </a:cxn>
                <a:cxn ang="10800000">
                  <a:pos x="wd2" y="hd2"/>
                </a:cxn>
                <a:cxn ang="16200000">
                  <a:pos x="wd2" y="hd2"/>
                </a:cxn>
              </a:cxnLst>
              <a:rect l="0" t="0" r="r" b="b"/>
              <a:pathLst>
                <a:path w="20859" h="21264" extrusionOk="0">
                  <a:moveTo>
                    <a:pt x="20260" y="4226"/>
                  </a:moveTo>
                  <a:lnTo>
                    <a:pt x="18240" y="6339"/>
                  </a:lnTo>
                  <a:cubicBezTo>
                    <a:pt x="14665" y="10095"/>
                    <a:pt x="12956" y="14674"/>
                    <a:pt x="13267" y="19252"/>
                  </a:cubicBezTo>
                  <a:cubicBezTo>
                    <a:pt x="13267" y="19956"/>
                    <a:pt x="12801" y="20661"/>
                    <a:pt x="12024" y="21013"/>
                  </a:cubicBezTo>
                  <a:cubicBezTo>
                    <a:pt x="11247" y="21365"/>
                    <a:pt x="10159" y="21365"/>
                    <a:pt x="9382" y="20895"/>
                  </a:cubicBezTo>
                  <a:cubicBezTo>
                    <a:pt x="7984" y="20191"/>
                    <a:pt x="6740" y="19252"/>
                    <a:pt x="5808" y="18078"/>
                  </a:cubicBezTo>
                  <a:cubicBezTo>
                    <a:pt x="4720" y="16787"/>
                    <a:pt x="3321" y="15730"/>
                    <a:pt x="1612" y="14791"/>
                  </a:cubicBezTo>
                  <a:cubicBezTo>
                    <a:pt x="58" y="13969"/>
                    <a:pt x="-408" y="12443"/>
                    <a:pt x="369" y="11152"/>
                  </a:cubicBezTo>
                  <a:cubicBezTo>
                    <a:pt x="3632" y="6339"/>
                    <a:pt x="8916" y="2465"/>
                    <a:pt x="15598" y="234"/>
                  </a:cubicBezTo>
                  <a:cubicBezTo>
                    <a:pt x="16996" y="-235"/>
                    <a:pt x="18861" y="0"/>
                    <a:pt x="19794" y="939"/>
                  </a:cubicBezTo>
                  <a:cubicBezTo>
                    <a:pt x="21037" y="1878"/>
                    <a:pt x="21192" y="3169"/>
                    <a:pt x="20260" y="4226"/>
                  </a:cubicBezTo>
                  <a:close/>
                </a:path>
              </a:pathLst>
            </a:custGeom>
            <a:solidFill>
              <a:srgbClr val="C13018">
                <a:lumMod val="40000"/>
                <a:lumOff val="60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46" name="Shape">
              <a:extLst>
                <a:ext uri="{FF2B5EF4-FFF2-40B4-BE49-F238E27FC236}">
                  <a16:creationId xmlns:a16="http://schemas.microsoft.com/office/drawing/2014/main" id="{FB88FB75-2AE9-8A14-16BE-A67793DB0BDD}"/>
                </a:ext>
              </a:extLst>
            </p:cNvPr>
            <p:cNvSpPr/>
            <p:nvPr/>
          </p:nvSpPr>
          <p:spPr>
            <a:xfrm>
              <a:off x="5889554" y="1472619"/>
              <a:ext cx="366745" cy="193586"/>
            </a:xfrm>
            <a:custGeom>
              <a:avLst/>
              <a:gdLst/>
              <a:ahLst/>
              <a:cxnLst>
                <a:cxn ang="0">
                  <a:pos x="wd2" y="hd2"/>
                </a:cxn>
                <a:cxn ang="5400000">
                  <a:pos x="wd2" y="hd2"/>
                </a:cxn>
                <a:cxn ang="10800000">
                  <a:pos x="wd2" y="hd2"/>
                </a:cxn>
                <a:cxn ang="16200000">
                  <a:pos x="wd2" y="hd2"/>
                </a:cxn>
              </a:cxnLst>
              <a:rect l="0" t="0" r="r" b="b"/>
              <a:pathLst>
                <a:path w="21600" h="21124" extrusionOk="0">
                  <a:moveTo>
                    <a:pt x="21600" y="21124"/>
                  </a:moveTo>
                  <a:lnTo>
                    <a:pt x="21457" y="16088"/>
                  </a:lnTo>
                  <a:cubicBezTo>
                    <a:pt x="21314" y="10258"/>
                    <a:pt x="19740" y="4957"/>
                    <a:pt x="17237" y="1379"/>
                  </a:cubicBezTo>
                  <a:cubicBezTo>
                    <a:pt x="16021" y="-344"/>
                    <a:pt x="14376" y="-476"/>
                    <a:pt x="13089" y="1114"/>
                  </a:cubicBezTo>
                  <a:lnTo>
                    <a:pt x="11944" y="849"/>
                  </a:lnTo>
                  <a:cubicBezTo>
                    <a:pt x="10728" y="584"/>
                    <a:pt x="9584" y="1777"/>
                    <a:pt x="9083" y="3632"/>
                  </a:cubicBezTo>
                  <a:lnTo>
                    <a:pt x="8154" y="3499"/>
                  </a:lnTo>
                  <a:cubicBezTo>
                    <a:pt x="6723" y="3367"/>
                    <a:pt x="5436" y="4692"/>
                    <a:pt x="4649" y="6945"/>
                  </a:cubicBezTo>
                  <a:cubicBezTo>
                    <a:pt x="4363" y="7740"/>
                    <a:pt x="3862" y="8270"/>
                    <a:pt x="3362" y="8137"/>
                  </a:cubicBezTo>
                  <a:cubicBezTo>
                    <a:pt x="2503" y="8005"/>
                    <a:pt x="1645" y="8667"/>
                    <a:pt x="1001" y="9728"/>
                  </a:cubicBezTo>
                  <a:cubicBezTo>
                    <a:pt x="358" y="10788"/>
                    <a:pt x="0" y="12378"/>
                    <a:pt x="0" y="13968"/>
                  </a:cubicBezTo>
                  <a:cubicBezTo>
                    <a:pt x="0" y="16883"/>
                    <a:pt x="1144" y="19269"/>
                    <a:pt x="2718" y="19401"/>
                  </a:cubicBezTo>
                  <a:lnTo>
                    <a:pt x="21600" y="21124"/>
                  </a:lnTo>
                  <a:close/>
                </a:path>
              </a:pathLst>
            </a:custGeom>
            <a:solidFill>
              <a:srgbClr val="C13018">
                <a:lumMod val="40000"/>
                <a:lumOff val="60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47" name="Shape">
              <a:extLst>
                <a:ext uri="{FF2B5EF4-FFF2-40B4-BE49-F238E27FC236}">
                  <a16:creationId xmlns:a16="http://schemas.microsoft.com/office/drawing/2014/main" id="{30820F04-34FE-4570-EB06-938EE6B55E75}"/>
                </a:ext>
              </a:extLst>
            </p:cNvPr>
            <p:cNvSpPr/>
            <p:nvPr/>
          </p:nvSpPr>
          <p:spPr>
            <a:xfrm>
              <a:off x="5343079" y="1606203"/>
              <a:ext cx="1105872" cy="525954"/>
            </a:xfrm>
            <a:custGeom>
              <a:avLst/>
              <a:gdLst/>
              <a:ahLst/>
              <a:cxnLst>
                <a:cxn ang="0">
                  <a:pos x="wd2" y="hd2"/>
                </a:cxn>
                <a:cxn ang="5400000">
                  <a:pos x="wd2" y="hd2"/>
                </a:cxn>
                <a:cxn ang="10800000">
                  <a:pos x="wd2" y="hd2"/>
                </a:cxn>
                <a:cxn ang="16200000">
                  <a:pos x="wd2" y="hd2"/>
                </a:cxn>
              </a:cxnLst>
              <a:rect l="0" t="0" r="r" b="b"/>
              <a:pathLst>
                <a:path w="21497" h="19612" extrusionOk="0">
                  <a:moveTo>
                    <a:pt x="8443" y="3982"/>
                  </a:moveTo>
                  <a:cubicBezTo>
                    <a:pt x="12055" y="-1905"/>
                    <a:pt x="16799" y="-954"/>
                    <a:pt x="20010" y="4797"/>
                  </a:cubicBezTo>
                  <a:cubicBezTo>
                    <a:pt x="20789" y="6201"/>
                    <a:pt x="21308" y="8057"/>
                    <a:pt x="21474" y="10095"/>
                  </a:cubicBezTo>
                  <a:cubicBezTo>
                    <a:pt x="21568" y="11182"/>
                    <a:pt x="21379" y="12314"/>
                    <a:pt x="20978" y="13129"/>
                  </a:cubicBezTo>
                  <a:cubicBezTo>
                    <a:pt x="19727" y="15710"/>
                    <a:pt x="17933" y="17159"/>
                    <a:pt x="16091" y="17023"/>
                  </a:cubicBezTo>
                  <a:cubicBezTo>
                    <a:pt x="14250" y="16888"/>
                    <a:pt x="12527" y="15212"/>
                    <a:pt x="11346" y="12450"/>
                  </a:cubicBezTo>
                  <a:cubicBezTo>
                    <a:pt x="10615" y="10729"/>
                    <a:pt x="9623" y="9506"/>
                    <a:pt x="8490" y="9008"/>
                  </a:cubicBezTo>
                  <a:cubicBezTo>
                    <a:pt x="7994" y="8782"/>
                    <a:pt x="7451" y="9054"/>
                    <a:pt x="7074" y="9733"/>
                  </a:cubicBezTo>
                  <a:cubicBezTo>
                    <a:pt x="6696" y="10412"/>
                    <a:pt x="6507" y="11408"/>
                    <a:pt x="6601" y="12404"/>
                  </a:cubicBezTo>
                  <a:cubicBezTo>
                    <a:pt x="6814" y="14895"/>
                    <a:pt x="6389" y="17431"/>
                    <a:pt x="5492" y="19287"/>
                  </a:cubicBezTo>
                  <a:cubicBezTo>
                    <a:pt x="5350" y="19559"/>
                    <a:pt x="5138" y="19695"/>
                    <a:pt x="4949" y="19559"/>
                  </a:cubicBezTo>
                  <a:cubicBezTo>
                    <a:pt x="4760" y="19423"/>
                    <a:pt x="4618" y="19106"/>
                    <a:pt x="4571" y="18744"/>
                  </a:cubicBezTo>
                  <a:cubicBezTo>
                    <a:pt x="4217" y="14442"/>
                    <a:pt x="2541" y="11001"/>
                    <a:pt x="346" y="10004"/>
                  </a:cubicBezTo>
                  <a:cubicBezTo>
                    <a:pt x="180" y="9914"/>
                    <a:pt x="62" y="9687"/>
                    <a:pt x="15" y="9370"/>
                  </a:cubicBezTo>
                  <a:cubicBezTo>
                    <a:pt x="-32" y="9054"/>
                    <a:pt x="39" y="8737"/>
                    <a:pt x="157" y="8510"/>
                  </a:cubicBezTo>
                  <a:cubicBezTo>
                    <a:pt x="1526" y="6427"/>
                    <a:pt x="3391" y="6337"/>
                    <a:pt x="5185" y="7559"/>
                  </a:cubicBezTo>
                  <a:cubicBezTo>
                    <a:pt x="6956" y="8872"/>
                    <a:pt x="6838" y="6563"/>
                    <a:pt x="8443" y="3982"/>
                  </a:cubicBezTo>
                  <a:close/>
                </a:path>
              </a:pathLst>
            </a:custGeom>
            <a:solidFill>
              <a:srgbClr val="C13018">
                <a:lumMod val="60000"/>
                <a:lumOff val="40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48" name="Shape">
              <a:extLst>
                <a:ext uri="{FF2B5EF4-FFF2-40B4-BE49-F238E27FC236}">
                  <a16:creationId xmlns:a16="http://schemas.microsoft.com/office/drawing/2014/main" id="{270BC46C-A696-0244-22EA-83EF9B0BCDFD}"/>
                </a:ext>
              </a:extLst>
            </p:cNvPr>
            <p:cNvSpPr/>
            <p:nvPr/>
          </p:nvSpPr>
          <p:spPr>
            <a:xfrm>
              <a:off x="5343079" y="1788360"/>
              <a:ext cx="360369" cy="344569"/>
            </a:xfrm>
            <a:custGeom>
              <a:avLst/>
              <a:gdLst/>
              <a:ahLst/>
              <a:cxnLst>
                <a:cxn ang="0">
                  <a:pos x="wd2" y="hd2"/>
                </a:cxn>
                <a:cxn ang="5400000">
                  <a:pos x="wd2" y="hd2"/>
                </a:cxn>
                <a:cxn ang="10800000">
                  <a:pos x="wd2" y="hd2"/>
                </a:cxn>
                <a:cxn ang="16200000">
                  <a:pos x="wd2" y="hd2"/>
                </a:cxn>
              </a:cxnLst>
              <a:rect l="0" t="0" r="r" b="b"/>
              <a:pathLst>
                <a:path w="21295" h="20776" extrusionOk="0">
                  <a:moveTo>
                    <a:pt x="20855" y="5606"/>
                  </a:moveTo>
                  <a:cubicBezTo>
                    <a:pt x="20137" y="6631"/>
                    <a:pt x="19850" y="7876"/>
                    <a:pt x="20066" y="9121"/>
                  </a:cubicBezTo>
                  <a:cubicBezTo>
                    <a:pt x="20711" y="13148"/>
                    <a:pt x="19420" y="17248"/>
                    <a:pt x="16693" y="20250"/>
                  </a:cubicBezTo>
                  <a:cubicBezTo>
                    <a:pt x="16262" y="20689"/>
                    <a:pt x="15616" y="20909"/>
                    <a:pt x="15042" y="20689"/>
                  </a:cubicBezTo>
                  <a:cubicBezTo>
                    <a:pt x="14468" y="20470"/>
                    <a:pt x="14038" y="19957"/>
                    <a:pt x="13894" y="19371"/>
                  </a:cubicBezTo>
                  <a:cubicBezTo>
                    <a:pt x="12818" y="12415"/>
                    <a:pt x="7723" y="6851"/>
                    <a:pt x="1049" y="5240"/>
                  </a:cubicBezTo>
                  <a:cubicBezTo>
                    <a:pt x="547" y="5093"/>
                    <a:pt x="188" y="4727"/>
                    <a:pt x="44" y="4215"/>
                  </a:cubicBezTo>
                  <a:cubicBezTo>
                    <a:pt x="-99" y="3702"/>
                    <a:pt x="116" y="3190"/>
                    <a:pt x="475" y="2824"/>
                  </a:cubicBezTo>
                  <a:cubicBezTo>
                    <a:pt x="4637" y="-545"/>
                    <a:pt x="10306" y="-691"/>
                    <a:pt x="15760" y="1286"/>
                  </a:cubicBezTo>
                  <a:cubicBezTo>
                    <a:pt x="17482" y="1945"/>
                    <a:pt x="18631" y="1945"/>
                    <a:pt x="19492" y="1652"/>
                  </a:cubicBezTo>
                  <a:cubicBezTo>
                    <a:pt x="19922" y="1798"/>
                    <a:pt x="20281" y="2018"/>
                    <a:pt x="20640" y="2384"/>
                  </a:cubicBezTo>
                  <a:cubicBezTo>
                    <a:pt x="21286" y="3116"/>
                    <a:pt x="21501" y="4141"/>
                    <a:pt x="21071" y="5020"/>
                  </a:cubicBezTo>
                  <a:lnTo>
                    <a:pt x="20855" y="5606"/>
                  </a:lnTo>
                  <a:close/>
                </a:path>
              </a:pathLst>
            </a:custGeom>
            <a:solidFill>
              <a:srgbClr val="C13018"/>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49" name="Shape">
              <a:extLst>
                <a:ext uri="{FF2B5EF4-FFF2-40B4-BE49-F238E27FC236}">
                  <a16:creationId xmlns:a16="http://schemas.microsoft.com/office/drawing/2014/main" id="{3B16C91A-6312-35F4-024C-8D3355B33BCC}"/>
                </a:ext>
              </a:extLst>
            </p:cNvPr>
            <p:cNvSpPr/>
            <p:nvPr/>
          </p:nvSpPr>
          <p:spPr>
            <a:xfrm>
              <a:off x="5962416" y="1909800"/>
              <a:ext cx="163468" cy="218361"/>
            </a:xfrm>
            <a:custGeom>
              <a:avLst/>
              <a:gdLst/>
              <a:ahLst/>
              <a:cxnLst>
                <a:cxn ang="0">
                  <a:pos x="wd2" y="hd2"/>
                </a:cxn>
                <a:cxn ang="5400000">
                  <a:pos x="wd2" y="hd2"/>
                </a:cxn>
                <a:cxn ang="10800000">
                  <a:pos x="wd2" y="hd2"/>
                </a:cxn>
                <a:cxn ang="16200000">
                  <a:pos x="wd2" y="hd2"/>
                </a:cxn>
              </a:cxnLst>
              <a:rect l="0" t="0" r="r" b="b"/>
              <a:pathLst>
                <a:path w="20918" h="21224" extrusionOk="0">
                  <a:moveTo>
                    <a:pt x="20369" y="4131"/>
                  </a:moveTo>
                  <a:lnTo>
                    <a:pt x="18349" y="6256"/>
                  </a:lnTo>
                  <a:cubicBezTo>
                    <a:pt x="14619" y="10033"/>
                    <a:pt x="12910" y="14518"/>
                    <a:pt x="13065" y="19239"/>
                  </a:cubicBezTo>
                  <a:cubicBezTo>
                    <a:pt x="13065" y="19948"/>
                    <a:pt x="12599" y="20656"/>
                    <a:pt x="11667" y="21010"/>
                  </a:cubicBezTo>
                  <a:cubicBezTo>
                    <a:pt x="10890" y="21364"/>
                    <a:pt x="9802" y="21246"/>
                    <a:pt x="9025" y="20892"/>
                  </a:cubicBezTo>
                  <a:cubicBezTo>
                    <a:pt x="7627" y="20066"/>
                    <a:pt x="6539" y="19121"/>
                    <a:pt x="5607" y="18059"/>
                  </a:cubicBezTo>
                  <a:cubicBezTo>
                    <a:pt x="4519" y="16761"/>
                    <a:pt x="3120" y="15580"/>
                    <a:pt x="1566" y="14754"/>
                  </a:cubicBezTo>
                  <a:cubicBezTo>
                    <a:pt x="12" y="13928"/>
                    <a:pt x="-454" y="12393"/>
                    <a:pt x="479" y="11095"/>
                  </a:cubicBezTo>
                  <a:cubicBezTo>
                    <a:pt x="3742" y="6255"/>
                    <a:pt x="9181" y="2361"/>
                    <a:pt x="15863" y="236"/>
                  </a:cubicBezTo>
                  <a:cubicBezTo>
                    <a:pt x="17417" y="-236"/>
                    <a:pt x="19126" y="0"/>
                    <a:pt x="20058" y="944"/>
                  </a:cubicBezTo>
                  <a:cubicBezTo>
                    <a:pt x="21146" y="1770"/>
                    <a:pt x="21146" y="3069"/>
                    <a:pt x="20369" y="4131"/>
                  </a:cubicBezTo>
                  <a:close/>
                </a:path>
              </a:pathLst>
            </a:custGeom>
            <a:solidFill>
              <a:srgbClr val="C13018">
                <a:lumMod val="40000"/>
                <a:lumOff val="60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50" name="Shape">
              <a:extLst>
                <a:ext uri="{FF2B5EF4-FFF2-40B4-BE49-F238E27FC236}">
                  <a16:creationId xmlns:a16="http://schemas.microsoft.com/office/drawing/2014/main" id="{AE705ED5-374E-8E80-AE7E-6CF18AB148D4}"/>
                </a:ext>
              </a:extLst>
            </p:cNvPr>
            <p:cNvSpPr/>
            <p:nvPr/>
          </p:nvSpPr>
          <p:spPr>
            <a:xfrm>
              <a:off x="6302445" y="1776217"/>
              <a:ext cx="72395" cy="71559"/>
            </a:xfrm>
            <a:custGeom>
              <a:avLst/>
              <a:gdLst/>
              <a:ahLst/>
              <a:cxnLst>
                <a:cxn ang="0">
                  <a:pos x="wd2" y="hd2"/>
                </a:cxn>
                <a:cxn ang="5400000">
                  <a:pos x="wd2" y="hd2"/>
                </a:cxn>
                <a:cxn ang="10800000">
                  <a:pos x="wd2" y="hd2"/>
                </a:cxn>
                <a:cxn ang="16200000">
                  <a:pos x="wd2" y="hd2"/>
                </a:cxn>
              </a:cxnLst>
              <a:rect l="0" t="0" r="r" b="b"/>
              <a:pathLst>
                <a:path w="18935" h="18996" extrusionOk="0">
                  <a:moveTo>
                    <a:pt x="4385" y="17669"/>
                  </a:moveTo>
                  <a:cubicBezTo>
                    <a:pt x="-62" y="14768"/>
                    <a:pt x="-1333" y="8965"/>
                    <a:pt x="1526" y="4451"/>
                  </a:cubicBezTo>
                  <a:cubicBezTo>
                    <a:pt x="4385" y="-62"/>
                    <a:pt x="10102" y="-1352"/>
                    <a:pt x="14549" y="1550"/>
                  </a:cubicBezTo>
                  <a:cubicBezTo>
                    <a:pt x="18996" y="4451"/>
                    <a:pt x="20267" y="10254"/>
                    <a:pt x="17408" y="14768"/>
                  </a:cubicBezTo>
                  <a:cubicBezTo>
                    <a:pt x="14549" y="18959"/>
                    <a:pt x="8513" y="20248"/>
                    <a:pt x="4385" y="17669"/>
                  </a:cubicBezTo>
                  <a:close/>
                </a:path>
              </a:pathLst>
            </a:custGeom>
            <a:solidFill>
              <a:srgbClr val="554C21"/>
            </a:solidFill>
            <a:ln w="12700">
              <a:miter lim="400000"/>
            </a:ln>
          </p:spPr>
          <p:txBody>
            <a:bodyPr lIns="38100" tIns="38100" rIns="38100" bIns="38100" anchor="ctr"/>
            <a:lstStyle/>
            <a:p>
              <a:pPr>
                <a:defRPr sz="3000">
                  <a:solidFill>
                    <a:srgbClr val="FFFFFF"/>
                  </a:solidFill>
                </a:defRPr>
              </a:pPr>
              <a:endParaRPr sz="3000">
                <a:solidFill>
                  <a:srgbClr val="FFFFFF"/>
                </a:solidFill>
                <a:latin typeface="Calibri" panose="020F0502020204030204"/>
              </a:endParaRPr>
            </a:p>
          </p:txBody>
        </p:sp>
        <p:sp>
          <p:nvSpPr>
            <p:cNvPr id="51" name="Shape">
              <a:extLst>
                <a:ext uri="{FF2B5EF4-FFF2-40B4-BE49-F238E27FC236}">
                  <a16:creationId xmlns:a16="http://schemas.microsoft.com/office/drawing/2014/main" id="{F25C465C-47EC-F524-48E5-6CEC66DE2BDE}"/>
                </a:ext>
              </a:extLst>
            </p:cNvPr>
            <p:cNvSpPr/>
            <p:nvPr/>
          </p:nvSpPr>
          <p:spPr>
            <a:xfrm>
              <a:off x="6326732" y="1788360"/>
              <a:ext cx="31775" cy="31775"/>
            </a:xfrm>
            <a:custGeom>
              <a:avLst/>
              <a:gdLst/>
              <a:ahLst/>
              <a:cxnLst>
                <a:cxn ang="0">
                  <a:pos x="wd2" y="hd2"/>
                </a:cxn>
                <a:cxn ang="5400000">
                  <a:pos x="wd2" y="hd2"/>
                </a:cxn>
                <a:cxn ang="10800000">
                  <a:pos x="wd2" y="hd2"/>
                </a:cxn>
                <a:cxn ang="16200000">
                  <a:pos x="wd2" y="hd2"/>
                </a:cxn>
              </a:cxnLst>
              <a:rect l="0" t="0" r="r" b="b"/>
              <a:pathLst>
                <a:path w="18836" h="18836" extrusionOk="0">
                  <a:moveTo>
                    <a:pt x="4378" y="17337"/>
                  </a:moveTo>
                  <a:cubicBezTo>
                    <a:pt x="58" y="14458"/>
                    <a:pt x="-1382" y="8698"/>
                    <a:pt x="1499" y="4378"/>
                  </a:cubicBezTo>
                  <a:cubicBezTo>
                    <a:pt x="4378" y="58"/>
                    <a:pt x="10138" y="-1382"/>
                    <a:pt x="14458" y="1499"/>
                  </a:cubicBezTo>
                  <a:cubicBezTo>
                    <a:pt x="18778" y="4378"/>
                    <a:pt x="20218" y="10138"/>
                    <a:pt x="17337" y="14458"/>
                  </a:cubicBezTo>
                  <a:cubicBezTo>
                    <a:pt x="15177" y="18778"/>
                    <a:pt x="9419" y="20218"/>
                    <a:pt x="4378" y="17337"/>
                  </a:cubicBezTo>
                  <a:close/>
                </a:path>
              </a:pathLst>
            </a:custGeom>
            <a:solidFill>
              <a:sysClr val="windowText" lastClr="000000"/>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52" name="Shape">
              <a:extLst>
                <a:ext uri="{FF2B5EF4-FFF2-40B4-BE49-F238E27FC236}">
                  <a16:creationId xmlns:a16="http://schemas.microsoft.com/office/drawing/2014/main" id="{54E28C34-10A2-E7E5-0448-210432973CA7}"/>
                </a:ext>
              </a:extLst>
            </p:cNvPr>
            <p:cNvSpPr/>
            <p:nvPr/>
          </p:nvSpPr>
          <p:spPr>
            <a:xfrm>
              <a:off x="6168862" y="1727641"/>
              <a:ext cx="119156" cy="284169"/>
            </a:xfrm>
            <a:custGeom>
              <a:avLst/>
              <a:gdLst/>
              <a:ahLst/>
              <a:cxnLst>
                <a:cxn ang="0">
                  <a:pos x="wd2" y="hd2"/>
                </a:cxn>
                <a:cxn ang="5400000">
                  <a:pos x="wd2" y="hd2"/>
                </a:cxn>
                <a:cxn ang="10800000">
                  <a:pos x="wd2" y="hd2"/>
                </a:cxn>
                <a:cxn ang="16200000">
                  <a:pos x="wd2" y="hd2"/>
                </a:cxn>
              </a:cxnLst>
              <a:rect l="0" t="0" r="r" b="b"/>
              <a:pathLst>
                <a:path w="21193" h="21600" extrusionOk="0">
                  <a:moveTo>
                    <a:pt x="21193" y="0"/>
                  </a:moveTo>
                  <a:lnTo>
                    <a:pt x="18385" y="1477"/>
                  </a:lnTo>
                  <a:cubicBezTo>
                    <a:pt x="7369" y="7292"/>
                    <a:pt x="6721" y="15508"/>
                    <a:pt x="16657" y="21600"/>
                  </a:cubicBezTo>
                  <a:lnTo>
                    <a:pt x="13201" y="20769"/>
                  </a:lnTo>
                  <a:cubicBezTo>
                    <a:pt x="4777" y="18739"/>
                    <a:pt x="-407" y="14862"/>
                    <a:pt x="25" y="10708"/>
                  </a:cubicBezTo>
                  <a:cubicBezTo>
                    <a:pt x="457" y="6554"/>
                    <a:pt x="6073" y="2862"/>
                    <a:pt x="14928" y="1108"/>
                  </a:cubicBezTo>
                  <a:lnTo>
                    <a:pt x="21193" y="0"/>
                  </a:lnTo>
                  <a:close/>
                </a:path>
              </a:pathLst>
            </a:custGeom>
            <a:solidFill>
              <a:srgbClr val="C13018"/>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53" name="Shape">
              <a:extLst>
                <a:ext uri="{FF2B5EF4-FFF2-40B4-BE49-F238E27FC236}">
                  <a16:creationId xmlns:a16="http://schemas.microsoft.com/office/drawing/2014/main" id="{F4F07E9C-EEAB-B803-CF6A-832C982BB429}"/>
                </a:ext>
              </a:extLst>
            </p:cNvPr>
            <p:cNvSpPr/>
            <p:nvPr/>
          </p:nvSpPr>
          <p:spPr>
            <a:xfrm>
              <a:off x="4262274" y="1982663"/>
              <a:ext cx="1105082" cy="1523384"/>
            </a:xfrm>
            <a:custGeom>
              <a:avLst/>
              <a:gdLst/>
              <a:ahLst/>
              <a:cxnLst>
                <a:cxn ang="0">
                  <a:pos x="wd2" y="hd2"/>
                </a:cxn>
                <a:cxn ang="5400000">
                  <a:pos x="wd2" y="hd2"/>
                </a:cxn>
                <a:cxn ang="10800000">
                  <a:pos x="wd2" y="hd2"/>
                </a:cxn>
                <a:cxn ang="16200000">
                  <a:pos x="wd2" y="hd2"/>
                </a:cxn>
              </a:cxnLst>
              <a:rect l="0" t="0" r="r" b="b"/>
              <a:pathLst>
                <a:path w="18613" h="21488" extrusionOk="0">
                  <a:moveTo>
                    <a:pt x="18272" y="419"/>
                  </a:moveTo>
                  <a:lnTo>
                    <a:pt x="18272" y="419"/>
                  </a:lnTo>
                  <a:cubicBezTo>
                    <a:pt x="17843" y="8"/>
                    <a:pt x="17106" y="-112"/>
                    <a:pt x="16493" y="111"/>
                  </a:cubicBezTo>
                  <a:cubicBezTo>
                    <a:pt x="1847" y="5421"/>
                    <a:pt x="-2714" y="13591"/>
                    <a:pt x="1500" y="20614"/>
                  </a:cubicBezTo>
                  <a:cubicBezTo>
                    <a:pt x="1704" y="20957"/>
                    <a:pt x="2195" y="21214"/>
                    <a:pt x="2563" y="21488"/>
                  </a:cubicBezTo>
                  <a:cubicBezTo>
                    <a:pt x="-2244" y="15527"/>
                    <a:pt x="4220" y="7271"/>
                    <a:pt x="17781" y="2166"/>
                  </a:cubicBezTo>
                  <a:cubicBezTo>
                    <a:pt x="18641" y="1841"/>
                    <a:pt x="18886" y="984"/>
                    <a:pt x="18272" y="419"/>
                  </a:cubicBezTo>
                  <a:close/>
                </a:path>
              </a:pathLst>
            </a:custGeom>
            <a:solidFill>
              <a:srgbClr val="4CC1EF">
                <a:lumMod val="75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grpSp>
    </p:spTree>
    <p:extLst>
      <p:ext uri="{BB962C8B-B14F-4D97-AF65-F5344CB8AC3E}">
        <p14:creationId xmlns:p14="http://schemas.microsoft.com/office/powerpoint/2010/main" val="2592372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9649D3-8C03-FAEC-3947-7F1994A2D3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303EA4-323E-2916-24D6-DEB2F3695D7A}"/>
              </a:ext>
            </a:extLst>
          </p:cNvPr>
          <p:cNvSpPr>
            <a:spLocks noGrp="1"/>
          </p:cNvSpPr>
          <p:nvPr>
            <p:ph type="title"/>
          </p:nvPr>
        </p:nvSpPr>
        <p:spPr/>
        <p:txBody>
          <a:bodyPr/>
          <a:lstStyle/>
          <a:p>
            <a:r>
              <a:rPr lang="en-US" dirty="0"/>
              <a:t>Academy Structure: </a:t>
            </a:r>
            <a:r>
              <a:rPr lang="en-US" dirty="0">
                <a:solidFill>
                  <a:schemeClr val="accent1"/>
                </a:solidFill>
              </a:rPr>
              <a:t>Week 2</a:t>
            </a:r>
          </a:p>
        </p:txBody>
      </p:sp>
      <p:grpSp>
        <p:nvGrpSpPr>
          <p:cNvPr id="36" name="Group 35">
            <a:extLst>
              <a:ext uri="{FF2B5EF4-FFF2-40B4-BE49-F238E27FC236}">
                <a16:creationId xmlns:a16="http://schemas.microsoft.com/office/drawing/2014/main" id="{F867CC97-DFDF-FAC7-BE6B-4076F537630C}"/>
              </a:ext>
            </a:extLst>
          </p:cNvPr>
          <p:cNvGrpSpPr/>
          <p:nvPr/>
        </p:nvGrpSpPr>
        <p:grpSpPr>
          <a:xfrm>
            <a:off x="329003" y="918493"/>
            <a:ext cx="2217250" cy="5243616"/>
            <a:chOff x="329003" y="776086"/>
            <a:chExt cx="2217250" cy="5243616"/>
          </a:xfrm>
        </p:grpSpPr>
        <p:sp>
          <p:nvSpPr>
            <p:cNvPr id="10" name="Rectangle 9">
              <a:extLst>
                <a:ext uri="{FF2B5EF4-FFF2-40B4-BE49-F238E27FC236}">
                  <a16:creationId xmlns:a16="http://schemas.microsoft.com/office/drawing/2014/main" id="{2DE03F0B-264C-03CD-1019-88B0E1A86FC1}"/>
                </a:ext>
              </a:extLst>
            </p:cNvPr>
            <p:cNvSpPr/>
            <p:nvPr/>
          </p:nvSpPr>
          <p:spPr>
            <a:xfrm>
              <a:off x="329003" y="1128614"/>
              <a:ext cx="2217250" cy="1439238"/>
            </a:xfrm>
            <a:prstGeom prst="rect">
              <a:avLst/>
            </a:prstGeom>
            <a:solidFill>
              <a:srgbClr val="E3F6FD"/>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Intro to Agent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300" dirty="0">
                <a:solidFill>
                  <a:sysClr val="windowText" lastClr="000000"/>
                </a:solidFill>
                <a:latin typeface="Graphik" panose="020B050303020206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Understanding Agent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300" dirty="0">
                <a:solidFill>
                  <a:sysClr val="windowText" lastClr="000000"/>
                </a:solidFill>
                <a:latin typeface="Graphik" panose="020B050303020206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Reinventing Banking with Agents</a:t>
              </a:r>
            </a:p>
          </p:txBody>
        </p:sp>
        <p:sp>
          <p:nvSpPr>
            <p:cNvPr id="14" name="Rectangle 13">
              <a:extLst>
                <a:ext uri="{FF2B5EF4-FFF2-40B4-BE49-F238E27FC236}">
                  <a16:creationId xmlns:a16="http://schemas.microsoft.com/office/drawing/2014/main" id="{0FFD88CB-9B0D-BBF1-2A34-5B04C5DC69EA}"/>
                </a:ext>
              </a:extLst>
            </p:cNvPr>
            <p:cNvSpPr/>
            <p:nvPr/>
          </p:nvSpPr>
          <p:spPr>
            <a:xfrm>
              <a:off x="329003" y="3003719"/>
              <a:ext cx="2217250" cy="611018"/>
            </a:xfrm>
            <a:prstGeom prst="rect">
              <a:avLst/>
            </a:prstGeom>
            <a:solidFill>
              <a:schemeClr val="bg1">
                <a:lumMod val="8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Lunch</a:t>
              </a:r>
            </a:p>
          </p:txBody>
        </p:sp>
        <p:sp>
          <p:nvSpPr>
            <p:cNvPr id="16" name="Rectangle 15">
              <a:extLst>
                <a:ext uri="{FF2B5EF4-FFF2-40B4-BE49-F238E27FC236}">
                  <a16:creationId xmlns:a16="http://schemas.microsoft.com/office/drawing/2014/main" id="{9CC84833-86D2-3C5F-7145-9CD4E8B05759}"/>
                </a:ext>
              </a:extLst>
            </p:cNvPr>
            <p:cNvSpPr/>
            <p:nvPr/>
          </p:nvSpPr>
          <p:spPr>
            <a:xfrm>
              <a:off x="329003" y="2567852"/>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Agile Ceremony</a:t>
              </a:r>
              <a:endPar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Refinement</a:t>
              </a:r>
            </a:p>
          </p:txBody>
        </p:sp>
        <p:sp>
          <p:nvSpPr>
            <p:cNvPr id="17" name="Rectangle 16">
              <a:extLst>
                <a:ext uri="{FF2B5EF4-FFF2-40B4-BE49-F238E27FC236}">
                  <a16:creationId xmlns:a16="http://schemas.microsoft.com/office/drawing/2014/main" id="{314C3A7D-BC11-0FE7-8786-8A8F2FBFBC9A}"/>
                </a:ext>
              </a:extLst>
            </p:cNvPr>
            <p:cNvSpPr/>
            <p:nvPr/>
          </p:nvSpPr>
          <p:spPr>
            <a:xfrm>
              <a:off x="329003" y="3614738"/>
              <a:ext cx="2217250" cy="1969098"/>
            </a:xfrm>
            <a:prstGeom prst="rect">
              <a:avLst/>
            </a:prstGeom>
            <a:solidFill>
              <a:srgbClr val="E5E5FF"/>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Hypersprint #1</a:t>
              </a:r>
            </a:p>
          </p:txBody>
        </p:sp>
        <p:sp>
          <p:nvSpPr>
            <p:cNvPr id="88" name="TextBox 87">
              <a:extLst>
                <a:ext uri="{FF2B5EF4-FFF2-40B4-BE49-F238E27FC236}">
                  <a16:creationId xmlns:a16="http://schemas.microsoft.com/office/drawing/2014/main" id="{FC8870A3-B86D-FD0A-DCD6-60DAA346F042}"/>
                </a:ext>
              </a:extLst>
            </p:cNvPr>
            <p:cNvSpPr txBox="1"/>
            <p:nvPr/>
          </p:nvSpPr>
          <p:spPr>
            <a:xfrm>
              <a:off x="907981" y="776086"/>
              <a:ext cx="1053580" cy="320601"/>
            </a:xfrm>
            <a:prstGeom prst="rect">
              <a:avLst/>
            </a:prstGeom>
            <a:noFill/>
          </p:spPr>
          <p:txBody>
            <a:bodyPr wrap="square" lIns="45720" r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Day 1</a:t>
              </a:r>
            </a:p>
          </p:txBody>
        </p:sp>
        <p:sp>
          <p:nvSpPr>
            <p:cNvPr id="11" name="Rectangle 10">
              <a:extLst>
                <a:ext uri="{FF2B5EF4-FFF2-40B4-BE49-F238E27FC236}">
                  <a16:creationId xmlns:a16="http://schemas.microsoft.com/office/drawing/2014/main" id="{2638343E-076E-155E-FEC8-170CEFC73E2E}"/>
                </a:ext>
              </a:extLst>
            </p:cNvPr>
            <p:cNvSpPr/>
            <p:nvPr/>
          </p:nvSpPr>
          <p:spPr>
            <a:xfrm>
              <a:off x="329003" y="5583836"/>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chemeClr val="tx1"/>
                  </a:solidFill>
                  <a:effectLst/>
                  <a:uLnTx/>
                  <a:uFillTx/>
                  <a:latin typeface="Graphik" panose="020B0503030202060203" pitchFamily="34" charset="0"/>
                  <a:ea typeface="+mn-ea"/>
                  <a:cs typeface="+mn-cs"/>
                </a:rPr>
                <a:t>Team Reflections</a:t>
              </a:r>
            </a:p>
          </p:txBody>
        </p:sp>
      </p:grpSp>
      <p:grpSp>
        <p:nvGrpSpPr>
          <p:cNvPr id="37" name="Group 36">
            <a:extLst>
              <a:ext uri="{FF2B5EF4-FFF2-40B4-BE49-F238E27FC236}">
                <a16:creationId xmlns:a16="http://schemas.microsoft.com/office/drawing/2014/main" id="{15DBB229-527F-E28B-3294-CA910AA0588F}"/>
              </a:ext>
            </a:extLst>
          </p:cNvPr>
          <p:cNvGrpSpPr/>
          <p:nvPr/>
        </p:nvGrpSpPr>
        <p:grpSpPr>
          <a:xfrm>
            <a:off x="2632863" y="918493"/>
            <a:ext cx="2217250" cy="5243616"/>
            <a:chOff x="2632863" y="776086"/>
            <a:chExt cx="2217250" cy="5243616"/>
          </a:xfrm>
        </p:grpSpPr>
        <p:sp>
          <p:nvSpPr>
            <p:cNvPr id="4" name="Rectangle 3">
              <a:extLst>
                <a:ext uri="{FF2B5EF4-FFF2-40B4-BE49-F238E27FC236}">
                  <a16:creationId xmlns:a16="http://schemas.microsoft.com/office/drawing/2014/main" id="{DDD1E777-4695-C30D-9D7F-512B58FEB8C7}"/>
                </a:ext>
              </a:extLst>
            </p:cNvPr>
            <p:cNvSpPr/>
            <p:nvPr/>
          </p:nvSpPr>
          <p:spPr>
            <a:xfrm>
              <a:off x="2632863" y="1128614"/>
              <a:ext cx="2217250" cy="1439238"/>
            </a:xfrm>
            <a:prstGeom prst="rect">
              <a:avLst/>
            </a:prstGeom>
            <a:solidFill>
              <a:srgbClr val="E3F6FD"/>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Tool Use with Agent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300" dirty="0">
                <a:solidFill>
                  <a:sysClr val="windowText" lastClr="000000"/>
                </a:solidFill>
                <a:latin typeface="Graphik" panose="020B050303020206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Reasoning with Agents</a:t>
              </a:r>
            </a:p>
          </p:txBody>
        </p:sp>
        <p:sp>
          <p:nvSpPr>
            <p:cNvPr id="5" name="Rectangle 4">
              <a:extLst>
                <a:ext uri="{FF2B5EF4-FFF2-40B4-BE49-F238E27FC236}">
                  <a16:creationId xmlns:a16="http://schemas.microsoft.com/office/drawing/2014/main" id="{3A3BEE8B-1FD3-7B65-45C3-8CFA073855D3}"/>
                </a:ext>
              </a:extLst>
            </p:cNvPr>
            <p:cNvSpPr/>
            <p:nvPr/>
          </p:nvSpPr>
          <p:spPr>
            <a:xfrm>
              <a:off x="2632863" y="3003719"/>
              <a:ext cx="2217250" cy="611018"/>
            </a:xfrm>
            <a:prstGeom prst="rect">
              <a:avLst/>
            </a:prstGeom>
            <a:solidFill>
              <a:schemeClr val="bg1">
                <a:lumMod val="8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Lunch</a:t>
              </a:r>
            </a:p>
          </p:txBody>
        </p:sp>
        <p:sp>
          <p:nvSpPr>
            <p:cNvPr id="6" name="Rectangle 5">
              <a:extLst>
                <a:ext uri="{FF2B5EF4-FFF2-40B4-BE49-F238E27FC236}">
                  <a16:creationId xmlns:a16="http://schemas.microsoft.com/office/drawing/2014/main" id="{E1D0F50E-5F1F-9875-5379-DF9D2D9652F3}"/>
                </a:ext>
              </a:extLst>
            </p:cNvPr>
            <p:cNvSpPr/>
            <p:nvPr/>
          </p:nvSpPr>
          <p:spPr>
            <a:xfrm>
              <a:off x="2632863" y="2567852"/>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Agile Ceremony</a:t>
              </a:r>
              <a:endPar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Sprint Planning</a:t>
              </a:r>
            </a:p>
          </p:txBody>
        </p:sp>
        <p:sp>
          <p:nvSpPr>
            <p:cNvPr id="7" name="Rectangle 6">
              <a:extLst>
                <a:ext uri="{FF2B5EF4-FFF2-40B4-BE49-F238E27FC236}">
                  <a16:creationId xmlns:a16="http://schemas.microsoft.com/office/drawing/2014/main" id="{1B5663C8-1DAF-99B0-7637-17F7E88A7924}"/>
                </a:ext>
              </a:extLst>
            </p:cNvPr>
            <p:cNvSpPr/>
            <p:nvPr/>
          </p:nvSpPr>
          <p:spPr>
            <a:xfrm>
              <a:off x="2632863" y="3614738"/>
              <a:ext cx="2217250" cy="1969098"/>
            </a:xfrm>
            <a:prstGeom prst="rect">
              <a:avLst/>
            </a:prstGeom>
            <a:solidFill>
              <a:srgbClr val="E5E5FF"/>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Hypersprint #2</a:t>
              </a:r>
            </a:p>
          </p:txBody>
        </p:sp>
        <p:sp>
          <p:nvSpPr>
            <p:cNvPr id="8" name="TextBox 7">
              <a:extLst>
                <a:ext uri="{FF2B5EF4-FFF2-40B4-BE49-F238E27FC236}">
                  <a16:creationId xmlns:a16="http://schemas.microsoft.com/office/drawing/2014/main" id="{1A769490-7AE2-4C58-83E0-29F12DCFEC07}"/>
                </a:ext>
              </a:extLst>
            </p:cNvPr>
            <p:cNvSpPr txBox="1"/>
            <p:nvPr/>
          </p:nvSpPr>
          <p:spPr>
            <a:xfrm>
              <a:off x="3211841" y="776086"/>
              <a:ext cx="1053580" cy="320601"/>
            </a:xfrm>
            <a:prstGeom prst="rect">
              <a:avLst/>
            </a:prstGeom>
            <a:noFill/>
          </p:spPr>
          <p:txBody>
            <a:bodyPr wrap="square" lIns="45720" r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Day 2</a:t>
              </a:r>
            </a:p>
          </p:txBody>
        </p:sp>
        <p:sp>
          <p:nvSpPr>
            <p:cNvPr id="15" name="Rectangle 14">
              <a:extLst>
                <a:ext uri="{FF2B5EF4-FFF2-40B4-BE49-F238E27FC236}">
                  <a16:creationId xmlns:a16="http://schemas.microsoft.com/office/drawing/2014/main" id="{ED4ED940-2D0F-C972-2E40-CFCADD119743}"/>
                </a:ext>
              </a:extLst>
            </p:cNvPr>
            <p:cNvSpPr/>
            <p:nvPr/>
          </p:nvSpPr>
          <p:spPr>
            <a:xfrm>
              <a:off x="2632863" y="5583836"/>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1300" dirty="0">
                  <a:solidFill>
                    <a:schemeClr val="tx1"/>
                  </a:solidFill>
                  <a:latin typeface="Graphik" panose="020B0503030202060203" pitchFamily="34" charset="0"/>
                </a:rPr>
                <a:t>Team Reflections</a:t>
              </a:r>
            </a:p>
          </p:txBody>
        </p:sp>
      </p:grpSp>
      <p:grpSp>
        <p:nvGrpSpPr>
          <p:cNvPr id="38" name="Group 37">
            <a:extLst>
              <a:ext uri="{FF2B5EF4-FFF2-40B4-BE49-F238E27FC236}">
                <a16:creationId xmlns:a16="http://schemas.microsoft.com/office/drawing/2014/main" id="{A1A5A811-3805-D076-CA47-1F8A26389E9B}"/>
              </a:ext>
            </a:extLst>
          </p:cNvPr>
          <p:cNvGrpSpPr/>
          <p:nvPr/>
        </p:nvGrpSpPr>
        <p:grpSpPr>
          <a:xfrm>
            <a:off x="4936723" y="918493"/>
            <a:ext cx="2217250" cy="5243616"/>
            <a:chOff x="4936723" y="776086"/>
            <a:chExt cx="2217250" cy="5243616"/>
          </a:xfrm>
        </p:grpSpPr>
        <p:sp>
          <p:nvSpPr>
            <p:cNvPr id="12" name="Rectangle 11">
              <a:extLst>
                <a:ext uri="{FF2B5EF4-FFF2-40B4-BE49-F238E27FC236}">
                  <a16:creationId xmlns:a16="http://schemas.microsoft.com/office/drawing/2014/main" id="{B62D17F8-27D5-5A2E-90D8-82D43CA2B6A5}"/>
                </a:ext>
              </a:extLst>
            </p:cNvPr>
            <p:cNvSpPr/>
            <p:nvPr/>
          </p:nvSpPr>
          <p:spPr>
            <a:xfrm>
              <a:off x="4936723" y="1128614"/>
              <a:ext cx="2217250" cy="1439238"/>
            </a:xfrm>
            <a:prstGeom prst="rect">
              <a:avLst/>
            </a:prstGeom>
            <a:solidFill>
              <a:srgbClr val="E3F6FD"/>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Memory in Agent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300" dirty="0">
                <a:solidFill>
                  <a:sysClr val="windowText" lastClr="000000"/>
                </a:solidFill>
                <a:latin typeface="Graphik" panose="020B050303020206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Planning Agentic Workflows</a:t>
              </a:r>
            </a:p>
          </p:txBody>
        </p:sp>
        <p:sp>
          <p:nvSpPr>
            <p:cNvPr id="13" name="Rectangle 12">
              <a:extLst>
                <a:ext uri="{FF2B5EF4-FFF2-40B4-BE49-F238E27FC236}">
                  <a16:creationId xmlns:a16="http://schemas.microsoft.com/office/drawing/2014/main" id="{31AC49B9-2022-C0A5-8D54-C4488E598A3C}"/>
                </a:ext>
              </a:extLst>
            </p:cNvPr>
            <p:cNvSpPr/>
            <p:nvPr/>
          </p:nvSpPr>
          <p:spPr>
            <a:xfrm>
              <a:off x="4936723" y="3003719"/>
              <a:ext cx="2217250" cy="611018"/>
            </a:xfrm>
            <a:prstGeom prst="rect">
              <a:avLst/>
            </a:prstGeom>
            <a:solidFill>
              <a:schemeClr val="bg1">
                <a:lumMod val="8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Lunch</a:t>
              </a:r>
            </a:p>
          </p:txBody>
        </p:sp>
        <p:sp>
          <p:nvSpPr>
            <p:cNvPr id="18" name="Rectangle 17">
              <a:extLst>
                <a:ext uri="{FF2B5EF4-FFF2-40B4-BE49-F238E27FC236}">
                  <a16:creationId xmlns:a16="http://schemas.microsoft.com/office/drawing/2014/main" id="{71B447F7-74AB-6B56-DF15-33842382A081}"/>
                </a:ext>
              </a:extLst>
            </p:cNvPr>
            <p:cNvSpPr/>
            <p:nvPr/>
          </p:nvSpPr>
          <p:spPr>
            <a:xfrm>
              <a:off x="4936723" y="2567852"/>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Agile Ceremony</a:t>
              </a:r>
              <a:endPar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Daily Standup</a:t>
              </a:r>
            </a:p>
          </p:txBody>
        </p:sp>
        <p:sp>
          <p:nvSpPr>
            <p:cNvPr id="19" name="Rectangle 18">
              <a:extLst>
                <a:ext uri="{FF2B5EF4-FFF2-40B4-BE49-F238E27FC236}">
                  <a16:creationId xmlns:a16="http://schemas.microsoft.com/office/drawing/2014/main" id="{B07D05E3-3EA5-99DC-CB43-D9C538F989B2}"/>
                </a:ext>
              </a:extLst>
            </p:cNvPr>
            <p:cNvSpPr/>
            <p:nvPr/>
          </p:nvSpPr>
          <p:spPr>
            <a:xfrm>
              <a:off x="4936723" y="3614738"/>
              <a:ext cx="2217250" cy="1969098"/>
            </a:xfrm>
            <a:prstGeom prst="rect">
              <a:avLst/>
            </a:prstGeom>
            <a:solidFill>
              <a:srgbClr val="E5E5FF"/>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Hypersprint #2</a:t>
              </a:r>
            </a:p>
          </p:txBody>
        </p:sp>
        <p:sp>
          <p:nvSpPr>
            <p:cNvPr id="20" name="TextBox 19">
              <a:extLst>
                <a:ext uri="{FF2B5EF4-FFF2-40B4-BE49-F238E27FC236}">
                  <a16:creationId xmlns:a16="http://schemas.microsoft.com/office/drawing/2014/main" id="{17D27647-88BB-211F-4731-87944C8CE0EA}"/>
                </a:ext>
              </a:extLst>
            </p:cNvPr>
            <p:cNvSpPr txBox="1"/>
            <p:nvPr/>
          </p:nvSpPr>
          <p:spPr>
            <a:xfrm>
              <a:off x="5515701" y="776086"/>
              <a:ext cx="1053580" cy="320601"/>
            </a:xfrm>
            <a:prstGeom prst="rect">
              <a:avLst/>
            </a:prstGeom>
            <a:noFill/>
          </p:spPr>
          <p:txBody>
            <a:bodyPr wrap="square" lIns="45720" r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Day 3</a:t>
              </a:r>
            </a:p>
          </p:txBody>
        </p:sp>
        <p:sp>
          <p:nvSpPr>
            <p:cNvPr id="33" name="Rectangle 32">
              <a:extLst>
                <a:ext uri="{FF2B5EF4-FFF2-40B4-BE49-F238E27FC236}">
                  <a16:creationId xmlns:a16="http://schemas.microsoft.com/office/drawing/2014/main" id="{E34B5179-056B-D95B-6AEE-90236C0B2F12}"/>
                </a:ext>
              </a:extLst>
            </p:cNvPr>
            <p:cNvSpPr/>
            <p:nvPr/>
          </p:nvSpPr>
          <p:spPr>
            <a:xfrm>
              <a:off x="4936723" y="5583836"/>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1300" dirty="0">
                  <a:solidFill>
                    <a:schemeClr val="tx1"/>
                  </a:solidFill>
                  <a:latin typeface="Graphik" panose="020B0503030202060203" pitchFamily="34" charset="0"/>
                </a:rPr>
                <a:t>Team Reflections</a:t>
              </a:r>
            </a:p>
          </p:txBody>
        </p:sp>
      </p:grpSp>
      <p:grpSp>
        <p:nvGrpSpPr>
          <p:cNvPr id="39" name="Group 38">
            <a:extLst>
              <a:ext uri="{FF2B5EF4-FFF2-40B4-BE49-F238E27FC236}">
                <a16:creationId xmlns:a16="http://schemas.microsoft.com/office/drawing/2014/main" id="{99A95BCB-672D-2C65-A1FF-CBB3081C2CCF}"/>
              </a:ext>
            </a:extLst>
          </p:cNvPr>
          <p:cNvGrpSpPr/>
          <p:nvPr/>
        </p:nvGrpSpPr>
        <p:grpSpPr>
          <a:xfrm>
            <a:off x="7240583" y="918493"/>
            <a:ext cx="2217250" cy="5243616"/>
            <a:chOff x="7240583" y="776086"/>
            <a:chExt cx="2217250" cy="5243616"/>
          </a:xfrm>
        </p:grpSpPr>
        <p:sp>
          <p:nvSpPr>
            <p:cNvPr id="22" name="Rectangle 21">
              <a:extLst>
                <a:ext uri="{FF2B5EF4-FFF2-40B4-BE49-F238E27FC236}">
                  <a16:creationId xmlns:a16="http://schemas.microsoft.com/office/drawing/2014/main" id="{79D9BBAE-0DE2-F120-5D63-62FE0AE473BE}"/>
                </a:ext>
              </a:extLst>
            </p:cNvPr>
            <p:cNvSpPr/>
            <p:nvPr/>
          </p:nvSpPr>
          <p:spPr>
            <a:xfrm>
              <a:off x="7240583" y="1128614"/>
              <a:ext cx="2217250" cy="1439238"/>
            </a:xfrm>
            <a:prstGeom prst="rect">
              <a:avLst/>
            </a:prstGeom>
            <a:solidFill>
              <a:srgbClr val="E3F6FD"/>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Evaluating Agent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Agent Guardrails and Prompt 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Agentic Case Study </a:t>
              </a:r>
            </a:p>
          </p:txBody>
        </p:sp>
        <p:sp>
          <p:nvSpPr>
            <p:cNvPr id="23" name="Rectangle 22">
              <a:extLst>
                <a:ext uri="{FF2B5EF4-FFF2-40B4-BE49-F238E27FC236}">
                  <a16:creationId xmlns:a16="http://schemas.microsoft.com/office/drawing/2014/main" id="{D7778DDB-39C3-7777-D060-5FD725DEC4D3}"/>
                </a:ext>
              </a:extLst>
            </p:cNvPr>
            <p:cNvSpPr/>
            <p:nvPr/>
          </p:nvSpPr>
          <p:spPr>
            <a:xfrm>
              <a:off x="7240583" y="3003719"/>
              <a:ext cx="2217250" cy="611018"/>
            </a:xfrm>
            <a:prstGeom prst="rect">
              <a:avLst/>
            </a:prstGeom>
            <a:solidFill>
              <a:schemeClr val="bg1">
                <a:lumMod val="8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Lunch</a:t>
              </a:r>
            </a:p>
          </p:txBody>
        </p:sp>
        <p:sp>
          <p:nvSpPr>
            <p:cNvPr id="24" name="Rectangle 23">
              <a:extLst>
                <a:ext uri="{FF2B5EF4-FFF2-40B4-BE49-F238E27FC236}">
                  <a16:creationId xmlns:a16="http://schemas.microsoft.com/office/drawing/2014/main" id="{E124E2AC-9A70-E790-9794-7577DF640FC4}"/>
                </a:ext>
              </a:extLst>
            </p:cNvPr>
            <p:cNvSpPr/>
            <p:nvPr/>
          </p:nvSpPr>
          <p:spPr>
            <a:xfrm>
              <a:off x="7240583" y="2567852"/>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Agile Ceremony</a:t>
              </a:r>
              <a:endPar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Sprint Review / Demo</a:t>
              </a:r>
            </a:p>
          </p:txBody>
        </p:sp>
        <p:sp>
          <p:nvSpPr>
            <p:cNvPr id="25" name="Rectangle 24">
              <a:extLst>
                <a:ext uri="{FF2B5EF4-FFF2-40B4-BE49-F238E27FC236}">
                  <a16:creationId xmlns:a16="http://schemas.microsoft.com/office/drawing/2014/main" id="{B8C39373-0527-74CA-6EEE-F7B3B32671F0}"/>
                </a:ext>
              </a:extLst>
            </p:cNvPr>
            <p:cNvSpPr/>
            <p:nvPr/>
          </p:nvSpPr>
          <p:spPr>
            <a:xfrm>
              <a:off x="7240583" y="3614738"/>
              <a:ext cx="2217250" cy="1969098"/>
            </a:xfrm>
            <a:prstGeom prst="rect">
              <a:avLst/>
            </a:prstGeom>
            <a:solidFill>
              <a:srgbClr val="E5E5FF"/>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Hypersprint #2</a:t>
              </a:r>
            </a:p>
          </p:txBody>
        </p:sp>
        <p:sp>
          <p:nvSpPr>
            <p:cNvPr id="26" name="TextBox 25">
              <a:extLst>
                <a:ext uri="{FF2B5EF4-FFF2-40B4-BE49-F238E27FC236}">
                  <a16:creationId xmlns:a16="http://schemas.microsoft.com/office/drawing/2014/main" id="{8E1265E8-D51E-087C-F55D-95883126CDDA}"/>
                </a:ext>
              </a:extLst>
            </p:cNvPr>
            <p:cNvSpPr txBox="1"/>
            <p:nvPr/>
          </p:nvSpPr>
          <p:spPr>
            <a:xfrm>
              <a:off x="7819561" y="776086"/>
              <a:ext cx="1053580" cy="320601"/>
            </a:xfrm>
            <a:prstGeom prst="rect">
              <a:avLst/>
            </a:prstGeom>
            <a:noFill/>
          </p:spPr>
          <p:txBody>
            <a:bodyPr wrap="square" lIns="45720" r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Day 4</a:t>
              </a:r>
            </a:p>
          </p:txBody>
        </p:sp>
        <p:sp>
          <p:nvSpPr>
            <p:cNvPr id="34" name="Rectangle 33">
              <a:extLst>
                <a:ext uri="{FF2B5EF4-FFF2-40B4-BE49-F238E27FC236}">
                  <a16:creationId xmlns:a16="http://schemas.microsoft.com/office/drawing/2014/main" id="{B04EC182-51CC-046B-F0B7-F88706A822D9}"/>
                </a:ext>
              </a:extLst>
            </p:cNvPr>
            <p:cNvSpPr/>
            <p:nvPr/>
          </p:nvSpPr>
          <p:spPr>
            <a:xfrm>
              <a:off x="7240583" y="5583836"/>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1300" dirty="0">
                  <a:solidFill>
                    <a:schemeClr val="tx1"/>
                  </a:solidFill>
                  <a:latin typeface="Graphik" panose="020B0503030202060203" pitchFamily="34" charset="0"/>
                </a:rPr>
                <a:t>Team Reflections</a:t>
              </a:r>
            </a:p>
          </p:txBody>
        </p:sp>
      </p:grpSp>
      <p:grpSp>
        <p:nvGrpSpPr>
          <p:cNvPr id="40" name="Group 39">
            <a:extLst>
              <a:ext uri="{FF2B5EF4-FFF2-40B4-BE49-F238E27FC236}">
                <a16:creationId xmlns:a16="http://schemas.microsoft.com/office/drawing/2014/main" id="{3222060F-7972-6B31-E175-BB336C66A96D}"/>
              </a:ext>
            </a:extLst>
          </p:cNvPr>
          <p:cNvGrpSpPr/>
          <p:nvPr/>
        </p:nvGrpSpPr>
        <p:grpSpPr>
          <a:xfrm>
            <a:off x="9544441" y="918493"/>
            <a:ext cx="2217250" cy="5243616"/>
            <a:chOff x="9544441" y="776086"/>
            <a:chExt cx="2217250" cy="5243616"/>
          </a:xfrm>
        </p:grpSpPr>
        <p:sp>
          <p:nvSpPr>
            <p:cNvPr id="28" name="Rectangle 27">
              <a:extLst>
                <a:ext uri="{FF2B5EF4-FFF2-40B4-BE49-F238E27FC236}">
                  <a16:creationId xmlns:a16="http://schemas.microsoft.com/office/drawing/2014/main" id="{7386D10A-D31A-DB76-CF87-A6A488AD0266}"/>
                </a:ext>
              </a:extLst>
            </p:cNvPr>
            <p:cNvSpPr/>
            <p:nvPr/>
          </p:nvSpPr>
          <p:spPr>
            <a:xfrm>
              <a:off x="9544441" y="1128614"/>
              <a:ext cx="2217250" cy="1439237"/>
            </a:xfrm>
            <a:prstGeom prst="rect">
              <a:avLst/>
            </a:prstGeom>
            <a:solidFill>
              <a:srgbClr val="E3F6FD"/>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Multi Agent Orchestr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Scaling Agents </a:t>
              </a:r>
            </a:p>
          </p:txBody>
        </p:sp>
        <p:sp>
          <p:nvSpPr>
            <p:cNvPr id="29" name="Rectangle 28">
              <a:extLst>
                <a:ext uri="{FF2B5EF4-FFF2-40B4-BE49-F238E27FC236}">
                  <a16:creationId xmlns:a16="http://schemas.microsoft.com/office/drawing/2014/main" id="{01554399-CB0A-2148-0367-BF0D19A20ABB}"/>
                </a:ext>
              </a:extLst>
            </p:cNvPr>
            <p:cNvSpPr/>
            <p:nvPr/>
          </p:nvSpPr>
          <p:spPr>
            <a:xfrm>
              <a:off x="9544441" y="3003719"/>
              <a:ext cx="2217250" cy="611018"/>
            </a:xfrm>
            <a:prstGeom prst="rect">
              <a:avLst/>
            </a:prstGeom>
            <a:solidFill>
              <a:schemeClr val="bg1">
                <a:lumMod val="8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Lunch</a:t>
              </a:r>
            </a:p>
          </p:txBody>
        </p:sp>
        <p:sp>
          <p:nvSpPr>
            <p:cNvPr id="30" name="Rectangle 29">
              <a:extLst>
                <a:ext uri="{FF2B5EF4-FFF2-40B4-BE49-F238E27FC236}">
                  <a16:creationId xmlns:a16="http://schemas.microsoft.com/office/drawing/2014/main" id="{9C29CD87-0A0E-BBC0-77AF-0ECEE2EC87D0}"/>
                </a:ext>
              </a:extLst>
            </p:cNvPr>
            <p:cNvSpPr/>
            <p:nvPr/>
          </p:nvSpPr>
          <p:spPr>
            <a:xfrm>
              <a:off x="9544441" y="2567852"/>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Agile Ceremony</a:t>
              </a:r>
              <a:endPar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Sprint Retrospective</a:t>
              </a:r>
            </a:p>
          </p:txBody>
        </p:sp>
        <p:sp>
          <p:nvSpPr>
            <p:cNvPr id="31" name="Rectangle 30">
              <a:extLst>
                <a:ext uri="{FF2B5EF4-FFF2-40B4-BE49-F238E27FC236}">
                  <a16:creationId xmlns:a16="http://schemas.microsoft.com/office/drawing/2014/main" id="{0915942B-7344-861D-3F46-19DACDA8AC52}"/>
                </a:ext>
              </a:extLst>
            </p:cNvPr>
            <p:cNvSpPr/>
            <p:nvPr/>
          </p:nvSpPr>
          <p:spPr>
            <a:xfrm>
              <a:off x="9544441" y="3614738"/>
              <a:ext cx="2217250" cy="1969098"/>
            </a:xfrm>
            <a:prstGeom prst="rect">
              <a:avLst/>
            </a:prstGeom>
            <a:solidFill>
              <a:srgbClr val="E5E5FF"/>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Hypersprint #2</a:t>
              </a:r>
            </a:p>
          </p:txBody>
        </p:sp>
        <p:sp>
          <p:nvSpPr>
            <p:cNvPr id="32" name="TextBox 31">
              <a:extLst>
                <a:ext uri="{FF2B5EF4-FFF2-40B4-BE49-F238E27FC236}">
                  <a16:creationId xmlns:a16="http://schemas.microsoft.com/office/drawing/2014/main" id="{0D9FB874-868B-48BE-2124-8849536F7E4A}"/>
                </a:ext>
              </a:extLst>
            </p:cNvPr>
            <p:cNvSpPr txBox="1"/>
            <p:nvPr/>
          </p:nvSpPr>
          <p:spPr>
            <a:xfrm>
              <a:off x="10123419" y="776086"/>
              <a:ext cx="1053580" cy="320601"/>
            </a:xfrm>
            <a:prstGeom prst="rect">
              <a:avLst/>
            </a:prstGeom>
            <a:noFill/>
          </p:spPr>
          <p:txBody>
            <a:bodyPr wrap="square" lIns="45720" r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Day 5</a:t>
              </a:r>
            </a:p>
          </p:txBody>
        </p:sp>
        <p:sp>
          <p:nvSpPr>
            <p:cNvPr id="35" name="Rectangle 34">
              <a:extLst>
                <a:ext uri="{FF2B5EF4-FFF2-40B4-BE49-F238E27FC236}">
                  <a16:creationId xmlns:a16="http://schemas.microsoft.com/office/drawing/2014/main" id="{C8AE19AE-6F12-8DCA-E68D-3506C9522012}"/>
                </a:ext>
              </a:extLst>
            </p:cNvPr>
            <p:cNvSpPr/>
            <p:nvPr/>
          </p:nvSpPr>
          <p:spPr>
            <a:xfrm>
              <a:off x="9544441" y="5583836"/>
              <a:ext cx="2217250" cy="43586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1300" dirty="0">
                  <a:solidFill>
                    <a:schemeClr val="tx1"/>
                  </a:solidFill>
                  <a:latin typeface="Graphik" panose="020B0503030202060203" pitchFamily="34" charset="0"/>
                </a:rPr>
                <a:t>Team Reflections</a:t>
              </a:r>
            </a:p>
          </p:txBody>
        </p:sp>
      </p:grpSp>
    </p:spTree>
    <p:extLst>
      <p:ext uri="{BB962C8B-B14F-4D97-AF65-F5344CB8AC3E}">
        <p14:creationId xmlns:p14="http://schemas.microsoft.com/office/powerpoint/2010/main" val="297950221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E3C0FC-F04C-D9EF-9FBC-49C10537DD1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E517DAD-2CA0-DD49-3B3F-AEC26F299D2D}"/>
              </a:ext>
            </a:extLst>
          </p:cNvPr>
          <p:cNvSpPr>
            <a:spLocks noGrp="1"/>
          </p:cNvSpPr>
          <p:nvPr>
            <p:ph type="title"/>
          </p:nvPr>
        </p:nvSpPr>
        <p:spPr/>
        <p:txBody>
          <a:bodyPr/>
          <a:lstStyle/>
          <a:p>
            <a:r>
              <a:rPr lang="en-US" dirty="0"/>
              <a:t>The Future of Agent Adoption</a:t>
            </a:r>
          </a:p>
        </p:txBody>
      </p:sp>
      <p:sp>
        <p:nvSpPr>
          <p:cNvPr id="3" name="Text Placeholder 2">
            <a:extLst>
              <a:ext uri="{FF2B5EF4-FFF2-40B4-BE49-F238E27FC236}">
                <a16:creationId xmlns:a16="http://schemas.microsoft.com/office/drawing/2014/main" id="{5271C021-B733-A9A6-093A-1800808D1478}"/>
              </a:ext>
            </a:extLst>
          </p:cNvPr>
          <p:cNvSpPr>
            <a:spLocks noGrp="1"/>
          </p:cNvSpPr>
          <p:nvPr>
            <p:ph type="body" sz="quarter" idx="10"/>
          </p:nvPr>
        </p:nvSpPr>
        <p:spPr>
          <a:xfrm>
            <a:off x="318367" y="992128"/>
            <a:ext cx="4136756" cy="820687"/>
          </a:xfrm>
        </p:spPr>
        <p:txBody>
          <a:bodyPr/>
          <a:lstStyle/>
          <a:p>
            <a:pPr marL="0" indent="0">
              <a:buNone/>
            </a:pPr>
            <a:r>
              <a:rPr lang="en-US" dirty="0"/>
              <a:t>Looking at the AI Progression Framework</a:t>
            </a:r>
          </a:p>
          <a:p>
            <a:pPr lvl="1"/>
            <a:r>
              <a:rPr lang="en-US" dirty="0"/>
              <a:t>Level 5 (Future): Will anticipate problems and innovate solutions.</a:t>
            </a:r>
          </a:p>
          <a:p>
            <a:pPr lvl="1"/>
            <a:endParaRPr lang="en-US" dirty="0"/>
          </a:p>
          <a:p>
            <a:pPr lvl="1"/>
            <a:r>
              <a:rPr lang="en-US" dirty="0"/>
              <a:t>Level 4 (Emerging):	 Will handle novel problems with a learned solution</a:t>
            </a:r>
          </a:p>
          <a:p>
            <a:pPr lvl="1"/>
            <a:endParaRPr lang="en-US" dirty="0"/>
          </a:p>
          <a:p>
            <a:pPr lvl="1"/>
            <a:r>
              <a:rPr lang="en-US" dirty="0"/>
              <a:t>Level 3 (Current): Handles predefined problems with predefined solutions</a:t>
            </a:r>
            <a:br>
              <a:rPr lang="en-US" dirty="0"/>
            </a:br>
            <a:endParaRPr lang="en-US" dirty="0"/>
          </a:p>
        </p:txBody>
      </p:sp>
      <p:grpSp>
        <p:nvGrpSpPr>
          <p:cNvPr id="52" name="Group 51">
            <a:extLst>
              <a:ext uri="{FF2B5EF4-FFF2-40B4-BE49-F238E27FC236}">
                <a16:creationId xmlns:a16="http://schemas.microsoft.com/office/drawing/2014/main" id="{BC7D1B7F-B6BD-D210-74A5-BAE8B97C8F2D}"/>
              </a:ext>
            </a:extLst>
          </p:cNvPr>
          <p:cNvGrpSpPr/>
          <p:nvPr/>
        </p:nvGrpSpPr>
        <p:grpSpPr>
          <a:xfrm>
            <a:off x="5113122" y="1313161"/>
            <a:ext cx="6051045" cy="5002178"/>
            <a:chOff x="2725286" y="1158884"/>
            <a:chExt cx="7027554" cy="5192950"/>
          </a:xfrm>
        </p:grpSpPr>
        <p:sp>
          <p:nvSpPr>
            <p:cNvPr id="21" name="Freeform: Shape 12">
              <a:extLst>
                <a:ext uri="{FF2B5EF4-FFF2-40B4-BE49-F238E27FC236}">
                  <a16:creationId xmlns:a16="http://schemas.microsoft.com/office/drawing/2014/main" id="{43F7D3E1-596D-CF74-FD7B-978CBF5C896F}"/>
                </a:ext>
              </a:extLst>
            </p:cNvPr>
            <p:cNvSpPr/>
            <p:nvPr/>
          </p:nvSpPr>
          <p:spPr>
            <a:xfrm rot="10800000">
              <a:off x="3241946" y="4129119"/>
              <a:ext cx="5708108" cy="1993552"/>
            </a:xfrm>
            <a:custGeom>
              <a:avLst/>
              <a:gdLst>
                <a:gd name="connsiteX0" fmla="*/ 3370714 w 6741428"/>
                <a:gd name="connsiteY0" fmla="*/ 2214532 h 2214532"/>
                <a:gd name="connsiteX1" fmla="*/ 536431 w 6741428"/>
                <a:gd name="connsiteY1" fmla="*/ 1507638 h 2214532"/>
                <a:gd name="connsiteX2" fmla="*/ 775396 w 6741428"/>
                <a:gd name="connsiteY2" fmla="*/ 1449988 h 2214532"/>
                <a:gd name="connsiteX3" fmla="*/ 767642 w 6741428"/>
                <a:gd name="connsiteY3" fmla="*/ 1445508 h 2214532"/>
                <a:gd name="connsiteX4" fmla="*/ 516660 w 6741428"/>
                <a:gd name="connsiteY4" fmla="*/ 1506057 h 2214532"/>
                <a:gd name="connsiteX5" fmla="*/ 0 w 6741428"/>
                <a:gd name="connsiteY5" fmla="*/ 840685 h 2214532"/>
                <a:gd name="connsiteX6" fmla="*/ 3370714 w 6741428"/>
                <a:gd name="connsiteY6" fmla="*/ 0 h 2214532"/>
                <a:gd name="connsiteX7" fmla="*/ 6741428 w 6741428"/>
                <a:gd name="connsiteY7" fmla="*/ 840685 h 2214532"/>
                <a:gd name="connsiteX8" fmla="*/ 6224768 w 6741428"/>
                <a:gd name="connsiteY8" fmla="*/ 1506057 h 2214532"/>
                <a:gd name="connsiteX9" fmla="*/ 5975996 w 6741428"/>
                <a:gd name="connsiteY9" fmla="*/ 1446041 h 2214532"/>
                <a:gd name="connsiteX10" fmla="*/ 5967981 w 6741428"/>
                <a:gd name="connsiteY10" fmla="*/ 1450458 h 2214532"/>
                <a:gd name="connsiteX11" fmla="*/ 6204997 w 6741428"/>
                <a:gd name="connsiteY11" fmla="*/ 1507638 h 2214532"/>
                <a:gd name="connsiteX0" fmla="*/ 3370714 w 6741428"/>
                <a:gd name="connsiteY0" fmla="*/ 2214532 h 2214532"/>
                <a:gd name="connsiteX1" fmla="*/ 536431 w 6741428"/>
                <a:gd name="connsiteY1" fmla="*/ 1507638 h 2214532"/>
                <a:gd name="connsiteX2" fmla="*/ 775396 w 6741428"/>
                <a:gd name="connsiteY2" fmla="*/ 1449988 h 2214532"/>
                <a:gd name="connsiteX3" fmla="*/ 767642 w 6741428"/>
                <a:gd name="connsiteY3" fmla="*/ 1445508 h 2214532"/>
                <a:gd name="connsiteX4" fmla="*/ 516660 w 6741428"/>
                <a:gd name="connsiteY4" fmla="*/ 1506057 h 2214532"/>
                <a:gd name="connsiteX5" fmla="*/ 0 w 6741428"/>
                <a:gd name="connsiteY5" fmla="*/ 840685 h 2214532"/>
                <a:gd name="connsiteX6" fmla="*/ 3370714 w 6741428"/>
                <a:gd name="connsiteY6" fmla="*/ 0 h 2214532"/>
                <a:gd name="connsiteX7" fmla="*/ 6741428 w 6741428"/>
                <a:gd name="connsiteY7" fmla="*/ 840685 h 2214532"/>
                <a:gd name="connsiteX8" fmla="*/ 6224768 w 6741428"/>
                <a:gd name="connsiteY8" fmla="*/ 1506057 h 2214532"/>
                <a:gd name="connsiteX9" fmla="*/ 5975996 w 6741428"/>
                <a:gd name="connsiteY9" fmla="*/ 1446041 h 2214532"/>
                <a:gd name="connsiteX10" fmla="*/ 6204997 w 6741428"/>
                <a:gd name="connsiteY10" fmla="*/ 1507638 h 2214532"/>
                <a:gd name="connsiteX11" fmla="*/ 3370714 w 6741428"/>
                <a:gd name="connsiteY11" fmla="*/ 2214532 h 2214532"/>
                <a:gd name="connsiteX0" fmla="*/ 3370714 w 6741428"/>
                <a:gd name="connsiteY0" fmla="*/ 2214532 h 2214532"/>
                <a:gd name="connsiteX1" fmla="*/ 536431 w 6741428"/>
                <a:gd name="connsiteY1" fmla="*/ 1507638 h 2214532"/>
                <a:gd name="connsiteX2" fmla="*/ 775396 w 6741428"/>
                <a:gd name="connsiteY2" fmla="*/ 1449988 h 2214532"/>
                <a:gd name="connsiteX3" fmla="*/ 767642 w 6741428"/>
                <a:gd name="connsiteY3" fmla="*/ 1445508 h 2214532"/>
                <a:gd name="connsiteX4" fmla="*/ 516660 w 6741428"/>
                <a:gd name="connsiteY4" fmla="*/ 1506057 h 2214532"/>
                <a:gd name="connsiteX5" fmla="*/ 0 w 6741428"/>
                <a:gd name="connsiteY5" fmla="*/ 840685 h 2214532"/>
                <a:gd name="connsiteX6" fmla="*/ 3370714 w 6741428"/>
                <a:gd name="connsiteY6" fmla="*/ 0 h 2214532"/>
                <a:gd name="connsiteX7" fmla="*/ 6741428 w 6741428"/>
                <a:gd name="connsiteY7" fmla="*/ 840685 h 2214532"/>
                <a:gd name="connsiteX8" fmla="*/ 6224768 w 6741428"/>
                <a:gd name="connsiteY8" fmla="*/ 1506057 h 2214532"/>
                <a:gd name="connsiteX9" fmla="*/ 6204997 w 6741428"/>
                <a:gd name="connsiteY9" fmla="*/ 1507638 h 2214532"/>
                <a:gd name="connsiteX10" fmla="*/ 3370714 w 6741428"/>
                <a:gd name="connsiteY10" fmla="*/ 2214532 h 2214532"/>
                <a:gd name="connsiteX0" fmla="*/ 3370714 w 6741428"/>
                <a:gd name="connsiteY0" fmla="*/ 2214532 h 2214532"/>
                <a:gd name="connsiteX1" fmla="*/ 536431 w 6741428"/>
                <a:gd name="connsiteY1" fmla="*/ 1507638 h 2214532"/>
                <a:gd name="connsiteX2" fmla="*/ 775396 w 6741428"/>
                <a:gd name="connsiteY2" fmla="*/ 1449988 h 2214532"/>
                <a:gd name="connsiteX3" fmla="*/ 516660 w 6741428"/>
                <a:gd name="connsiteY3" fmla="*/ 1506057 h 2214532"/>
                <a:gd name="connsiteX4" fmla="*/ 0 w 6741428"/>
                <a:gd name="connsiteY4" fmla="*/ 840685 h 2214532"/>
                <a:gd name="connsiteX5" fmla="*/ 3370714 w 6741428"/>
                <a:gd name="connsiteY5" fmla="*/ 0 h 2214532"/>
                <a:gd name="connsiteX6" fmla="*/ 6741428 w 6741428"/>
                <a:gd name="connsiteY6" fmla="*/ 840685 h 2214532"/>
                <a:gd name="connsiteX7" fmla="*/ 6224768 w 6741428"/>
                <a:gd name="connsiteY7" fmla="*/ 1506057 h 2214532"/>
                <a:gd name="connsiteX8" fmla="*/ 6204997 w 6741428"/>
                <a:gd name="connsiteY8" fmla="*/ 1507638 h 2214532"/>
                <a:gd name="connsiteX9" fmla="*/ 3370714 w 6741428"/>
                <a:gd name="connsiteY9" fmla="*/ 2214532 h 2214532"/>
                <a:gd name="connsiteX0" fmla="*/ 3370714 w 6741428"/>
                <a:gd name="connsiteY0" fmla="*/ 2214532 h 2214532"/>
                <a:gd name="connsiteX1" fmla="*/ 536431 w 6741428"/>
                <a:gd name="connsiteY1" fmla="*/ 1507638 h 2214532"/>
                <a:gd name="connsiteX2" fmla="*/ 516660 w 6741428"/>
                <a:gd name="connsiteY2" fmla="*/ 1506057 h 2214532"/>
                <a:gd name="connsiteX3" fmla="*/ 0 w 6741428"/>
                <a:gd name="connsiteY3" fmla="*/ 840685 h 2214532"/>
                <a:gd name="connsiteX4" fmla="*/ 3370714 w 6741428"/>
                <a:gd name="connsiteY4" fmla="*/ 0 h 2214532"/>
                <a:gd name="connsiteX5" fmla="*/ 6741428 w 6741428"/>
                <a:gd name="connsiteY5" fmla="*/ 840685 h 2214532"/>
                <a:gd name="connsiteX6" fmla="*/ 6224768 w 6741428"/>
                <a:gd name="connsiteY6" fmla="*/ 1506057 h 2214532"/>
                <a:gd name="connsiteX7" fmla="*/ 6204997 w 6741428"/>
                <a:gd name="connsiteY7" fmla="*/ 1507638 h 2214532"/>
                <a:gd name="connsiteX8" fmla="*/ 3370714 w 6741428"/>
                <a:gd name="connsiteY8" fmla="*/ 2214532 h 2214532"/>
                <a:gd name="connsiteX0" fmla="*/ 3370714 w 6741428"/>
                <a:gd name="connsiteY0" fmla="*/ 2214532 h 2214532"/>
                <a:gd name="connsiteX1" fmla="*/ 536431 w 6741428"/>
                <a:gd name="connsiteY1" fmla="*/ 1507638 h 2214532"/>
                <a:gd name="connsiteX2" fmla="*/ 516660 w 6741428"/>
                <a:gd name="connsiteY2" fmla="*/ 1506057 h 2214532"/>
                <a:gd name="connsiteX3" fmla="*/ 0 w 6741428"/>
                <a:gd name="connsiteY3" fmla="*/ 840685 h 2214532"/>
                <a:gd name="connsiteX4" fmla="*/ 3370714 w 6741428"/>
                <a:gd name="connsiteY4" fmla="*/ 0 h 2214532"/>
                <a:gd name="connsiteX5" fmla="*/ 6741428 w 6741428"/>
                <a:gd name="connsiteY5" fmla="*/ 840685 h 2214532"/>
                <a:gd name="connsiteX6" fmla="*/ 6224768 w 6741428"/>
                <a:gd name="connsiteY6" fmla="*/ 1506057 h 2214532"/>
                <a:gd name="connsiteX7" fmla="*/ 3370714 w 6741428"/>
                <a:gd name="connsiteY7" fmla="*/ 2214532 h 2214532"/>
                <a:gd name="connsiteX0" fmla="*/ 3370714 w 6741428"/>
                <a:gd name="connsiteY0" fmla="*/ 2214532 h 2214532"/>
                <a:gd name="connsiteX1" fmla="*/ 516660 w 6741428"/>
                <a:gd name="connsiteY1" fmla="*/ 1506057 h 2214532"/>
                <a:gd name="connsiteX2" fmla="*/ 0 w 6741428"/>
                <a:gd name="connsiteY2" fmla="*/ 840685 h 2214532"/>
                <a:gd name="connsiteX3" fmla="*/ 3370714 w 6741428"/>
                <a:gd name="connsiteY3" fmla="*/ 0 h 2214532"/>
                <a:gd name="connsiteX4" fmla="*/ 6741428 w 6741428"/>
                <a:gd name="connsiteY4" fmla="*/ 840685 h 2214532"/>
                <a:gd name="connsiteX5" fmla="*/ 6224768 w 6741428"/>
                <a:gd name="connsiteY5" fmla="*/ 1506057 h 2214532"/>
                <a:gd name="connsiteX6" fmla="*/ 3370714 w 6741428"/>
                <a:gd name="connsiteY6" fmla="*/ 2214532 h 2214532"/>
                <a:gd name="connsiteX0" fmla="*/ 3370714 w 6224768"/>
                <a:gd name="connsiteY0" fmla="*/ 2214532 h 2214532"/>
                <a:gd name="connsiteX1" fmla="*/ 516660 w 6224768"/>
                <a:gd name="connsiteY1" fmla="*/ 1506057 h 2214532"/>
                <a:gd name="connsiteX2" fmla="*/ 0 w 6224768"/>
                <a:gd name="connsiteY2" fmla="*/ 840685 h 2214532"/>
                <a:gd name="connsiteX3" fmla="*/ 3370714 w 6224768"/>
                <a:gd name="connsiteY3" fmla="*/ 0 h 2214532"/>
                <a:gd name="connsiteX4" fmla="*/ 6224768 w 6224768"/>
                <a:gd name="connsiteY4" fmla="*/ 1506057 h 2214532"/>
                <a:gd name="connsiteX5" fmla="*/ 3370714 w 6224768"/>
                <a:gd name="connsiteY5" fmla="*/ 2214532 h 2214532"/>
                <a:gd name="connsiteX0" fmla="*/ 3370714 w 6224768"/>
                <a:gd name="connsiteY0" fmla="*/ 1993552 h 1993552"/>
                <a:gd name="connsiteX1" fmla="*/ 516660 w 6224768"/>
                <a:gd name="connsiteY1" fmla="*/ 1285077 h 1993552"/>
                <a:gd name="connsiteX2" fmla="*/ 0 w 6224768"/>
                <a:gd name="connsiteY2" fmla="*/ 619705 h 1993552"/>
                <a:gd name="connsiteX3" fmla="*/ 3385954 w 6224768"/>
                <a:gd name="connsiteY3" fmla="*/ 0 h 1993552"/>
                <a:gd name="connsiteX4" fmla="*/ 6224768 w 6224768"/>
                <a:gd name="connsiteY4" fmla="*/ 1285077 h 1993552"/>
                <a:gd name="connsiteX5" fmla="*/ 3370714 w 6224768"/>
                <a:gd name="connsiteY5" fmla="*/ 1993552 h 1993552"/>
                <a:gd name="connsiteX0" fmla="*/ 2854054 w 5708108"/>
                <a:gd name="connsiteY0" fmla="*/ 1993552 h 1993552"/>
                <a:gd name="connsiteX1" fmla="*/ 0 w 5708108"/>
                <a:gd name="connsiteY1" fmla="*/ 1285077 h 1993552"/>
                <a:gd name="connsiteX2" fmla="*/ 2869294 w 5708108"/>
                <a:gd name="connsiteY2" fmla="*/ 0 h 1993552"/>
                <a:gd name="connsiteX3" fmla="*/ 5708108 w 5708108"/>
                <a:gd name="connsiteY3" fmla="*/ 1285077 h 1993552"/>
                <a:gd name="connsiteX4" fmla="*/ 2854054 w 5708108"/>
                <a:gd name="connsiteY4" fmla="*/ 1993552 h 1993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8108" h="1993552">
                  <a:moveTo>
                    <a:pt x="2854054" y="1993552"/>
                  </a:moveTo>
                  <a:lnTo>
                    <a:pt x="0" y="1285077"/>
                  </a:lnTo>
                  <a:lnTo>
                    <a:pt x="2869294" y="0"/>
                  </a:lnTo>
                  <a:lnTo>
                    <a:pt x="5708108" y="1285077"/>
                  </a:lnTo>
                  <a:lnTo>
                    <a:pt x="2854054" y="1993552"/>
                  </a:lnTo>
                  <a:close/>
                </a:path>
              </a:pathLst>
            </a:custGeom>
            <a:solidFill>
              <a:schemeClr val="accent2">
                <a:lumMod val="50000"/>
                <a:alpha val="2001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Freeform: Shape 13">
              <a:extLst>
                <a:ext uri="{FF2B5EF4-FFF2-40B4-BE49-F238E27FC236}">
                  <a16:creationId xmlns:a16="http://schemas.microsoft.com/office/drawing/2014/main" id="{44EEFC90-E579-52C9-EEFA-53D34662733A}"/>
                </a:ext>
              </a:extLst>
            </p:cNvPr>
            <p:cNvSpPr/>
            <p:nvPr/>
          </p:nvSpPr>
          <p:spPr>
            <a:xfrm rot="10800000">
              <a:off x="3955376" y="3383280"/>
              <a:ext cx="4281246" cy="1654535"/>
            </a:xfrm>
            <a:custGeom>
              <a:avLst/>
              <a:gdLst>
                <a:gd name="connsiteX0" fmla="*/ 2677196 w 5354392"/>
                <a:gd name="connsiteY0" fmla="*/ 1857735 h 1857735"/>
                <a:gd name="connsiteX1" fmla="*/ 561976 w 5354392"/>
                <a:gd name="connsiteY1" fmla="*/ 1330181 h 1857735"/>
                <a:gd name="connsiteX2" fmla="*/ 811207 w 5354392"/>
                <a:gd name="connsiteY2" fmla="*/ 1271422 h 1857735"/>
                <a:gd name="connsiteX3" fmla="*/ 799257 w 5354392"/>
                <a:gd name="connsiteY3" fmla="*/ 1260269 h 1857735"/>
                <a:gd name="connsiteX4" fmla="*/ 536573 w 5354392"/>
                <a:gd name="connsiteY4" fmla="*/ 1322200 h 1857735"/>
                <a:gd name="connsiteX5" fmla="*/ 0 w 5354392"/>
                <a:gd name="connsiteY5" fmla="*/ 631185 h 1857735"/>
                <a:gd name="connsiteX6" fmla="*/ 2677196 w 5354392"/>
                <a:gd name="connsiteY6" fmla="*/ 0 h 1857735"/>
                <a:gd name="connsiteX7" fmla="*/ 5354392 w 5354392"/>
                <a:gd name="connsiteY7" fmla="*/ 631185 h 1857735"/>
                <a:gd name="connsiteX8" fmla="*/ 4817819 w 5354392"/>
                <a:gd name="connsiteY8" fmla="*/ 1322200 h 1857735"/>
                <a:gd name="connsiteX9" fmla="*/ 4504339 w 5354392"/>
                <a:gd name="connsiteY9" fmla="*/ 1248293 h 1857735"/>
                <a:gd name="connsiteX10" fmla="*/ 4486713 w 5354392"/>
                <a:gd name="connsiteY10" fmla="*/ 1258108 h 1857735"/>
                <a:gd name="connsiteX11" fmla="*/ 4792416 w 5354392"/>
                <a:gd name="connsiteY11" fmla="*/ 1330181 h 1857735"/>
                <a:gd name="connsiteX0" fmla="*/ 2677196 w 5354392"/>
                <a:gd name="connsiteY0" fmla="*/ 1857735 h 1857735"/>
                <a:gd name="connsiteX1" fmla="*/ 561976 w 5354392"/>
                <a:gd name="connsiteY1" fmla="*/ 1330181 h 1857735"/>
                <a:gd name="connsiteX2" fmla="*/ 811207 w 5354392"/>
                <a:gd name="connsiteY2" fmla="*/ 1271422 h 1857735"/>
                <a:gd name="connsiteX3" fmla="*/ 799257 w 5354392"/>
                <a:gd name="connsiteY3" fmla="*/ 1260269 h 1857735"/>
                <a:gd name="connsiteX4" fmla="*/ 536573 w 5354392"/>
                <a:gd name="connsiteY4" fmla="*/ 1322200 h 1857735"/>
                <a:gd name="connsiteX5" fmla="*/ 0 w 5354392"/>
                <a:gd name="connsiteY5" fmla="*/ 631185 h 1857735"/>
                <a:gd name="connsiteX6" fmla="*/ 2677196 w 5354392"/>
                <a:gd name="connsiteY6" fmla="*/ 0 h 1857735"/>
                <a:gd name="connsiteX7" fmla="*/ 5354392 w 5354392"/>
                <a:gd name="connsiteY7" fmla="*/ 631185 h 1857735"/>
                <a:gd name="connsiteX8" fmla="*/ 4817819 w 5354392"/>
                <a:gd name="connsiteY8" fmla="*/ 1322200 h 1857735"/>
                <a:gd name="connsiteX9" fmla="*/ 4504339 w 5354392"/>
                <a:gd name="connsiteY9" fmla="*/ 1248293 h 1857735"/>
                <a:gd name="connsiteX10" fmla="*/ 4792416 w 5354392"/>
                <a:gd name="connsiteY10" fmla="*/ 1330181 h 1857735"/>
                <a:gd name="connsiteX11" fmla="*/ 2677196 w 5354392"/>
                <a:gd name="connsiteY11" fmla="*/ 1857735 h 1857735"/>
                <a:gd name="connsiteX0" fmla="*/ 2677196 w 5354392"/>
                <a:gd name="connsiteY0" fmla="*/ 1857735 h 1857735"/>
                <a:gd name="connsiteX1" fmla="*/ 561976 w 5354392"/>
                <a:gd name="connsiteY1" fmla="*/ 1330181 h 1857735"/>
                <a:gd name="connsiteX2" fmla="*/ 811207 w 5354392"/>
                <a:gd name="connsiteY2" fmla="*/ 1271422 h 1857735"/>
                <a:gd name="connsiteX3" fmla="*/ 799257 w 5354392"/>
                <a:gd name="connsiteY3" fmla="*/ 1260269 h 1857735"/>
                <a:gd name="connsiteX4" fmla="*/ 536573 w 5354392"/>
                <a:gd name="connsiteY4" fmla="*/ 1322200 h 1857735"/>
                <a:gd name="connsiteX5" fmla="*/ 0 w 5354392"/>
                <a:gd name="connsiteY5" fmla="*/ 631185 h 1857735"/>
                <a:gd name="connsiteX6" fmla="*/ 2677196 w 5354392"/>
                <a:gd name="connsiteY6" fmla="*/ 0 h 1857735"/>
                <a:gd name="connsiteX7" fmla="*/ 5354392 w 5354392"/>
                <a:gd name="connsiteY7" fmla="*/ 631185 h 1857735"/>
                <a:gd name="connsiteX8" fmla="*/ 4817819 w 5354392"/>
                <a:gd name="connsiteY8" fmla="*/ 1322200 h 1857735"/>
                <a:gd name="connsiteX9" fmla="*/ 4792416 w 5354392"/>
                <a:gd name="connsiteY9" fmla="*/ 1330181 h 1857735"/>
                <a:gd name="connsiteX10" fmla="*/ 2677196 w 5354392"/>
                <a:gd name="connsiteY10" fmla="*/ 1857735 h 1857735"/>
                <a:gd name="connsiteX0" fmla="*/ 2677196 w 5354392"/>
                <a:gd name="connsiteY0" fmla="*/ 1857735 h 1857735"/>
                <a:gd name="connsiteX1" fmla="*/ 561976 w 5354392"/>
                <a:gd name="connsiteY1" fmla="*/ 1330181 h 1857735"/>
                <a:gd name="connsiteX2" fmla="*/ 811207 w 5354392"/>
                <a:gd name="connsiteY2" fmla="*/ 1271422 h 1857735"/>
                <a:gd name="connsiteX3" fmla="*/ 799257 w 5354392"/>
                <a:gd name="connsiteY3" fmla="*/ 1260269 h 1857735"/>
                <a:gd name="connsiteX4" fmla="*/ 536573 w 5354392"/>
                <a:gd name="connsiteY4" fmla="*/ 1322200 h 1857735"/>
                <a:gd name="connsiteX5" fmla="*/ 0 w 5354392"/>
                <a:gd name="connsiteY5" fmla="*/ 631185 h 1857735"/>
                <a:gd name="connsiteX6" fmla="*/ 2677196 w 5354392"/>
                <a:gd name="connsiteY6" fmla="*/ 0 h 1857735"/>
                <a:gd name="connsiteX7" fmla="*/ 5354392 w 5354392"/>
                <a:gd name="connsiteY7" fmla="*/ 631185 h 1857735"/>
                <a:gd name="connsiteX8" fmla="*/ 4817819 w 5354392"/>
                <a:gd name="connsiteY8" fmla="*/ 1322200 h 1857735"/>
                <a:gd name="connsiteX9" fmla="*/ 2677196 w 5354392"/>
                <a:gd name="connsiteY9" fmla="*/ 1857735 h 1857735"/>
                <a:gd name="connsiteX0" fmla="*/ 2677196 w 5354392"/>
                <a:gd name="connsiteY0" fmla="*/ 1857735 h 1857735"/>
                <a:gd name="connsiteX1" fmla="*/ 561976 w 5354392"/>
                <a:gd name="connsiteY1" fmla="*/ 1330181 h 1857735"/>
                <a:gd name="connsiteX2" fmla="*/ 811207 w 5354392"/>
                <a:gd name="connsiteY2" fmla="*/ 1271422 h 1857735"/>
                <a:gd name="connsiteX3" fmla="*/ 536573 w 5354392"/>
                <a:gd name="connsiteY3" fmla="*/ 1322200 h 1857735"/>
                <a:gd name="connsiteX4" fmla="*/ 0 w 5354392"/>
                <a:gd name="connsiteY4" fmla="*/ 631185 h 1857735"/>
                <a:gd name="connsiteX5" fmla="*/ 2677196 w 5354392"/>
                <a:gd name="connsiteY5" fmla="*/ 0 h 1857735"/>
                <a:gd name="connsiteX6" fmla="*/ 5354392 w 5354392"/>
                <a:gd name="connsiteY6" fmla="*/ 631185 h 1857735"/>
                <a:gd name="connsiteX7" fmla="*/ 4817819 w 5354392"/>
                <a:gd name="connsiteY7" fmla="*/ 1322200 h 1857735"/>
                <a:gd name="connsiteX8" fmla="*/ 2677196 w 5354392"/>
                <a:gd name="connsiteY8" fmla="*/ 1857735 h 1857735"/>
                <a:gd name="connsiteX0" fmla="*/ 2677196 w 5354392"/>
                <a:gd name="connsiteY0" fmla="*/ 1857735 h 1857735"/>
                <a:gd name="connsiteX1" fmla="*/ 561976 w 5354392"/>
                <a:gd name="connsiteY1" fmla="*/ 1330181 h 1857735"/>
                <a:gd name="connsiteX2" fmla="*/ 536573 w 5354392"/>
                <a:gd name="connsiteY2" fmla="*/ 1322200 h 1857735"/>
                <a:gd name="connsiteX3" fmla="*/ 0 w 5354392"/>
                <a:gd name="connsiteY3" fmla="*/ 631185 h 1857735"/>
                <a:gd name="connsiteX4" fmla="*/ 2677196 w 5354392"/>
                <a:gd name="connsiteY4" fmla="*/ 0 h 1857735"/>
                <a:gd name="connsiteX5" fmla="*/ 5354392 w 5354392"/>
                <a:gd name="connsiteY5" fmla="*/ 631185 h 1857735"/>
                <a:gd name="connsiteX6" fmla="*/ 4817819 w 5354392"/>
                <a:gd name="connsiteY6" fmla="*/ 1322200 h 1857735"/>
                <a:gd name="connsiteX7" fmla="*/ 2677196 w 5354392"/>
                <a:gd name="connsiteY7" fmla="*/ 1857735 h 1857735"/>
                <a:gd name="connsiteX0" fmla="*/ 2677196 w 5354392"/>
                <a:gd name="connsiteY0" fmla="*/ 1857735 h 1857735"/>
                <a:gd name="connsiteX1" fmla="*/ 536573 w 5354392"/>
                <a:gd name="connsiteY1" fmla="*/ 1322200 h 1857735"/>
                <a:gd name="connsiteX2" fmla="*/ 0 w 5354392"/>
                <a:gd name="connsiteY2" fmla="*/ 631185 h 1857735"/>
                <a:gd name="connsiteX3" fmla="*/ 2677196 w 5354392"/>
                <a:gd name="connsiteY3" fmla="*/ 0 h 1857735"/>
                <a:gd name="connsiteX4" fmla="*/ 5354392 w 5354392"/>
                <a:gd name="connsiteY4" fmla="*/ 631185 h 1857735"/>
                <a:gd name="connsiteX5" fmla="*/ 4817819 w 5354392"/>
                <a:gd name="connsiteY5" fmla="*/ 1322200 h 1857735"/>
                <a:gd name="connsiteX6" fmla="*/ 2677196 w 5354392"/>
                <a:gd name="connsiteY6" fmla="*/ 1857735 h 1857735"/>
                <a:gd name="connsiteX0" fmla="*/ 2677196 w 4817819"/>
                <a:gd name="connsiteY0" fmla="*/ 1857735 h 1857735"/>
                <a:gd name="connsiteX1" fmla="*/ 536573 w 4817819"/>
                <a:gd name="connsiteY1" fmla="*/ 1322200 h 1857735"/>
                <a:gd name="connsiteX2" fmla="*/ 0 w 4817819"/>
                <a:gd name="connsiteY2" fmla="*/ 631185 h 1857735"/>
                <a:gd name="connsiteX3" fmla="*/ 2677196 w 4817819"/>
                <a:gd name="connsiteY3" fmla="*/ 0 h 1857735"/>
                <a:gd name="connsiteX4" fmla="*/ 4817819 w 4817819"/>
                <a:gd name="connsiteY4" fmla="*/ 1322200 h 1857735"/>
                <a:gd name="connsiteX5" fmla="*/ 2677196 w 4817819"/>
                <a:gd name="connsiteY5" fmla="*/ 1857735 h 1857735"/>
                <a:gd name="connsiteX0" fmla="*/ 2140623 w 4281246"/>
                <a:gd name="connsiteY0" fmla="*/ 1857735 h 1857735"/>
                <a:gd name="connsiteX1" fmla="*/ 0 w 4281246"/>
                <a:gd name="connsiteY1" fmla="*/ 1322200 h 1857735"/>
                <a:gd name="connsiteX2" fmla="*/ 2140623 w 4281246"/>
                <a:gd name="connsiteY2" fmla="*/ 0 h 1857735"/>
                <a:gd name="connsiteX3" fmla="*/ 4281246 w 4281246"/>
                <a:gd name="connsiteY3" fmla="*/ 1322200 h 1857735"/>
                <a:gd name="connsiteX4" fmla="*/ 2140623 w 4281246"/>
                <a:gd name="connsiteY4" fmla="*/ 1857735 h 1857735"/>
                <a:gd name="connsiteX0" fmla="*/ 2140623 w 4281246"/>
                <a:gd name="connsiteY0" fmla="*/ 1654535 h 1654535"/>
                <a:gd name="connsiteX1" fmla="*/ 0 w 4281246"/>
                <a:gd name="connsiteY1" fmla="*/ 1119000 h 1654535"/>
                <a:gd name="connsiteX2" fmla="*/ 2108873 w 4281246"/>
                <a:gd name="connsiteY2" fmla="*/ 0 h 1654535"/>
                <a:gd name="connsiteX3" fmla="*/ 4281246 w 4281246"/>
                <a:gd name="connsiteY3" fmla="*/ 1119000 h 1654535"/>
                <a:gd name="connsiteX4" fmla="*/ 2140623 w 4281246"/>
                <a:gd name="connsiteY4" fmla="*/ 1654535 h 165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246" h="1654535">
                  <a:moveTo>
                    <a:pt x="2140623" y="1654535"/>
                  </a:moveTo>
                  <a:lnTo>
                    <a:pt x="0" y="1119000"/>
                  </a:lnTo>
                  <a:lnTo>
                    <a:pt x="2108873" y="0"/>
                  </a:lnTo>
                  <a:lnTo>
                    <a:pt x="4281246" y="1119000"/>
                  </a:lnTo>
                  <a:lnTo>
                    <a:pt x="2140623" y="1654535"/>
                  </a:lnTo>
                  <a:close/>
                </a:path>
              </a:pathLst>
            </a:custGeom>
            <a:solidFill>
              <a:schemeClr val="accent4">
                <a:lumMod val="50000"/>
                <a:alpha val="2001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Freeform: Shape 14">
              <a:extLst>
                <a:ext uri="{FF2B5EF4-FFF2-40B4-BE49-F238E27FC236}">
                  <a16:creationId xmlns:a16="http://schemas.microsoft.com/office/drawing/2014/main" id="{185C273A-9AB4-53B0-7D18-652104C06E7B}"/>
                </a:ext>
              </a:extLst>
            </p:cNvPr>
            <p:cNvSpPr/>
            <p:nvPr/>
          </p:nvSpPr>
          <p:spPr>
            <a:xfrm rot="10800000">
              <a:off x="4664391" y="2643865"/>
              <a:ext cx="2856898" cy="1287648"/>
            </a:xfrm>
            <a:custGeom>
              <a:avLst/>
              <a:gdLst>
                <a:gd name="connsiteX0" fmla="*/ 1951263 w 3902523"/>
                <a:gd name="connsiteY0" fmla="*/ 1516248 h 1516248"/>
                <a:gd name="connsiteX1" fmla="*/ 525976 w 3902523"/>
                <a:gd name="connsiteY1" fmla="*/ 1160769 h 1516248"/>
                <a:gd name="connsiteX2" fmla="*/ 724017 w 3902523"/>
                <a:gd name="connsiteY2" fmla="*/ 1114983 h 1516248"/>
                <a:gd name="connsiteX3" fmla="*/ 718983 w 3902523"/>
                <a:gd name="connsiteY3" fmla="*/ 1109797 h 1516248"/>
                <a:gd name="connsiteX4" fmla="*/ 519650 w 3902523"/>
                <a:gd name="connsiteY4" fmla="*/ 1155882 h 1516248"/>
                <a:gd name="connsiteX5" fmla="*/ 0 w 3902523"/>
                <a:gd name="connsiteY5" fmla="*/ 486661 h 1516248"/>
                <a:gd name="connsiteX6" fmla="*/ 1951262 w 3902523"/>
                <a:gd name="connsiteY6" fmla="*/ 0 h 1516248"/>
                <a:gd name="connsiteX7" fmla="*/ 3902523 w 3902523"/>
                <a:gd name="connsiteY7" fmla="*/ 486661 h 1516248"/>
                <a:gd name="connsiteX8" fmla="*/ 3382874 w 3902523"/>
                <a:gd name="connsiteY8" fmla="*/ 1155882 h 1516248"/>
                <a:gd name="connsiteX9" fmla="*/ 3184027 w 3902523"/>
                <a:gd name="connsiteY9" fmla="*/ 1109910 h 1516248"/>
                <a:gd name="connsiteX10" fmla="*/ 3175851 w 3902523"/>
                <a:gd name="connsiteY10" fmla="*/ 1114370 h 1516248"/>
                <a:gd name="connsiteX11" fmla="*/ 3376548 w 3902523"/>
                <a:gd name="connsiteY11" fmla="*/ 1160770 h 1516248"/>
                <a:gd name="connsiteX0" fmla="*/ 1951263 w 3902523"/>
                <a:gd name="connsiteY0" fmla="*/ 1516248 h 1516248"/>
                <a:gd name="connsiteX1" fmla="*/ 525976 w 3902523"/>
                <a:gd name="connsiteY1" fmla="*/ 1160769 h 1516248"/>
                <a:gd name="connsiteX2" fmla="*/ 724017 w 3902523"/>
                <a:gd name="connsiteY2" fmla="*/ 1114983 h 1516248"/>
                <a:gd name="connsiteX3" fmla="*/ 718983 w 3902523"/>
                <a:gd name="connsiteY3" fmla="*/ 1109797 h 1516248"/>
                <a:gd name="connsiteX4" fmla="*/ 519650 w 3902523"/>
                <a:gd name="connsiteY4" fmla="*/ 1155882 h 1516248"/>
                <a:gd name="connsiteX5" fmla="*/ 0 w 3902523"/>
                <a:gd name="connsiteY5" fmla="*/ 486661 h 1516248"/>
                <a:gd name="connsiteX6" fmla="*/ 1951262 w 3902523"/>
                <a:gd name="connsiteY6" fmla="*/ 0 h 1516248"/>
                <a:gd name="connsiteX7" fmla="*/ 3902523 w 3902523"/>
                <a:gd name="connsiteY7" fmla="*/ 486661 h 1516248"/>
                <a:gd name="connsiteX8" fmla="*/ 3382874 w 3902523"/>
                <a:gd name="connsiteY8" fmla="*/ 1155882 h 1516248"/>
                <a:gd name="connsiteX9" fmla="*/ 3184027 w 3902523"/>
                <a:gd name="connsiteY9" fmla="*/ 1109910 h 1516248"/>
                <a:gd name="connsiteX10" fmla="*/ 3376548 w 3902523"/>
                <a:gd name="connsiteY10" fmla="*/ 1160770 h 1516248"/>
                <a:gd name="connsiteX11" fmla="*/ 1951263 w 3902523"/>
                <a:gd name="connsiteY11" fmla="*/ 1516248 h 1516248"/>
                <a:gd name="connsiteX0" fmla="*/ 1951263 w 3902523"/>
                <a:gd name="connsiteY0" fmla="*/ 1516248 h 1516248"/>
                <a:gd name="connsiteX1" fmla="*/ 525976 w 3902523"/>
                <a:gd name="connsiteY1" fmla="*/ 1160769 h 1516248"/>
                <a:gd name="connsiteX2" fmla="*/ 724017 w 3902523"/>
                <a:gd name="connsiteY2" fmla="*/ 1114983 h 1516248"/>
                <a:gd name="connsiteX3" fmla="*/ 718983 w 3902523"/>
                <a:gd name="connsiteY3" fmla="*/ 1109797 h 1516248"/>
                <a:gd name="connsiteX4" fmla="*/ 519650 w 3902523"/>
                <a:gd name="connsiteY4" fmla="*/ 1155882 h 1516248"/>
                <a:gd name="connsiteX5" fmla="*/ 0 w 3902523"/>
                <a:gd name="connsiteY5" fmla="*/ 486661 h 1516248"/>
                <a:gd name="connsiteX6" fmla="*/ 1951262 w 3902523"/>
                <a:gd name="connsiteY6" fmla="*/ 0 h 1516248"/>
                <a:gd name="connsiteX7" fmla="*/ 3902523 w 3902523"/>
                <a:gd name="connsiteY7" fmla="*/ 486661 h 1516248"/>
                <a:gd name="connsiteX8" fmla="*/ 3382874 w 3902523"/>
                <a:gd name="connsiteY8" fmla="*/ 1155882 h 1516248"/>
                <a:gd name="connsiteX9" fmla="*/ 3376548 w 3902523"/>
                <a:gd name="connsiteY9" fmla="*/ 1160770 h 1516248"/>
                <a:gd name="connsiteX10" fmla="*/ 1951263 w 3902523"/>
                <a:gd name="connsiteY10" fmla="*/ 1516248 h 1516248"/>
                <a:gd name="connsiteX0" fmla="*/ 1951263 w 3902523"/>
                <a:gd name="connsiteY0" fmla="*/ 1516248 h 1516248"/>
                <a:gd name="connsiteX1" fmla="*/ 525976 w 3902523"/>
                <a:gd name="connsiteY1" fmla="*/ 1160769 h 1516248"/>
                <a:gd name="connsiteX2" fmla="*/ 724017 w 3902523"/>
                <a:gd name="connsiteY2" fmla="*/ 1114983 h 1516248"/>
                <a:gd name="connsiteX3" fmla="*/ 718983 w 3902523"/>
                <a:gd name="connsiteY3" fmla="*/ 1109797 h 1516248"/>
                <a:gd name="connsiteX4" fmla="*/ 519650 w 3902523"/>
                <a:gd name="connsiteY4" fmla="*/ 1155882 h 1516248"/>
                <a:gd name="connsiteX5" fmla="*/ 0 w 3902523"/>
                <a:gd name="connsiteY5" fmla="*/ 486661 h 1516248"/>
                <a:gd name="connsiteX6" fmla="*/ 1951262 w 3902523"/>
                <a:gd name="connsiteY6" fmla="*/ 0 h 1516248"/>
                <a:gd name="connsiteX7" fmla="*/ 3902523 w 3902523"/>
                <a:gd name="connsiteY7" fmla="*/ 486661 h 1516248"/>
                <a:gd name="connsiteX8" fmla="*/ 3382874 w 3902523"/>
                <a:gd name="connsiteY8" fmla="*/ 1155882 h 1516248"/>
                <a:gd name="connsiteX9" fmla="*/ 1951263 w 3902523"/>
                <a:gd name="connsiteY9" fmla="*/ 1516248 h 1516248"/>
                <a:gd name="connsiteX0" fmla="*/ 1951263 w 3902523"/>
                <a:gd name="connsiteY0" fmla="*/ 1516248 h 1516248"/>
                <a:gd name="connsiteX1" fmla="*/ 525976 w 3902523"/>
                <a:gd name="connsiteY1" fmla="*/ 1160769 h 1516248"/>
                <a:gd name="connsiteX2" fmla="*/ 724017 w 3902523"/>
                <a:gd name="connsiteY2" fmla="*/ 1114983 h 1516248"/>
                <a:gd name="connsiteX3" fmla="*/ 519650 w 3902523"/>
                <a:gd name="connsiteY3" fmla="*/ 1155882 h 1516248"/>
                <a:gd name="connsiteX4" fmla="*/ 0 w 3902523"/>
                <a:gd name="connsiteY4" fmla="*/ 486661 h 1516248"/>
                <a:gd name="connsiteX5" fmla="*/ 1951262 w 3902523"/>
                <a:gd name="connsiteY5" fmla="*/ 0 h 1516248"/>
                <a:gd name="connsiteX6" fmla="*/ 3902523 w 3902523"/>
                <a:gd name="connsiteY6" fmla="*/ 486661 h 1516248"/>
                <a:gd name="connsiteX7" fmla="*/ 3382874 w 3902523"/>
                <a:gd name="connsiteY7" fmla="*/ 1155882 h 1516248"/>
                <a:gd name="connsiteX8" fmla="*/ 1951263 w 3902523"/>
                <a:gd name="connsiteY8" fmla="*/ 1516248 h 1516248"/>
                <a:gd name="connsiteX0" fmla="*/ 1951263 w 3902523"/>
                <a:gd name="connsiteY0" fmla="*/ 1516248 h 1516248"/>
                <a:gd name="connsiteX1" fmla="*/ 525976 w 3902523"/>
                <a:gd name="connsiteY1" fmla="*/ 1160769 h 1516248"/>
                <a:gd name="connsiteX2" fmla="*/ 519650 w 3902523"/>
                <a:gd name="connsiteY2" fmla="*/ 1155882 h 1516248"/>
                <a:gd name="connsiteX3" fmla="*/ 0 w 3902523"/>
                <a:gd name="connsiteY3" fmla="*/ 486661 h 1516248"/>
                <a:gd name="connsiteX4" fmla="*/ 1951262 w 3902523"/>
                <a:gd name="connsiteY4" fmla="*/ 0 h 1516248"/>
                <a:gd name="connsiteX5" fmla="*/ 3902523 w 3902523"/>
                <a:gd name="connsiteY5" fmla="*/ 486661 h 1516248"/>
                <a:gd name="connsiteX6" fmla="*/ 3382874 w 3902523"/>
                <a:gd name="connsiteY6" fmla="*/ 1155882 h 1516248"/>
                <a:gd name="connsiteX7" fmla="*/ 1951263 w 3902523"/>
                <a:gd name="connsiteY7" fmla="*/ 1516248 h 1516248"/>
                <a:gd name="connsiteX0" fmla="*/ 1951263 w 3902523"/>
                <a:gd name="connsiteY0" fmla="*/ 1516248 h 1516248"/>
                <a:gd name="connsiteX1" fmla="*/ 525976 w 3902523"/>
                <a:gd name="connsiteY1" fmla="*/ 1160769 h 1516248"/>
                <a:gd name="connsiteX2" fmla="*/ 0 w 3902523"/>
                <a:gd name="connsiteY2" fmla="*/ 486661 h 1516248"/>
                <a:gd name="connsiteX3" fmla="*/ 1951262 w 3902523"/>
                <a:gd name="connsiteY3" fmla="*/ 0 h 1516248"/>
                <a:gd name="connsiteX4" fmla="*/ 3902523 w 3902523"/>
                <a:gd name="connsiteY4" fmla="*/ 486661 h 1516248"/>
                <a:gd name="connsiteX5" fmla="*/ 3382874 w 3902523"/>
                <a:gd name="connsiteY5" fmla="*/ 1155882 h 1516248"/>
                <a:gd name="connsiteX6" fmla="*/ 1951263 w 3902523"/>
                <a:gd name="connsiteY6" fmla="*/ 1516248 h 1516248"/>
                <a:gd name="connsiteX0" fmla="*/ 1951263 w 3382874"/>
                <a:gd name="connsiteY0" fmla="*/ 1516248 h 1516248"/>
                <a:gd name="connsiteX1" fmla="*/ 525976 w 3382874"/>
                <a:gd name="connsiteY1" fmla="*/ 1160769 h 1516248"/>
                <a:gd name="connsiteX2" fmla="*/ 0 w 3382874"/>
                <a:gd name="connsiteY2" fmla="*/ 486661 h 1516248"/>
                <a:gd name="connsiteX3" fmla="*/ 1951262 w 3382874"/>
                <a:gd name="connsiteY3" fmla="*/ 0 h 1516248"/>
                <a:gd name="connsiteX4" fmla="*/ 3382874 w 3382874"/>
                <a:gd name="connsiteY4" fmla="*/ 1155882 h 1516248"/>
                <a:gd name="connsiteX5" fmla="*/ 1951263 w 3382874"/>
                <a:gd name="connsiteY5" fmla="*/ 1516248 h 1516248"/>
                <a:gd name="connsiteX0" fmla="*/ 1425287 w 2856898"/>
                <a:gd name="connsiteY0" fmla="*/ 1516248 h 1516248"/>
                <a:gd name="connsiteX1" fmla="*/ 0 w 2856898"/>
                <a:gd name="connsiteY1" fmla="*/ 1160769 h 1516248"/>
                <a:gd name="connsiteX2" fmla="*/ 1425286 w 2856898"/>
                <a:gd name="connsiteY2" fmla="*/ 0 h 1516248"/>
                <a:gd name="connsiteX3" fmla="*/ 2856898 w 2856898"/>
                <a:gd name="connsiteY3" fmla="*/ 1155882 h 1516248"/>
                <a:gd name="connsiteX4" fmla="*/ 1425287 w 2856898"/>
                <a:gd name="connsiteY4" fmla="*/ 1516248 h 1516248"/>
                <a:gd name="connsiteX0" fmla="*/ 1425287 w 2856898"/>
                <a:gd name="connsiteY0" fmla="*/ 1287648 h 1287648"/>
                <a:gd name="connsiteX1" fmla="*/ 0 w 2856898"/>
                <a:gd name="connsiteY1" fmla="*/ 932169 h 1287648"/>
                <a:gd name="connsiteX2" fmla="*/ 1399886 w 2856898"/>
                <a:gd name="connsiteY2" fmla="*/ 0 h 1287648"/>
                <a:gd name="connsiteX3" fmla="*/ 2856898 w 2856898"/>
                <a:gd name="connsiteY3" fmla="*/ 927282 h 1287648"/>
                <a:gd name="connsiteX4" fmla="*/ 1425287 w 2856898"/>
                <a:gd name="connsiteY4" fmla="*/ 1287648 h 128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6898" h="1287648">
                  <a:moveTo>
                    <a:pt x="1425287" y="1287648"/>
                  </a:moveTo>
                  <a:lnTo>
                    <a:pt x="0" y="932169"/>
                  </a:lnTo>
                  <a:lnTo>
                    <a:pt x="1399886" y="0"/>
                  </a:lnTo>
                  <a:lnTo>
                    <a:pt x="2856898" y="927282"/>
                  </a:lnTo>
                  <a:lnTo>
                    <a:pt x="1425287" y="1287648"/>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Freeform: Shape 15">
              <a:extLst>
                <a:ext uri="{FF2B5EF4-FFF2-40B4-BE49-F238E27FC236}">
                  <a16:creationId xmlns:a16="http://schemas.microsoft.com/office/drawing/2014/main" id="{7BF05DFD-703D-CD98-FF96-BAE99F8AFE41}"/>
                </a:ext>
              </a:extLst>
            </p:cNvPr>
            <p:cNvSpPr/>
            <p:nvPr/>
          </p:nvSpPr>
          <p:spPr>
            <a:xfrm rot="10800000">
              <a:off x="5387732" y="1900269"/>
              <a:ext cx="1411045" cy="996628"/>
            </a:xfrm>
            <a:custGeom>
              <a:avLst/>
              <a:gdLst>
                <a:gd name="connsiteX0" fmla="*/ 1240077 w 2480154"/>
                <a:gd name="connsiteY0" fmla="*/ 1168078 h 1168078"/>
                <a:gd name="connsiteX1" fmla="*/ 537299 w 2480154"/>
                <a:gd name="connsiteY1" fmla="*/ 992799 h 1168078"/>
                <a:gd name="connsiteX2" fmla="*/ 531810 w 2480154"/>
                <a:gd name="connsiteY2" fmla="*/ 994168 h 1168078"/>
                <a:gd name="connsiteX3" fmla="*/ 0 w 2480154"/>
                <a:gd name="connsiteY3" fmla="*/ 309286 h 1168078"/>
                <a:gd name="connsiteX4" fmla="*/ 1240077 w 2480154"/>
                <a:gd name="connsiteY4" fmla="*/ 0 h 1168078"/>
                <a:gd name="connsiteX5" fmla="*/ 2480154 w 2480154"/>
                <a:gd name="connsiteY5" fmla="*/ 309286 h 1168078"/>
                <a:gd name="connsiteX6" fmla="*/ 1948344 w 2480154"/>
                <a:gd name="connsiteY6" fmla="*/ 994168 h 1168078"/>
                <a:gd name="connsiteX7" fmla="*/ 1942856 w 2480154"/>
                <a:gd name="connsiteY7" fmla="*/ 992799 h 1168078"/>
                <a:gd name="connsiteX0" fmla="*/ 1240077 w 2480154"/>
                <a:gd name="connsiteY0" fmla="*/ 1168078 h 1168078"/>
                <a:gd name="connsiteX1" fmla="*/ 537299 w 2480154"/>
                <a:gd name="connsiteY1" fmla="*/ 992799 h 1168078"/>
                <a:gd name="connsiteX2" fmla="*/ 531810 w 2480154"/>
                <a:gd name="connsiteY2" fmla="*/ 994168 h 1168078"/>
                <a:gd name="connsiteX3" fmla="*/ 0 w 2480154"/>
                <a:gd name="connsiteY3" fmla="*/ 309286 h 1168078"/>
                <a:gd name="connsiteX4" fmla="*/ 1240077 w 2480154"/>
                <a:gd name="connsiteY4" fmla="*/ 0 h 1168078"/>
                <a:gd name="connsiteX5" fmla="*/ 2480154 w 2480154"/>
                <a:gd name="connsiteY5" fmla="*/ 309286 h 1168078"/>
                <a:gd name="connsiteX6" fmla="*/ 1948344 w 2480154"/>
                <a:gd name="connsiteY6" fmla="*/ 994168 h 1168078"/>
                <a:gd name="connsiteX7" fmla="*/ 1240077 w 2480154"/>
                <a:gd name="connsiteY7" fmla="*/ 1168078 h 1168078"/>
                <a:gd name="connsiteX0" fmla="*/ 1240077 w 2480154"/>
                <a:gd name="connsiteY0" fmla="*/ 1168078 h 1168078"/>
                <a:gd name="connsiteX1" fmla="*/ 537299 w 2480154"/>
                <a:gd name="connsiteY1" fmla="*/ 992799 h 1168078"/>
                <a:gd name="connsiteX2" fmla="*/ 0 w 2480154"/>
                <a:gd name="connsiteY2" fmla="*/ 309286 h 1168078"/>
                <a:gd name="connsiteX3" fmla="*/ 1240077 w 2480154"/>
                <a:gd name="connsiteY3" fmla="*/ 0 h 1168078"/>
                <a:gd name="connsiteX4" fmla="*/ 2480154 w 2480154"/>
                <a:gd name="connsiteY4" fmla="*/ 309286 h 1168078"/>
                <a:gd name="connsiteX5" fmla="*/ 1948344 w 2480154"/>
                <a:gd name="connsiteY5" fmla="*/ 994168 h 1168078"/>
                <a:gd name="connsiteX6" fmla="*/ 1240077 w 2480154"/>
                <a:gd name="connsiteY6" fmla="*/ 1168078 h 1168078"/>
                <a:gd name="connsiteX0" fmla="*/ 1240077 w 1948344"/>
                <a:gd name="connsiteY0" fmla="*/ 1168078 h 1168078"/>
                <a:gd name="connsiteX1" fmla="*/ 537299 w 1948344"/>
                <a:gd name="connsiteY1" fmla="*/ 992799 h 1168078"/>
                <a:gd name="connsiteX2" fmla="*/ 0 w 1948344"/>
                <a:gd name="connsiteY2" fmla="*/ 309286 h 1168078"/>
                <a:gd name="connsiteX3" fmla="*/ 1240077 w 1948344"/>
                <a:gd name="connsiteY3" fmla="*/ 0 h 1168078"/>
                <a:gd name="connsiteX4" fmla="*/ 1948344 w 1948344"/>
                <a:gd name="connsiteY4" fmla="*/ 994168 h 1168078"/>
                <a:gd name="connsiteX5" fmla="*/ 1240077 w 1948344"/>
                <a:gd name="connsiteY5" fmla="*/ 1168078 h 1168078"/>
                <a:gd name="connsiteX0" fmla="*/ 702778 w 1411045"/>
                <a:gd name="connsiteY0" fmla="*/ 1168078 h 1168078"/>
                <a:gd name="connsiteX1" fmla="*/ 0 w 1411045"/>
                <a:gd name="connsiteY1" fmla="*/ 992799 h 1168078"/>
                <a:gd name="connsiteX2" fmla="*/ 702778 w 1411045"/>
                <a:gd name="connsiteY2" fmla="*/ 0 h 1168078"/>
                <a:gd name="connsiteX3" fmla="*/ 1411045 w 1411045"/>
                <a:gd name="connsiteY3" fmla="*/ 994168 h 1168078"/>
                <a:gd name="connsiteX4" fmla="*/ 702778 w 1411045"/>
                <a:gd name="connsiteY4" fmla="*/ 1168078 h 1168078"/>
                <a:gd name="connsiteX0" fmla="*/ 702778 w 1411045"/>
                <a:gd name="connsiteY0" fmla="*/ 996628 h 996628"/>
                <a:gd name="connsiteX1" fmla="*/ 0 w 1411045"/>
                <a:gd name="connsiteY1" fmla="*/ 821349 h 996628"/>
                <a:gd name="connsiteX2" fmla="*/ 696428 w 1411045"/>
                <a:gd name="connsiteY2" fmla="*/ 0 h 996628"/>
                <a:gd name="connsiteX3" fmla="*/ 1411045 w 1411045"/>
                <a:gd name="connsiteY3" fmla="*/ 822718 h 996628"/>
                <a:gd name="connsiteX4" fmla="*/ 702778 w 1411045"/>
                <a:gd name="connsiteY4" fmla="*/ 996628 h 996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045" h="996628">
                  <a:moveTo>
                    <a:pt x="702778" y="996628"/>
                  </a:moveTo>
                  <a:lnTo>
                    <a:pt x="0" y="821349"/>
                  </a:lnTo>
                  <a:lnTo>
                    <a:pt x="696428" y="0"/>
                  </a:lnTo>
                  <a:lnTo>
                    <a:pt x="1411045" y="822718"/>
                  </a:lnTo>
                  <a:lnTo>
                    <a:pt x="702778" y="99662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Freeform: Shape 16">
              <a:extLst>
                <a:ext uri="{FF2B5EF4-FFF2-40B4-BE49-F238E27FC236}">
                  <a16:creationId xmlns:a16="http://schemas.microsoft.com/office/drawing/2014/main" id="{9E8C5A74-B502-86D6-D12D-214F8D2FCE4E}"/>
                </a:ext>
              </a:extLst>
            </p:cNvPr>
            <p:cNvSpPr/>
            <p:nvPr/>
          </p:nvSpPr>
          <p:spPr>
            <a:xfrm>
              <a:off x="2725286" y="4837594"/>
              <a:ext cx="6741428" cy="1506057"/>
            </a:xfrm>
            <a:custGeom>
              <a:avLst/>
              <a:gdLst>
                <a:gd name="connsiteX0" fmla="*/ 516660 w 6741428"/>
                <a:gd name="connsiteY0" fmla="*/ 0 h 1506057"/>
                <a:gd name="connsiteX1" fmla="*/ 610039 w 6741428"/>
                <a:gd name="connsiteY1" fmla="*/ 0 h 1506057"/>
                <a:gd name="connsiteX2" fmla="*/ 3370714 w 6741428"/>
                <a:gd name="connsiteY2" fmla="*/ 688536 h 1506057"/>
                <a:gd name="connsiteX3" fmla="*/ 6131389 w 6741428"/>
                <a:gd name="connsiteY3" fmla="*/ 0 h 1506057"/>
                <a:gd name="connsiteX4" fmla="*/ 6224768 w 6741428"/>
                <a:gd name="connsiteY4" fmla="*/ 0 h 1506057"/>
                <a:gd name="connsiteX5" fmla="*/ 6482955 w 6741428"/>
                <a:gd name="connsiteY5" fmla="*/ 332502 h 1506057"/>
                <a:gd name="connsiteX6" fmla="*/ 6741428 w 6741428"/>
                <a:gd name="connsiteY6" fmla="*/ 665372 h 1506057"/>
                <a:gd name="connsiteX7" fmla="*/ 3370714 w 6741428"/>
                <a:gd name="connsiteY7" fmla="*/ 1506057 h 1506057"/>
                <a:gd name="connsiteX8" fmla="*/ 0 w 6741428"/>
                <a:gd name="connsiteY8" fmla="*/ 665372 h 1506057"/>
                <a:gd name="connsiteX9" fmla="*/ 258473 w 6741428"/>
                <a:gd name="connsiteY9" fmla="*/ 332502 h 1506057"/>
                <a:gd name="connsiteX0" fmla="*/ 516660 w 6741428"/>
                <a:gd name="connsiteY0" fmla="*/ 0 h 1506057"/>
                <a:gd name="connsiteX1" fmla="*/ 610039 w 6741428"/>
                <a:gd name="connsiteY1" fmla="*/ 0 h 1506057"/>
                <a:gd name="connsiteX2" fmla="*/ 3370714 w 6741428"/>
                <a:gd name="connsiteY2" fmla="*/ 688536 h 1506057"/>
                <a:gd name="connsiteX3" fmla="*/ 6224768 w 6741428"/>
                <a:gd name="connsiteY3" fmla="*/ 0 h 1506057"/>
                <a:gd name="connsiteX4" fmla="*/ 6482955 w 6741428"/>
                <a:gd name="connsiteY4" fmla="*/ 332502 h 1506057"/>
                <a:gd name="connsiteX5" fmla="*/ 6741428 w 6741428"/>
                <a:gd name="connsiteY5" fmla="*/ 665372 h 1506057"/>
                <a:gd name="connsiteX6" fmla="*/ 3370714 w 6741428"/>
                <a:gd name="connsiteY6" fmla="*/ 1506057 h 1506057"/>
                <a:gd name="connsiteX7" fmla="*/ 0 w 6741428"/>
                <a:gd name="connsiteY7" fmla="*/ 665372 h 1506057"/>
                <a:gd name="connsiteX8" fmla="*/ 258473 w 6741428"/>
                <a:gd name="connsiteY8" fmla="*/ 332502 h 1506057"/>
                <a:gd name="connsiteX9" fmla="*/ 516660 w 6741428"/>
                <a:gd name="connsiteY9" fmla="*/ 0 h 1506057"/>
                <a:gd name="connsiteX0" fmla="*/ 516660 w 6741428"/>
                <a:gd name="connsiteY0" fmla="*/ 0 h 1506057"/>
                <a:gd name="connsiteX1" fmla="*/ 3370714 w 6741428"/>
                <a:gd name="connsiteY1" fmla="*/ 688536 h 1506057"/>
                <a:gd name="connsiteX2" fmla="*/ 6224768 w 6741428"/>
                <a:gd name="connsiteY2" fmla="*/ 0 h 1506057"/>
                <a:gd name="connsiteX3" fmla="*/ 6482955 w 6741428"/>
                <a:gd name="connsiteY3" fmla="*/ 332502 h 1506057"/>
                <a:gd name="connsiteX4" fmla="*/ 6741428 w 6741428"/>
                <a:gd name="connsiteY4" fmla="*/ 665372 h 1506057"/>
                <a:gd name="connsiteX5" fmla="*/ 3370714 w 6741428"/>
                <a:gd name="connsiteY5" fmla="*/ 1506057 h 1506057"/>
                <a:gd name="connsiteX6" fmla="*/ 0 w 6741428"/>
                <a:gd name="connsiteY6" fmla="*/ 665372 h 1506057"/>
                <a:gd name="connsiteX7" fmla="*/ 258473 w 6741428"/>
                <a:gd name="connsiteY7" fmla="*/ 332502 h 1506057"/>
                <a:gd name="connsiteX8" fmla="*/ 516660 w 6741428"/>
                <a:gd name="connsiteY8" fmla="*/ 0 h 1506057"/>
                <a:gd name="connsiteX0" fmla="*/ 516660 w 6741428"/>
                <a:gd name="connsiteY0" fmla="*/ 0 h 1506057"/>
                <a:gd name="connsiteX1" fmla="*/ 3370714 w 6741428"/>
                <a:gd name="connsiteY1" fmla="*/ 688536 h 1506057"/>
                <a:gd name="connsiteX2" fmla="*/ 6224768 w 6741428"/>
                <a:gd name="connsiteY2" fmla="*/ 0 h 1506057"/>
                <a:gd name="connsiteX3" fmla="*/ 6482955 w 6741428"/>
                <a:gd name="connsiteY3" fmla="*/ 332502 h 1506057"/>
                <a:gd name="connsiteX4" fmla="*/ 6741428 w 6741428"/>
                <a:gd name="connsiteY4" fmla="*/ 665372 h 1506057"/>
                <a:gd name="connsiteX5" fmla="*/ 3370714 w 6741428"/>
                <a:gd name="connsiteY5" fmla="*/ 1506057 h 1506057"/>
                <a:gd name="connsiteX6" fmla="*/ 0 w 6741428"/>
                <a:gd name="connsiteY6" fmla="*/ 665372 h 1506057"/>
                <a:gd name="connsiteX7" fmla="*/ 516660 w 6741428"/>
                <a:gd name="connsiteY7" fmla="*/ 0 h 1506057"/>
                <a:gd name="connsiteX0" fmla="*/ 516660 w 6741428"/>
                <a:gd name="connsiteY0" fmla="*/ 0 h 1506057"/>
                <a:gd name="connsiteX1" fmla="*/ 3370714 w 6741428"/>
                <a:gd name="connsiteY1" fmla="*/ 688536 h 1506057"/>
                <a:gd name="connsiteX2" fmla="*/ 6224768 w 6741428"/>
                <a:gd name="connsiteY2" fmla="*/ 0 h 1506057"/>
                <a:gd name="connsiteX3" fmla="*/ 6741428 w 6741428"/>
                <a:gd name="connsiteY3" fmla="*/ 665372 h 1506057"/>
                <a:gd name="connsiteX4" fmla="*/ 3370714 w 6741428"/>
                <a:gd name="connsiteY4" fmla="*/ 1506057 h 1506057"/>
                <a:gd name="connsiteX5" fmla="*/ 0 w 6741428"/>
                <a:gd name="connsiteY5" fmla="*/ 665372 h 1506057"/>
                <a:gd name="connsiteX6" fmla="*/ 516660 w 6741428"/>
                <a:gd name="connsiteY6" fmla="*/ 0 h 1506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1428" h="1506057">
                  <a:moveTo>
                    <a:pt x="516660" y="0"/>
                  </a:moveTo>
                  <a:lnTo>
                    <a:pt x="3370714" y="688536"/>
                  </a:lnTo>
                  <a:lnTo>
                    <a:pt x="6224768" y="0"/>
                  </a:lnTo>
                  <a:lnTo>
                    <a:pt x="6741428" y="665372"/>
                  </a:lnTo>
                  <a:lnTo>
                    <a:pt x="3370714" y="1506057"/>
                  </a:lnTo>
                  <a:lnTo>
                    <a:pt x="0" y="665372"/>
                  </a:lnTo>
                  <a:lnTo>
                    <a:pt x="516660" y="0"/>
                  </a:lnTo>
                  <a:close/>
                </a:path>
              </a:pathLst>
            </a:custGeom>
            <a:solidFill>
              <a:schemeClr val="accent2">
                <a:alpha val="2001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Freeform: Shape 17">
              <a:extLst>
                <a:ext uri="{FF2B5EF4-FFF2-40B4-BE49-F238E27FC236}">
                  <a16:creationId xmlns:a16="http://schemas.microsoft.com/office/drawing/2014/main" id="{9E3667BD-41B5-0942-D867-8D28BB5B358D}"/>
                </a:ext>
              </a:extLst>
            </p:cNvPr>
            <p:cNvSpPr/>
            <p:nvPr/>
          </p:nvSpPr>
          <p:spPr>
            <a:xfrm>
              <a:off x="3418804" y="3918815"/>
              <a:ext cx="5354392" cy="1322200"/>
            </a:xfrm>
            <a:custGeom>
              <a:avLst/>
              <a:gdLst>
                <a:gd name="connsiteX0" fmla="*/ 4817819 w 5354392"/>
                <a:gd name="connsiteY0" fmla="*/ 0 h 1322200"/>
                <a:gd name="connsiteX1" fmla="*/ 5354392 w 5354392"/>
                <a:gd name="connsiteY1" fmla="*/ 691015 h 1322200"/>
                <a:gd name="connsiteX2" fmla="*/ 2677196 w 5354392"/>
                <a:gd name="connsiteY2" fmla="*/ 1322200 h 1322200"/>
                <a:gd name="connsiteX3" fmla="*/ 0 w 5354392"/>
                <a:gd name="connsiteY3" fmla="*/ 691015 h 1322200"/>
                <a:gd name="connsiteX4" fmla="*/ 536573 w 5354392"/>
                <a:gd name="connsiteY4" fmla="*/ 0 h 1322200"/>
                <a:gd name="connsiteX5" fmla="*/ 2677196 w 5354392"/>
                <a:gd name="connsiteY5" fmla="*/ 504680 h 132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54392" h="1322200">
                  <a:moveTo>
                    <a:pt x="4817819" y="0"/>
                  </a:moveTo>
                  <a:lnTo>
                    <a:pt x="5354392" y="691015"/>
                  </a:lnTo>
                  <a:lnTo>
                    <a:pt x="2677196" y="1322200"/>
                  </a:lnTo>
                  <a:lnTo>
                    <a:pt x="0" y="691015"/>
                  </a:lnTo>
                  <a:lnTo>
                    <a:pt x="536573" y="0"/>
                  </a:lnTo>
                  <a:lnTo>
                    <a:pt x="2677196" y="504680"/>
                  </a:lnTo>
                  <a:close/>
                </a:path>
              </a:pathLst>
            </a:custGeom>
            <a:solidFill>
              <a:schemeClr val="accent4">
                <a:alpha val="2001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7" name="Freeform: Shape 18">
              <a:extLst>
                <a:ext uri="{FF2B5EF4-FFF2-40B4-BE49-F238E27FC236}">
                  <a16:creationId xmlns:a16="http://schemas.microsoft.com/office/drawing/2014/main" id="{5CF33B9A-C508-296C-E5D4-BD99101406B1}"/>
                </a:ext>
              </a:extLst>
            </p:cNvPr>
            <p:cNvSpPr/>
            <p:nvPr/>
          </p:nvSpPr>
          <p:spPr>
            <a:xfrm>
              <a:off x="4144740" y="3004231"/>
              <a:ext cx="3902523" cy="1155882"/>
            </a:xfrm>
            <a:custGeom>
              <a:avLst/>
              <a:gdLst>
                <a:gd name="connsiteX0" fmla="*/ 3382873 w 3902523"/>
                <a:gd name="connsiteY0" fmla="*/ 0 h 1155882"/>
                <a:gd name="connsiteX1" fmla="*/ 3902523 w 3902523"/>
                <a:gd name="connsiteY1" fmla="*/ 669221 h 1155882"/>
                <a:gd name="connsiteX2" fmla="*/ 1951261 w 3902523"/>
                <a:gd name="connsiteY2" fmla="*/ 1155882 h 1155882"/>
                <a:gd name="connsiteX3" fmla="*/ 0 w 3902523"/>
                <a:gd name="connsiteY3" fmla="*/ 669221 h 1155882"/>
                <a:gd name="connsiteX4" fmla="*/ 519649 w 3902523"/>
                <a:gd name="connsiteY4" fmla="*/ 0 h 1155882"/>
                <a:gd name="connsiteX5" fmla="*/ 1951261 w 3902523"/>
                <a:gd name="connsiteY5" fmla="*/ 330981 h 1155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02523" h="1155882">
                  <a:moveTo>
                    <a:pt x="3382873" y="0"/>
                  </a:moveTo>
                  <a:lnTo>
                    <a:pt x="3902523" y="669221"/>
                  </a:lnTo>
                  <a:lnTo>
                    <a:pt x="1951261" y="1155882"/>
                  </a:lnTo>
                  <a:lnTo>
                    <a:pt x="0" y="669221"/>
                  </a:lnTo>
                  <a:lnTo>
                    <a:pt x="519649" y="0"/>
                  </a:lnTo>
                  <a:lnTo>
                    <a:pt x="1951261" y="330981"/>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Freeform: Shape 19">
              <a:extLst>
                <a:ext uri="{FF2B5EF4-FFF2-40B4-BE49-F238E27FC236}">
                  <a16:creationId xmlns:a16="http://schemas.microsoft.com/office/drawing/2014/main" id="{CE14A1E0-39A7-9EC3-1D2B-CB6EDCA52486}"/>
                </a:ext>
              </a:extLst>
            </p:cNvPr>
            <p:cNvSpPr/>
            <p:nvPr/>
          </p:nvSpPr>
          <p:spPr>
            <a:xfrm>
              <a:off x="5562130" y="1158884"/>
              <a:ext cx="1067740" cy="820687"/>
            </a:xfrm>
            <a:custGeom>
              <a:avLst/>
              <a:gdLst>
                <a:gd name="connsiteX0" fmla="*/ 533870 w 1067740"/>
                <a:gd name="connsiteY0" fmla="*/ 0 h 820687"/>
                <a:gd name="connsiteX1" fmla="*/ 1067740 w 1067740"/>
                <a:gd name="connsiteY1" fmla="*/ 687535 h 820687"/>
                <a:gd name="connsiteX2" fmla="*/ 533870 w 1067740"/>
                <a:gd name="connsiteY2" fmla="*/ 820687 h 820687"/>
                <a:gd name="connsiteX3" fmla="*/ 0 w 1067740"/>
                <a:gd name="connsiteY3" fmla="*/ 687535 h 820687"/>
              </a:gdLst>
              <a:ahLst/>
              <a:cxnLst>
                <a:cxn ang="0">
                  <a:pos x="connsiteX0" y="connsiteY0"/>
                </a:cxn>
                <a:cxn ang="0">
                  <a:pos x="connsiteX1" y="connsiteY1"/>
                </a:cxn>
                <a:cxn ang="0">
                  <a:pos x="connsiteX2" y="connsiteY2"/>
                </a:cxn>
                <a:cxn ang="0">
                  <a:pos x="connsiteX3" y="connsiteY3"/>
                </a:cxn>
              </a:cxnLst>
              <a:rect l="l" t="t" r="r" b="b"/>
              <a:pathLst>
                <a:path w="1067740" h="820687">
                  <a:moveTo>
                    <a:pt x="533870" y="0"/>
                  </a:moveTo>
                  <a:lnTo>
                    <a:pt x="1067740" y="687535"/>
                  </a:lnTo>
                  <a:lnTo>
                    <a:pt x="533870" y="820687"/>
                  </a:lnTo>
                  <a:lnTo>
                    <a:pt x="0" y="68753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Freeform: Shape 20">
              <a:extLst>
                <a:ext uri="{FF2B5EF4-FFF2-40B4-BE49-F238E27FC236}">
                  <a16:creationId xmlns:a16="http://schemas.microsoft.com/office/drawing/2014/main" id="{F03F3C90-AFB0-1FA4-E384-C29737E88129}"/>
                </a:ext>
              </a:extLst>
            </p:cNvPr>
            <p:cNvSpPr/>
            <p:nvPr/>
          </p:nvSpPr>
          <p:spPr>
            <a:xfrm>
              <a:off x="4855923" y="2074179"/>
              <a:ext cx="2480154" cy="994168"/>
            </a:xfrm>
            <a:custGeom>
              <a:avLst/>
              <a:gdLst>
                <a:gd name="connsiteX0" fmla="*/ 1948344 w 2480154"/>
                <a:gd name="connsiteY0" fmla="*/ 0 h 994168"/>
                <a:gd name="connsiteX1" fmla="*/ 2480154 w 2480154"/>
                <a:gd name="connsiteY1" fmla="*/ 684882 h 994168"/>
                <a:gd name="connsiteX2" fmla="*/ 1240077 w 2480154"/>
                <a:gd name="connsiteY2" fmla="*/ 994168 h 994168"/>
                <a:gd name="connsiteX3" fmla="*/ 0 w 2480154"/>
                <a:gd name="connsiteY3" fmla="*/ 684882 h 994168"/>
                <a:gd name="connsiteX4" fmla="*/ 531810 w 2480154"/>
                <a:gd name="connsiteY4" fmla="*/ 0 h 994168"/>
                <a:gd name="connsiteX5" fmla="*/ 1240077 w 2480154"/>
                <a:gd name="connsiteY5" fmla="*/ 176648 h 99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0154" h="994168">
                  <a:moveTo>
                    <a:pt x="1948344" y="0"/>
                  </a:moveTo>
                  <a:lnTo>
                    <a:pt x="2480154" y="684882"/>
                  </a:lnTo>
                  <a:lnTo>
                    <a:pt x="1240077" y="994168"/>
                  </a:lnTo>
                  <a:lnTo>
                    <a:pt x="0" y="684882"/>
                  </a:lnTo>
                  <a:lnTo>
                    <a:pt x="531810" y="0"/>
                  </a:lnTo>
                  <a:lnTo>
                    <a:pt x="1240077" y="17664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Freeform: Shape 21">
              <a:extLst>
                <a:ext uri="{FF2B5EF4-FFF2-40B4-BE49-F238E27FC236}">
                  <a16:creationId xmlns:a16="http://schemas.microsoft.com/office/drawing/2014/main" id="{C73AAD47-D2A5-1E79-C11C-F6C0734E40FB}"/>
                </a:ext>
              </a:extLst>
            </p:cNvPr>
            <p:cNvSpPr/>
            <p:nvPr/>
          </p:nvSpPr>
          <p:spPr>
            <a:xfrm>
              <a:off x="6096000" y="1158884"/>
              <a:ext cx="533870" cy="820687"/>
            </a:xfrm>
            <a:custGeom>
              <a:avLst/>
              <a:gdLst>
                <a:gd name="connsiteX0" fmla="*/ 0 w 533870"/>
                <a:gd name="connsiteY0" fmla="*/ 0 h 820687"/>
                <a:gd name="connsiteX1" fmla="*/ 533870 w 533870"/>
                <a:gd name="connsiteY1" fmla="*/ 687535 h 820687"/>
                <a:gd name="connsiteX2" fmla="*/ 0 w 533870"/>
                <a:gd name="connsiteY2" fmla="*/ 820687 h 820687"/>
                <a:gd name="connsiteX3" fmla="*/ 0 w 533870"/>
                <a:gd name="connsiteY3" fmla="*/ 0 h 820687"/>
              </a:gdLst>
              <a:ahLst/>
              <a:cxnLst>
                <a:cxn ang="0">
                  <a:pos x="connsiteX0" y="connsiteY0"/>
                </a:cxn>
                <a:cxn ang="0">
                  <a:pos x="connsiteX1" y="connsiteY1"/>
                </a:cxn>
                <a:cxn ang="0">
                  <a:pos x="connsiteX2" y="connsiteY2"/>
                </a:cxn>
                <a:cxn ang="0">
                  <a:pos x="connsiteX3" y="connsiteY3"/>
                </a:cxn>
              </a:cxnLst>
              <a:rect l="l" t="t" r="r" b="b"/>
              <a:pathLst>
                <a:path w="533870" h="820687">
                  <a:moveTo>
                    <a:pt x="0" y="0"/>
                  </a:moveTo>
                  <a:lnTo>
                    <a:pt x="533870" y="687535"/>
                  </a:lnTo>
                  <a:lnTo>
                    <a:pt x="0" y="820687"/>
                  </a:lnTo>
                  <a:lnTo>
                    <a:pt x="0" y="0"/>
                  </a:lnTo>
                  <a:close/>
                </a:path>
              </a:pathLst>
            </a:cu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Freeform: Shape 22">
              <a:extLst>
                <a:ext uri="{FF2B5EF4-FFF2-40B4-BE49-F238E27FC236}">
                  <a16:creationId xmlns:a16="http://schemas.microsoft.com/office/drawing/2014/main" id="{DE7568B0-DB95-0FD0-8CEA-75D30A349BEB}"/>
                </a:ext>
              </a:extLst>
            </p:cNvPr>
            <p:cNvSpPr/>
            <p:nvPr/>
          </p:nvSpPr>
          <p:spPr>
            <a:xfrm>
              <a:off x="6096001" y="2074179"/>
              <a:ext cx="1240077" cy="994168"/>
            </a:xfrm>
            <a:custGeom>
              <a:avLst/>
              <a:gdLst>
                <a:gd name="connsiteX0" fmla="*/ 708267 w 1240077"/>
                <a:gd name="connsiteY0" fmla="*/ 0 h 994168"/>
                <a:gd name="connsiteX1" fmla="*/ 1240077 w 1240077"/>
                <a:gd name="connsiteY1" fmla="*/ 684882 h 994168"/>
                <a:gd name="connsiteX2" fmla="*/ 0 w 1240077"/>
                <a:gd name="connsiteY2" fmla="*/ 994168 h 994168"/>
                <a:gd name="connsiteX3" fmla="*/ 0 w 1240077"/>
                <a:gd name="connsiteY3" fmla="*/ 176648 h 994168"/>
                <a:gd name="connsiteX4" fmla="*/ 708267 w 1240077"/>
                <a:gd name="connsiteY4" fmla="*/ 0 h 994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0077" h="994168">
                  <a:moveTo>
                    <a:pt x="708267" y="0"/>
                  </a:moveTo>
                  <a:lnTo>
                    <a:pt x="1240077" y="684882"/>
                  </a:lnTo>
                  <a:lnTo>
                    <a:pt x="0" y="994168"/>
                  </a:lnTo>
                  <a:lnTo>
                    <a:pt x="0" y="176648"/>
                  </a:lnTo>
                  <a:lnTo>
                    <a:pt x="708267"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Freeform: Shape 23">
              <a:extLst>
                <a:ext uri="{FF2B5EF4-FFF2-40B4-BE49-F238E27FC236}">
                  <a16:creationId xmlns:a16="http://schemas.microsoft.com/office/drawing/2014/main" id="{BC8315F9-ED47-597E-5A21-95659C8BF216}"/>
                </a:ext>
              </a:extLst>
            </p:cNvPr>
            <p:cNvSpPr/>
            <p:nvPr/>
          </p:nvSpPr>
          <p:spPr>
            <a:xfrm>
              <a:off x="6096001" y="3004231"/>
              <a:ext cx="1951263" cy="1155882"/>
            </a:xfrm>
            <a:custGeom>
              <a:avLst/>
              <a:gdLst>
                <a:gd name="connsiteX0" fmla="*/ 1431613 w 1951263"/>
                <a:gd name="connsiteY0" fmla="*/ 0 h 1155882"/>
                <a:gd name="connsiteX1" fmla="*/ 1951263 w 1951263"/>
                <a:gd name="connsiteY1" fmla="*/ 669221 h 1155882"/>
                <a:gd name="connsiteX2" fmla="*/ 1 w 1951263"/>
                <a:gd name="connsiteY2" fmla="*/ 1155882 h 1155882"/>
                <a:gd name="connsiteX3" fmla="*/ 0 w 1951263"/>
                <a:gd name="connsiteY3" fmla="*/ 1155882 h 1155882"/>
                <a:gd name="connsiteX4" fmla="*/ 0 w 1951263"/>
                <a:gd name="connsiteY4" fmla="*/ 330981 h 1155882"/>
                <a:gd name="connsiteX5" fmla="*/ 1 w 1951263"/>
                <a:gd name="connsiteY5" fmla="*/ 330981 h 1155882"/>
                <a:gd name="connsiteX6" fmla="*/ 1431613 w 1951263"/>
                <a:gd name="connsiteY6" fmla="*/ 0 h 1155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1263" h="1155882">
                  <a:moveTo>
                    <a:pt x="1431613" y="0"/>
                  </a:moveTo>
                  <a:lnTo>
                    <a:pt x="1951263" y="669221"/>
                  </a:lnTo>
                  <a:lnTo>
                    <a:pt x="1" y="1155882"/>
                  </a:lnTo>
                  <a:lnTo>
                    <a:pt x="0" y="1155882"/>
                  </a:lnTo>
                  <a:lnTo>
                    <a:pt x="0" y="330981"/>
                  </a:lnTo>
                  <a:lnTo>
                    <a:pt x="1" y="330981"/>
                  </a:lnTo>
                  <a:lnTo>
                    <a:pt x="1431613" y="0"/>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3" name="Freeform: Shape 24">
              <a:extLst>
                <a:ext uri="{FF2B5EF4-FFF2-40B4-BE49-F238E27FC236}">
                  <a16:creationId xmlns:a16="http://schemas.microsoft.com/office/drawing/2014/main" id="{30BB6B29-D438-CEA2-6C68-74F190E5C697}"/>
                </a:ext>
              </a:extLst>
            </p:cNvPr>
            <p:cNvSpPr/>
            <p:nvPr/>
          </p:nvSpPr>
          <p:spPr>
            <a:xfrm>
              <a:off x="6079076" y="3926998"/>
              <a:ext cx="2677196" cy="1322200"/>
            </a:xfrm>
            <a:custGeom>
              <a:avLst/>
              <a:gdLst>
                <a:gd name="connsiteX0" fmla="*/ 2140623 w 2677196"/>
                <a:gd name="connsiteY0" fmla="*/ 0 h 1322200"/>
                <a:gd name="connsiteX1" fmla="*/ 2677196 w 2677196"/>
                <a:gd name="connsiteY1" fmla="*/ 691015 h 1322200"/>
                <a:gd name="connsiteX2" fmla="*/ 0 w 2677196"/>
                <a:gd name="connsiteY2" fmla="*/ 1322200 h 1322200"/>
                <a:gd name="connsiteX3" fmla="*/ 0 w 2677196"/>
                <a:gd name="connsiteY3" fmla="*/ 504680 h 1322200"/>
                <a:gd name="connsiteX4" fmla="*/ 2140623 w 2677196"/>
                <a:gd name="connsiteY4" fmla="*/ 0 h 1322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196" h="1322200">
                  <a:moveTo>
                    <a:pt x="2140623" y="0"/>
                  </a:moveTo>
                  <a:lnTo>
                    <a:pt x="2677196" y="691015"/>
                  </a:lnTo>
                  <a:lnTo>
                    <a:pt x="0" y="1322200"/>
                  </a:lnTo>
                  <a:lnTo>
                    <a:pt x="0" y="504680"/>
                  </a:lnTo>
                  <a:lnTo>
                    <a:pt x="2140623" y="0"/>
                  </a:lnTo>
                  <a:close/>
                </a:path>
              </a:pathLst>
            </a:custGeom>
            <a:solidFill>
              <a:schemeClr val="accent4">
                <a:lumMod val="75000"/>
                <a:alpha val="2001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4" name="Freeform: Shape 25">
              <a:extLst>
                <a:ext uri="{FF2B5EF4-FFF2-40B4-BE49-F238E27FC236}">
                  <a16:creationId xmlns:a16="http://schemas.microsoft.com/office/drawing/2014/main" id="{E2FED09D-D6DC-21F6-C588-3C62D3D5D1D0}"/>
                </a:ext>
              </a:extLst>
            </p:cNvPr>
            <p:cNvSpPr/>
            <p:nvPr/>
          </p:nvSpPr>
          <p:spPr>
            <a:xfrm>
              <a:off x="6079076" y="4845777"/>
              <a:ext cx="3370714" cy="1506057"/>
            </a:xfrm>
            <a:custGeom>
              <a:avLst/>
              <a:gdLst>
                <a:gd name="connsiteX0" fmla="*/ 2854054 w 3370714"/>
                <a:gd name="connsiteY0" fmla="*/ 0 h 1506057"/>
                <a:gd name="connsiteX1" fmla="*/ 3370714 w 3370714"/>
                <a:gd name="connsiteY1" fmla="*/ 665372 h 1506057"/>
                <a:gd name="connsiteX2" fmla="*/ 0 w 3370714"/>
                <a:gd name="connsiteY2" fmla="*/ 1506057 h 1506057"/>
                <a:gd name="connsiteX3" fmla="*/ 0 w 3370714"/>
                <a:gd name="connsiteY3" fmla="*/ 688536 h 1506057"/>
                <a:gd name="connsiteX4" fmla="*/ 2854054 w 3370714"/>
                <a:gd name="connsiteY4" fmla="*/ 0 h 1506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0714" h="1506057">
                  <a:moveTo>
                    <a:pt x="2854054" y="0"/>
                  </a:moveTo>
                  <a:lnTo>
                    <a:pt x="3370714" y="665372"/>
                  </a:lnTo>
                  <a:lnTo>
                    <a:pt x="0" y="1506057"/>
                  </a:lnTo>
                  <a:lnTo>
                    <a:pt x="0" y="688536"/>
                  </a:lnTo>
                  <a:lnTo>
                    <a:pt x="2854054" y="0"/>
                  </a:lnTo>
                  <a:close/>
                </a:path>
              </a:pathLst>
            </a:custGeom>
            <a:solidFill>
              <a:schemeClr val="accent2">
                <a:lumMod val="75000"/>
                <a:alpha val="2001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TextBox 38">
              <a:extLst>
                <a:ext uri="{FF2B5EF4-FFF2-40B4-BE49-F238E27FC236}">
                  <a16:creationId xmlns:a16="http://schemas.microsoft.com/office/drawing/2014/main" id="{5FC9BB7B-3C96-11DC-7EB2-BA1CEC35E6D2}"/>
                </a:ext>
              </a:extLst>
            </p:cNvPr>
            <p:cNvSpPr txBox="1"/>
            <p:nvPr/>
          </p:nvSpPr>
          <p:spPr>
            <a:xfrm>
              <a:off x="6798777" y="1264417"/>
              <a:ext cx="2926080" cy="523219"/>
            </a:xfrm>
            <a:prstGeom prst="rect">
              <a:avLst/>
            </a:prstGeom>
            <a:solidFill>
              <a:schemeClr val="accent5">
                <a:alpha val="20000"/>
              </a:schemeClr>
            </a:solidFill>
          </p:spPr>
          <p:txBody>
            <a:bodyPr wrap="square" lIns="9144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1">
                  <a:ln>
                    <a:noFill/>
                  </a:ln>
                  <a:solidFill>
                    <a:srgbClr val="003422">
                      <a:lumMod val="75000"/>
                    </a:srgbClr>
                  </a:solidFill>
                  <a:effectLst/>
                  <a:uLnTx/>
                  <a:uFillTx/>
                  <a:latin typeface="Arial"/>
                  <a:ea typeface="+mn-ea"/>
                  <a:cs typeface="+mn-cs"/>
                </a:rPr>
                <a:t>Level 5 – Fully Autonomous Systems</a:t>
              </a:r>
            </a:p>
          </p:txBody>
        </p:sp>
        <p:sp>
          <p:nvSpPr>
            <p:cNvPr id="45" name="TextBox 44">
              <a:extLst>
                <a:ext uri="{FF2B5EF4-FFF2-40B4-BE49-F238E27FC236}">
                  <a16:creationId xmlns:a16="http://schemas.microsoft.com/office/drawing/2014/main" id="{94896E6E-26D9-943D-0C9B-99443B1AA62E}"/>
                </a:ext>
              </a:extLst>
            </p:cNvPr>
            <p:cNvSpPr txBox="1"/>
            <p:nvPr/>
          </p:nvSpPr>
          <p:spPr>
            <a:xfrm>
              <a:off x="7338139" y="1948184"/>
              <a:ext cx="2414701" cy="766835"/>
            </a:xfrm>
            <a:prstGeom prst="rect">
              <a:avLst/>
            </a:prstGeom>
            <a:solidFill>
              <a:schemeClr val="accent3">
                <a:lumMod val="90000"/>
                <a:alpha val="20000"/>
              </a:schemeClr>
            </a:solidFill>
          </p:spPr>
          <p:txBody>
            <a:bodyPr wrap="square" lIns="9144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1">
                  <a:ln>
                    <a:noFill/>
                  </a:ln>
                  <a:solidFill>
                    <a:srgbClr val="F0F0E6">
                      <a:lumMod val="50000"/>
                    </a:srgbClr>
                  </a:solidFill>
                  <a:effectLst/>
                  <a:uLnTx/>
                  <a:uFillTx/>
                  <a:latin typeface="Arial"/>
                  <a:ea typeface="+mn-ea"/>
                  <a:cs typeface="+mn-cs"/>
                </a:rPr>
                <a:t>Level 4 – Semi Autonomous Agentic Systems</a:t>
              </a:r>
            </a:p>
          </p:txBody>
        </p:sp>
        <p:sp>
          <p:nvSpPr>
            <p:cNvPr id="48" name="TextBox 47">
              <a:extLst>
                <a:ext uri="{FF2B5EF4-FFF2-40B4-BE49-F238E27FC236}">
                  <a16:creationId xmlns:a16="http://schemas.microsoft.com/office/drawing/2014/main" id="{D7189A62-C1D2-A4E4-FF60-210E7FB7D919}"/>
                </a:ext>
              </a:extLst>
            </p:cNvPr>
            <p:cNvSpPr txBox="1"/>
            <p:nvPr/>
          </p:nvSpPr>
          <p:spPr>
            <a:xfrm>
              <a:off x="7889295" y="2928092"/>
              <a:ext cx="1835562" cy="543174"/>
            </a:xfrm>
            <a:prstGeom prst="rect">
              <a:avLst/>
            </a:prstGeom>
            <a:solidFill>
              <a:schemeClr val="accent6">
                <a:lumMod val="60000"/>
                <a:lumOff val="40000"/>
                <a:alpha val="20000"/>
              </a:schemeClr>
            </a:solidFill>
          </p:spPr>
          <p:txBody>
            <a:bodyPr wrap="square" lIns="9144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1">
                  <a:ln>
                    <a:noFill/>
                  </a:ln>
                  <a:solidFill>
                    <a:srgbClr val="99CEBB">
                      <a:lumMod val="75000"/>
                    </a:srgbClr>
                  </a:solidFill>
                  <a:effectLst/>
                  <a:uLnTx/>
                  <a:uFillTx/>
                  <a:latin typeface="Arial"/>
                  <a:ea typeface="+mn-ea"/>
                  <a:cs typeface="+mn-cs"/>
                </a:rPr>
                <a:t>Level 3 – Agentic Systems</a:t>
              </a:r>
            </a:p>
          </p:txBody>
        </p:sp>
      </p:grpSp>
    </p:spTree>
    <p:extLst>
      <p:ext uri="{BB962C8B-B14F-4D97-AF65-F5344CB8AC3E}">
        <p14:creationId xmlns:p14="http://schemas.microsoft.com/office/powerpoint/2010/main" val="40155470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F1FE19-9B69-AEC1-137B-54B9EA4D9AA1}"/>
              </a:ext>
            </a:extLst>
          </p:cNvPr>
          <p:cNvSpPr>
            <a:spLocks noGrp="1"/>
          </p:cNvSpPr>
          <p:nvPr>
            <p:ph type="title"/>
          </p:nvPr>
        </p:nvSpPr>
        <p:spPr/>
        <p:txBody>
          <a:bodyPr/>
          <a:lstStyle/>
          <a:p>
            <a:r>
              <a:rPr lang="en-US" dirty="0"/>
              <a:t>Glimpse of Tomorrow</a:t>
            </a:r>
          </a:p>
        </p:txBody>
      </p:sp>
      <p:sp>
        <p:nvSpPr>
          <p:cNvPr id="3" name="Text Placeholder 2">
            <a:extLst>
              <a:ext uri="{FF2B5EF4-FFF2-40B4-BE49-F238E27FC236}">
                <a16:creationId xmlns:a16="http://schemas.microsoft.com/office/drawing/2014/main" id="{5FD849CD-37EF-40AC-E20B-8FF4D77E90D3}"/>
              </a:ext>
            </a:extLst>
          </p:cNvPr>
          <p:cNvSpPr>
            <a:spLocks noGrp="1"/>
          </p:cNvSpPr>
          <p:nvPr>
            <p:ph type="body" sz="quarter" idx="10"/>
          </p:nvPr>
        </p:nvSpPr>
        <p:spPr>
          <a:xfrm>
            <a:off x="596900" y="6127989"/>
            <a:ext cx="11595100" cy="400111"/>
          </a:xfrm>
        </p:spPr>
        <p:txBody>
          <a:bodyPr/>
          <a:lstStyle/>
          <a:p>
            <a:pPr marL="0" indent="0">
              <a:buNone/>
            </a:pPr>
            <a:r>
              <a:rPr lang="en-US" sz="1800" dirty="0"/>
              <a:t>Level 4 and Level 5 autonomy will fundamentally transform how agents work with tools, learn, and collaborate.</a:t>
            </a:r>
          </a:p>
          <a:p>
            <a:br>
              <a:rPr lang="en-US" sz="1800" dirty="0"/>
            </a:br>
            <a:endParaRPr lang="en-US" sz="1800" dirty="0"/>
          </a:p>
          <a:p>
            <a:endParaRPr lang="en-US" sz="1800" dirty="0"/>
          </a:p>
        </p:txBody>
      </p:sp>
      <p:grpSp>
        <p:nvGrpSpPr>
          <p:cNvPr id="19" name="Group 18">
            <a:extLst>
              <a:ext uri="{FF2B5EF4-FFF2-40B4-BE49-F238E27FC236}">
                <a16:creationId xmlns:a16="http://schemas.microsoft.com/office/drawing/2014/main" id="{00B7A3E1-D047-D01F-C6D0-B47E3330D184}"/>
              </a:ext>
            </a:extLst>
          </p:cNvPr>
          <p:cNvGrpSpPr>
            <a:grpSpLocks noChangeAspect="1"/>
          </p:cNvGrpSpPr>
          <p:nvPr/>
        </p:nvGrpSpPr>
        <p:grpSpPr>
          <a:xfrm>
            <a:off x="3901440" y="1252113"/>
            <a:ext cx="4389120" cy="4389120"/>
            <a:chOff x="4267200" y="1600200"/>
            <a:chExt cx="3657600" cy="3657600"/>
          </a:xfrm>
        </p:grpSpPr>
        <p:sp>
          <p:nvSpPr>
            <p:cNvPr id="4" name="Oval 3">
              <a:extLst>
                <a:ext uri="{FF2B5EF4-FFF2-40B4-BE49-F238E27FC236}">
                  <a16:creationId xmlns:a16="http://schemas.microsoft.com/office/drawing/2014/main" id="{E591DD57-DEC0-B636-C415-5D2E06F9F438}"/>
                </a:ext>
              </a:extLst>
            </p:cNvPr>
            <p:cNvSpPr/>
            <p:nvPr/>
          </p:nvSpPr>
          <p:spPr>
            <a:xfrm>
              <a:off x="4267200" y="1600200"/>
              <a:ext cx="3657600" cy="3657600"/>
            </a:xfrm>
            <a:prstGeom prst="ellipse">
              <a:avLst/>
            </a:prstGeom>
            <a:solidFill>
              <a:schemeClr val="bg2">
                <a:alpha val="60000"/>
              </a:schemeClr>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5" name="Group 4">
              <a:extLst>
                <a:ext uri="{FF2B5EF4-FFF2-40B4-BE49-F238E27FC236}">
                  <a16:creationId xmlns:a16="http://schemas.microsoft.com/office/drawing/2014/main" id="{C462BE92-153E-7314-95F9-83DEF4A22D31}"/>
                </a:ext>
              </a:extLst>
            </p:cNvPr>
            <p:cNvGrpSpPr/>
            <p:nvPr/>
          </p:nvGrpSpPr>
          <p:grpSpPr>
            <a:xfrm>
              <a:off x="4267200" y="1600200"/>
              <a:ext cx="3657600" cy="3657600"/>
              <a:chOff x="3519416" y="856143"/>
              <a:chExt cx="5153167" cy="5153167"/>
            </a:xfrm>
          </p:grpSpPr>
          <p:sp>
            <p:nvSpPr>
              <p:cNvPr id="6" name="Arc 5">
                <a:extLst>
                  <a:ext uri="{FF2B5EF4-FFF2-40B4-BE49-F238E27FC236}">
                    <a16:creationId xmlns:a16="http://schemas.microsoft.com/office/drawing/2014/main" id="{C04C1B29-C7C4-7D5A-AA12-98B95D1225AF}"/>
                  </a:ext>
                </a:extLst>
              </p:cNvPr>
              <p:cNvSpPr/>
              <p:nvPr/>
            </p:nvSpPr>
            <p:spPr>
              <a:xfrm>
                <a:off x="3519416" y="856143"/>
                <a:ext cx="5153167" cy="5153167"/>
              </a:xfrm>
              <a:prstGeom prst="arc">
                <a:avLst>
                  <a:gd name="adj1" fmla="val 16822344"/>
                  <a:gd name="adj2" fmla="val 1218221"/>
                </a:avLst>
              </a:prstGeom>
              <a:noFill/>
              <a:ln w="241300" cap="rnd">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sp>
            <p:nvSpPr>
              <p:cNvPr id="7" name="Arc 6">
                <a:extLst>
                  <a:ext uri="{FF2B5EF4-FFF2-40B4-BE49-F238E27FC236}">
                    <a16:creationId xmlns:a16="http://schemas.microsoft.com/office/drawing/2014/main" id="{6AD490E1-11C5-8B5F-9A12-365E7CD8B847}"/>
                  </a:ext>
                </a:extLst>
              </p:cNvPr>
              <p:cNvSpPr/>
              <p:nvPr/>
            </p:nvSpPr>
            <p:spPr>
              <a:xfrm>
                <a:off x="3519416" y="856143"/>
                <a:ext cx="5153167" cy="5153167"/>
              </a:xfrm>
              <a:prstGeom prst="arc">
                <a:avLst>
                  <a:gd name="adj1" fmla="val 9606450"/>
                  <a:gd name="adj2" fmla="val 15567457"/>
                </a:avLst>
              </a:prstGeom>
              <a:noFill/>
              <a:ln w="241300" cap="rnd">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sp>
            <p:nvSpPr>
              <p:cNvPr id="8" name="Arc 7">
                <a:extLst>
                  <a:ext uri="{FF2B5EF4-FFF2-40B4-BE49-F238E27FC236}">
                    <a16:creationId xmlns:a16="http://schemas.microsoft.com/office/drawing/2014/main" id="{FB8E3814-6A38-71F5-0CE2-422E476306FA}"/>
                  </a:ext>
                </a:extLst>
              </p:cNvPr>
              <p:cNvSpPr/>
              <p:nvPr/>
            </p:nvSpPr>
            <p:spPr>
              <a:xfrm>
                <a:off x="3519416" y="856143"/>
                <a:ext cx="5153167" cy="5153167"/>
              </a:xfrm>
              <a:prstGeom prst="arc">
                <a:avLst>
                  <a:gd name="adj1" fmla="val 2389659"/>
                  <a:gd name="adj2" fmla="val 8403645"/>
                </a:avLst>
              </a:prstGeom>
              <a:noFill/>
              <a:ln w="241300" cap="rnd">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grpSp>
        <p:sp>
          <p:nvSpPr>
            <p:cNvPr id="9" name="Oval 8">
              <a:extLst>
                <a:ext uri="{FF2B5EF4-FFF2-40B4-BE49-F238E27FC236}">
                  <a16:creationId xmlns:a16="http://schemas.microsoft.com/office/drawing/2014/main" id="{16CBB660-D30F-34B8-9173-6264E14FB6A1}"/>
                </a:ext>
              </a:extLst>
            </p:cNvPr>
            <p:cNvSpPr>
              <a:spLocks noChangeAspect="1"/>
            </p:cNvSpPr>
            <p:nvPr/>
          </p:nvSpPr>
          <p:spPr>
            <a:xfrm>
              <a:off x="4955745" y="2339256"/>
              <a:ext cx="2280511" cy="2280511"/>
            </a:xfrm>
            <a:prstGeom prst="ellipse">
              <a:avLst/>
            </a:prstGeom>
            <a:gradFill>
              <a:gsLst>
                <a:gs pos="0">
                  <a:schemeClr val="bg1"/>
                </a:gs>
                <a:gs pos="50000">
                  <a:schemeClr val="bg1">
                    <a:lumMod val="95000"/>
                  </a:schemeClr>
                </a:gs>
                <a:gs pos="100000">
                  <a:schemeClr val="bg1">
                    <a:lumMod val="85000"/>
                  </a:schemeClr>
                </a:gs>
              </a:gsLst>
            </a:gradFill>
            <a:ln>
              <a:solidFill>
                <a:schemeClr val="bg2"/>
              </a:solidFill>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2000" cap="all" noProof="1">
                  <a:solidFill>
                    <a:schemeClr val="tx1">
                      <a:lumMod val="75000"/>
                      <a:lumOff val="25000"/>
                    </a:schemeClr>
                  </a:solidFill>
                </a:rPr>
                <a:t>Tomorrows Agents</a:t>
              </a:r>
            </a:p>
          </p:txBody>
        </p:sp>
      </p:grpSp>
      <p:grpSp>
        <p:nvGrpSpPr>
          <p:cNvPr id="10" name="Group 9">
            <a:extLst>
              <a:ext uri="{FF2B5EF4-FFF2-40B4-BE49-F238E27FC236}">
                <a16:creationId xmlns:a16="http://schemas.microsoft.com/office/drawing/2014/main" id="{29B7DEC4-409A-1FFE-CEF7-74FEAFC5BD81}"/>
              </a:ext>
            </a:extLst>
          </p:cNvPr>
          <p:cNvGrpSpPr/>
          <p:nvPr/>
        </p:nvGrpSpPr>
        <p:grpSpPr>
          <a:xfrm>
            <a:off x="8708405" y="2537703"/>
            <a:ext cx="2926080" cy="3013701"/>
            <a:chOff x="8921977" y="1220504"/>
            <a:chExt cx="2926080" cy="3013701"/>
          </a:xfrm>
        </p:grpSpPr>
        <p:sp>
          <p:nvSpPr>
            <p:cNvPr id="11" name="TextBox 10">
              <a:extLst>
                <a:ext uri="{FF2B5EF4-FFF2-40B4-BE49-F238E27FC236}">
                  <a16:creationId xmlns:a16="http://schemas.microsoft.com/office/drawing/2014/main" id="{F1183EF9-2589-B700-A181-689AA91A1D62}"/>
                </a:ext>
              </a:extLst>
            </p:cNvPr>
            <p:cNvSpPr txBox="1"/>
            <p:nvPr/>
          </p:nvSpPr>
          <p:spPr>
            <a:xfrm>
              <a:off x="8921977" y="1220504"/>
              <a:ext cx="2926080" cy="707886"/>
            </a:xfrm>
            <a:prstGeom prst="rect">
              <a:avLst/>
            </a:prstGeom>
            <a:solidFill>
              <a:schemeClr val="accent1"/>
            </a:solidFill>
          </p:spPr>
          <p:txBody>
            <a:bodyPr wrap="square" lIns="0" rIns="0" rtlCol="0" anchor="b">
              <a:spAutoFit/>
            </a:bodyPr>
            <a:lstStyle/>
            <a:p>
              <a:pPr algn="ctr"/>
              <a:r>
                <a:rPr lang="en-US" sz="2000" b="1" cap="all" noProof="1">
                  <a:solidFill>
                    <a:schemeClr val="bg1"/>
                  </a:solidFill>
                </a:rPr>
                <a:t>Strategic Awareness</a:t>
              </a:r>
            </a:p>
          </p:txBody>
        </p:sp>
        <p:sp>
          <p:nvSpPr>
            <p:cNvPr id="12" name="TextBox 11">
              <a:extLst>
                <a:ext uri="{FF2B5EF4-FFF2-40B4-BE49-F238E27FC236}">
                  <a16:creationId xmlns:a16="http://schemas.microsoft.com/office/drawing/2014/main" id="{E46B1DA7-67EB-8D33-B458-52D9ED583FF4}"/>
                </a:ext>
              </a:extLst>
            </p:cNvPr>
            <p:cNvSpPr txBox="1"/>
            <p:nvPr/>
          </p:nvSpPr>
          <p:spPr>
            <a:xfrm>
              <a:off x="8921977" y="1925881"/>
              <a:ext cx="2926080" cy="2308324"/>
            </a:xfrm>
            <a:prstGeom prst="rect">
              <a:avLst/>
            </a:prstGeom>
            <a:noFill/>
          </p:spPr>
          <p:txBody>
            <a:bodyPr wrap="square" lIns="0" rIns="0" rtlCol="0" anchor="t">
              <a:spAutoFit/>
            </a:bodyPr>
            <a:lstStyle/>
            <a:p>
              <a:r>
                <a:rPr lang="en-US" sz="1600" noProof="1">
                  <a:solidFill>
                    <a:schemeClr val="tx1">
                      <a:lumMod val="65000"/>
                      <a:lumOff val="35000"/>
                    </a:schemeClr>
                  </a:solidFill>
                </a:rPr>
                <a:t>Agents will understand the broader implications of their actions and make decisions that account for long term consequences. Beyond RL on a finite set of actions, we’re considering actions that do not exist and tools that may or may not exist!</a:t>
              </a:r>
            </a:p>
          </p:txBody>
        </p:sp>
      </p:grpSp>
      <p:grpSp>
        <p:nvGrpSpPr>
          <p:cNvPr id="13" name="Group 12">
            <a:extLst>
              <a:ext uri="{FF2B5EF4-FFF2-40B4-BE49-F238E27FC236}">
                <a16:creationId xmlns:a16="http://schemas.microsoft.com/office/drawing/2014/main" id="{2D6F17EC-2F26-08BD-0929-D1C636DDFBFE}"/>
              </a:ext>
            </a:extLst>
          </p:cNvPr>
          <p:cNvGrpSpPr/>
          <p:nvPr/>
        </p:nvGrpSpPr>
        <p:grpSpPr>
          <a:xfrm>
            <a:off x="557515" y="3721426"/>
            <a:ext cx="2926080" cy="2028816"/>
            <a:chOff x="332936" y="2381545"/>
            <a:chExt cx="2926080" cy="2028816"/>
          </a:xfrm>
        </p:grpSpPr>
        <p:sp>
          <p:nvSpPr>
            <p:cNvPr id="14" name="TextBox 13">
              <a:extLst>
                <a:ext uri="{FF2B5EF4-FFF2-40B4-BE49-F238E27FC236}">
                  <a16:creationId xmlns:a16="http://schemas.microsoft.com/office/drawing/2014/main" id="{C684E70A-75F1-F998-91FB-3108AA13C5BC}"/>
                </a:ext>
              </a:extLst>
            </p:cNvPr>
            <p:cNvSpPr txBox="1"/>
            <p:nvPr/>
          </p:nvSpPr>
          <p:spPr>
            <a:xfrm>
              <a:off x="332936" y="2381545"/>
              <a:ext cx="2926080" cy="707886"/>
            </a:xfrm>
            <a:prstGeom prst="rect">
              <a:avLst/>
            </a:prstGeom>
            <a:solidFill>
              <a:schemeClr val="accent6"/>
            </a:solidFill>
          </p:spPr>
          <p:txBody>
            <a:bodyPr wrap="square" lIns="0" rIns="0" rtlCol="0" anchor="b">
              <a:spAutoFit/>
            </a:bodyPr>
            <a:lstStyle/>
            <a:p>
              <a:pPr algn="ctr"/>
              <a:r>
                <a:rPr lang="en-US" sz="2000" b="1" cap="all" noProof="1">
                  <a:solidFill>
                    <a:schemeClr val="tx1">
                      <a:lumMod val="85000"/>
                      <a:lumOff val="15000"/>
                    </a:schemeClr>
                  </a:solidFill>
                </a:rPr>
                <a:t>Improved Flexibility</a:t>
              </a:r>
            </a:p>
          </p:txBody>
        </p:sp>
        <p:sp>
          <p:nvSpPr>
            <p:cNvPr id="15" name="TextBox 14">
              <a:extLst>
                <a:ext uri="{FF2B5EF4-FFF2-40B4-BE49-F238E27FC236}">
                  <a16:creationId xmlns:a16="http://schemas.microsoft.com/office/drawing/2014/main" id="{4D77E5C3-FF0F-1CD7-5126-4C4359196FB0}"/>
                </a:ext>
              </a:extLst>
            </p:cNvPr>
            <p:cNvSpPr txBox="1"/>
            <p:nvPr/>
          </p:nvSpPr>
          <p:spPr>
            <a:xfrm>
              <a:off x="332936" y="3086922"/>
              <a:ext cx="2926080" cy="1323439"/>
            </a:xfrm>
            <a:prstGeom prst="rect">
              <a:avLst/>
            </a:prstGeom>
            <a:noFill/>
          </p:spPr>
          <p:txBody>
            <a:bodyPr wrap="square" lIns="0" rIns="0" rtlCol="0" anchor="t">
              <a:spAutoFit/>
            </a:bodyPr>
            <a:lstStyle/>
            <a:p>
              <a:r>
                <a:rPr lang="en-US" sz="1600" noProof="1">
                  <a:solidFill>
                    <a:schemeClr val="tx1">
                      <a:lumMod val="65000"/>
                      <a:lumOff val="35000"/>
                    </a:schemeClr>
                  </a:solidFill>
                </a:rPr>
                <a:t>Agents will see tool use like humans do, innovatively, and creatively. Agents will use or modify tools to achieve their goals.</a:t>
              </a:r>
            </a:p>
          </p:txBody>
        </p:sp>
      </p:grpSp>
      <p:grpSp>
        <p:nvGrpSpPr>
          <p:cNvPr id="16" name="Group 15">
            <a:extLst>
              <a:ext uri="{FF2B5EF4-FFF2-40B4-BE49-F238E27FC236}">
                <a16:creationId xmlns:a16="http://schemas.microsoft.com/office/drawing/2014/main" id="{690CAFDD-FD90-8BE9-D2C5-AB66FE305A90}"/>
              </a:ext>
            </a:extLst>
          </p:cNvPr>
          <p:cNvGrpSpPr/>
          <p:nvPr/>
        </p:nvGrpSpPr>
        <p:grpSpPr>
          <a:xfrm>
            <a:off x="557515" y="1661755"/>
            <a:ext cx="2926080" cy="1721040"/>
            <a:chOff x="332936" y="2689321"/>
            <a:chExt cx="2926080" cy="1721040"/>
          </a:xfrm>
        </p:grpSpPr>
        <p:sp>
          <p:nvSpPr>
            <p:cNvPr id="17" name="TextBox 16">
              <a:extLst>
                <a:ext uri="{FF2B5EF4-FFF2-40B4-BE49-F238E27FC236}">
                  <a16:creationId xmlns:a16="http://schemas.microsoft.com/office/drawing/2014/main" id="{20C9B058-5C59-576A-8E9C-8AAE5E53D158}"/>
                </a:ext>
              </a:extLst>
            </p:cNvPr>
            <p:cNvSpPr txBox="1"/>
            <p:nvPr/>
          </p:nvSpPr>
          <p:spPr>
            <a:xfrm>
              <a:off x="332936" y="2689321"/>
              <a:ext cx="2926080" cy="400110"/>
            </a:xfrm>
            <a:prstGeom prst="rect">
              <a:avLst/>
            </a:prstGeom>
            <a:solidFill>
              <a:schemeClr val="accent5"/>
            </a:solidFill>
          </p:spPr>
          <p:txBody>
            <a:bodyPr wrap="square" lIns="0" rIns="0" rtlCol="0" anchor="b">
              <a:spAutoFit/>
            </a:bodyPr>
            <a:lstStyle/>
            <a:p>
              <a:pPr algn="ctr"/>
              <a:r>
                <a:rPr lang="en-US" sz="2000" b="1" cap="all" noProof="1">
                  <a:solidFill>
                    <a:schemeClr val="bg1"/>
                  </a:solidFill>
                </a:rPr>
                <a:t>Meta-Learning</a:t>
              </a:r>
              <a:endParaRPr lang="en-US" sz="2800" b="1" cap="all" noProof="1">
                <a:solidFill>
                  <a:schemeClr val="bg1"/>
                </a:solidFill>
              </a:endParaRPr>
            </a:p>
          </p:txBody>
        </p:sp>
        <p:sp>
          <p:nvSpPr>
            <p:cNvPr id="18" name="TextBox 17">
              <a:extLst>
                <a:ext uri="{FF2B5EF4-FFF2-40B4-BE49-F238E27FC236}">
                  <a16:creationId xmlns:a16="http://schemas.microsoft.com/office/drawing/2014/main" id="{A611C08A-53E4-9845-28F9-2C945F3C5C98}"/>
                </a:ext>
              </a:extLst>
            </p:cNvPr>
            <p:cNvSpPr txBox="1"/>
            <p:nvPr/>
          </p:nvSpPr>
          <p:spPr>
            <a:xfrm>
              <a:off x="332936" y="3086922"/>
              <a:ext cx="2926080" cy="1323439"/>
            </a:xfrm>
            <a:prstGeom prst="rect">
              <a:avLst/>
            </a:prstGeom>
            <a:noFill/>
          </p:spPr>
          <p:txBody>
            <a:bodyPr wrap="square" lIns="0" rIns="0" rtlCol="0" anchor="t">
              <a:spAutoFit/>
            </a:bodyPr>
            <a:lstStyle/>
            <a:p>
              <a:r>
                <a:rPr lang="en-US" sz="1600" noProof="1">
                  <a:solidFill>
                    <a:schemeClr val="tx1">
                      <a:lumMod val="65000"/>
                      <a:lumOff val="35000"/>
                    </a:schemeClr>
                  </a:solidFill>
                </a:rPr>
                <a:t>Agents will learn how to learn more effectively. Agents will move from predefined rules to guidelines and strategies with self adaptation.</a:t>
              </a:r>
            </a:p>
          </p:txBody>
        </p:sp>
      </p:grpSp>
      <p:sp>
        <p:nvSpPr>
          <p:cNvPr id="20" name="TextBox 19">
            <a:extLst>
              <a:ext uri="{FF2B5EF4-FFF2-40B4-BE49-F238E27FC236}">
                <a16:creationId xmlns:a16="http://schemas.microsoft.com/office/drawing/2014/main" id="{33B01068-B981-149A-C1B6-649C6CFED6DC}"/>
              </a:ext>
            </a:extLst>
          </p:cNvPr>
          <p:cNvSpPr txBox="1"/>
          <p:nvPr/>
        </p:nvSpPr>
        <p:spPr>
          <a:xfrm>
            <a:off x="4055819" y="6550223"/>
            <a:ext cx="2686441" cy="307777"/>
          </a:xfrm>
          <a:prstGeom prst="rect">
            <a:avLst/>
          </a:prstGeom>
          <a:noFill/>
        </p:spPr>
        <p:txBody>
          <a:bodyPr wrap="none" rtlCol="0">
            <a:spAutoFit/>
          </a:bodyPr>
          <a:lstStyle/>
          <a:p>
            <a:r>
              <a:rPr lang="en-US" sz="1400" dirty="0"/>
              <a:t>https://</a:t>
            </a:r>
            <a:r>
              <a:rPr lang="en-US" sz="1400" dirty="0" err="1"/>
              <a:t>arxiv.org</a:t>
            </a:r>
            <a:r>
              <a:rPr lang="en-US" sz="1400" dirty="0"/>
              <a:t>/pdf/1703.03400</a:t>
            </a:r>
          </a:p>
        </p:txBody>
      </p:sp>
    </p:spTree>
    <p:extLst>
      <p:ext uri="{BB962C8B-B14F-4D97-AF65-F5344CB8AC3E}">
        <p14:creationId xmlns:p14="http://schemas.microsoft.com/office/powerpoint/2010/main" val="243737720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0A82AB-90F1-1AE1-8219-774B7D3EC21B}"/>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50A809C4-1B91-32F6-C6EF-EF81305BEA09}"/>
              </a:ext>
            </a:extLst>
          </p:cNvPr>
          <p:cNvSpPr/>
          <p:nvPr/>
        </p:nvSpPr>
        <p:spPr>
          <a:xfrm>
            <a:off x="0" y="0"/>
            <a:ext cx="12192000" cy="6858000"/>
          </a:xfrm>
          <a:prstGeom prst="rect">
            <a:avLst/>
          </a:prstGeom>
          <a:solidFill>
            <a:srgbClr val="EFEA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266" name="Picture 2">
            <a:extLst>
              <a:ext uri="{FF2B5EF4-FFF2-40B4-BE49-F238E27FC236}">
                <a16:creationId xmlns:a16="http://schemas.microsoft.com/office/drawing/2014/main" id="{2DC83326-021A-CA21-5152-14213EBB644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119" b="9452"/>
          <a:stretch>
            <a:fillRect/>
          </a:stretch>
        </p:blipFill>
        <p:spPr bwMode="auto">
          <a:xfrm>
            <a:off x="94835" y="92279"/>
            <a:ext cx="12002330" cy="6672853"/>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D8E23A35-500A-CD2B-8E00-DEAA0F1EA030}"/>
              </a:ext>
            </a:extLst>
          </p:cNvPr>
          <p:cNvSpPr/>
          <p:nvPr/>
        </p:nvSpPr>
        <p:spPr>
          <a:xfrm>
            <a:off x="8219090" y="2557726"/>
            <a:ext cx="3233866" cy="13698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6600" b="1">
                <a:solidFill>
                  <a:srgbClr val="E0D9CE"/>
                </a:solidFill>
                <a:latin typeface="Graphik" panose="020B0503030202060203" pitchFamily="34" charset="0"/>
              </a:rPr>
              <a:t>Break</a:t>
            </a:r>
          </a:p>
        </p:txBody>
      </p:sp>
      <p:sp>
        <p:nvSpPr>
          <p:cNvPr id="12" name="Rectangle 11">
            <a:extLst>
              <a:ext uri="{FF2B5EF4-FFF2-40B4-BE49-F238E27FC236}">
                <a16:creationId xmlns:a16="http://schemas.microsoft.com/office/drawing/2014/main" id="{D9E51140-978E-6A12-DA28-A321BC242082}"/>
              </a:ext>
            </a:extLst>
          </p:cNvPr>
          <p:cNvSpPr/>
          <p:nvPr/>
        </p:nvSpPr>
        <p:spPr>
          <a:xfrm>
            <a:off x="8214930" y="5384833"/>
            <a:ext cx="3882235" cy="588578"/>
          </a:xfrm>
          <a:prstGeom prst="rect">
            <a:avLst/>
          </a:prstGeom>
          <a:solidFill>
            <a:srgbClr val="00CBA2"/>
          </a:solidFill>
          <a:ln w="28575">
            <a:solidFill>
              <a:srgbClr val="EFEA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EFEAE5"/>
                </a:solidFill>
                <a:latin typeface="Graphik" panose="020B0503030202060203" pitchFamily="34" charset="0"/>
              </a:rPr>
              <a:t>15 minutes</a:t>
            </a:r>
          </a:p>
        </p:txBody>
      </p:sp>
    </p:spTree>
    <p:extLst>
      <p:ext uri="{BB962C8B-B14F-4D97-AF65-F5344CB8AC3E}">
        <p14:creationId xmlns:p14="http://schemas.microsoft.com/office/powerpoint/2010/main" val="404734617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63BD6A-581D-6996-E1A5-E688827A40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D9449CB-A7D6-0962-95DC-91A17171B9C0}"/>
              </a:ext>
            </a:extLst>
          </p:cNvPr>
          <p:cNvSpPr>
            <a:spLocks noGrp="1"/>
          </p:cNvSpPr>
          <p:nvPr>
            <p:ph type="title"/>
          </p:nvPr>
        </p:nvSpPr>
        <p:spPr/>
        <p:txBody>
          <a:bodyPr/>
          <a:lstStyle/>
          <a:p>
            <a:r>
              <a:rPr lang="en-US" dirty="0"/>
              <a:t>You’re Agentic Learning Journey</a:t>
            </a:r>
          </a:p>
        </p:txBody>
      </p:sp>
      <p:sp>
        <p:nvSpPr>
          <p:cNvPr id="5" name="Freeform 4">
            <a:extLst>
              <a:ext uri="{FF2B5EF4-FFF2-40B4-BE49-F238E27FC236}">
                <a16:creationId xmlns:a16="http://schemas.microsoft.com/office/drawing/2014/main" id="{B8AB3111-2945-4952-CB2D-F3D5F845CCEF}"/>
              </a:ext>
            </a:extLst>
          </p:cNvPr>
          <p:cNvSpPr/>
          <p:nvPr/>
        </p:nvSpPr>
        <p:spPr>
          <a:xfrm>
            <a:off x="3595950" y="1389352"/>
            <a:ext cx="5029237" cy="4937131"/>
          </a:xfrm>
          <a:custGeom>
            <a:avLst/>
            <a:gdLst>
              <a:gd name="connsiteX0" fmla="*/ 1318709 w 4317960"/>
              <a:gd name="connsiteY0" fmla="*/ 43160 h 4238882"/>
              <a:gd name="connsiteX1" fmla="*/ 1218800 w 4317960"/>
              <a:gd name="connsiteY1" fmla="*/ 135053 h 4238882"/>
              <a:gd name="connsiteX2" fmla="*/ 1151113 w 4317960"/>
              <a:gd name="connsiteY2" fmla="*/ 77433 h 4238882"/>
              <a:gd name="connsiteX3" fmla="*/ 1026178 w 4317960"/>
              <a:gd name="connsiteY3" fmla="*/ 145985 h 4238882"/>
              <a:gd name="connsiteX4" fmla="*/ 2012889 w 4317960"/>
              <a:gd name="connsiteY4" fmla="*/ 343557 h 4238882"/>
              <a:gd name="connsiteX5" fmla="*/ 2775064 w 4317960"/>
              <a:gd name="connsiteY5" fmla="*/ 473673 h 4238882"/>
              <a:gd name="connsiteX6" fmla="*/ 1953109 w 4317960"/>
              <a:gd name="connsiteY6" fmla="*/ 612428 h 4238882"/>
              <a:gd name="connsiteX7" fmla="*/ 1132833 w 4317960"/>
              <a:gd name="connsiteY7" fmla="*/ 686619 h 4238882"/>
              <a:gd name="connsiteX8" fmla="*/ 930933 w 4317960"/>
              <a:gd name="connsiteY8" fmla="*/ 909897 h 4238882"/>
              <a:gd name="connsiteX9" fmla="*/ 805011 w 4317960"/>
              <a:gd name="connsiteY9" fmla="*/ 795696 h 4238882"/>
              <a:gd name="connsiteX10" fmla="*/ 717971 w 4317960"/>
              <a:gd name="connsiteY10" fmla="*/ 902498 h 4238882"/>
              <a:gd name="connsiteX11" fmla="*/ 1942554 w 4317960"/>
              <a:gd name="connsiteY11" fmla="*/ 1264922 h 4238882"/>
              <a:gd name="connsiteX12" fmla="*/ 2990388 w 4317960"/>
              <a:gd name="connsiteY12" fmla="*/ 1487635 h 4238882"/>
              <a:gd name="connsiteX13" fmla="*/ 1953109 w 4317960"/>
              <a:gd name="connsiteY13" fmla="*/ 1745276 h 4238882"/>
              <a:gd name="connsiteX14" fmla="*/ 637372 w 4317960"/>
              <a:gd name="connsiteY14" fmla="*/ 1903219 h 4238882"/>
              <a:gd name="connsiteX15" fmla="*/ 681439 w 4317960"/>
              <a:gd name="connsiteY15" fmla="*/ 2073578 h 4238882"/>
              <a:gd name="connsiteX16" fmla="*/ 681450 w 4317960"/>
              <a:gd name="connsiteY16" fmla="*/ 2073578 h 4238882"/>
              <a:gd name="connsiteX17" fmla="*/ 336010 w 4317960"/>
              <a:gd name="connsiteY17" fmla="*/ 2569928 h 4238882"/>
              <a:gd name="connsiteX18" fmla="*/ 37690 w 4317960"/>
              <a:gd name="connsiteY18" fmla="*/ 2245809 h 4238882"/>
              <a:gd name="connsiteX19" fmla="*/ 6941 w 4317960"/>
              <a:gd name="connsiteY19" fmla="*/ 2333772 h 4238882"/>
              <a:gd name="connsiteX20" fmla="*/ 1895056 w 4317960"/>
              <a:gd name="connsiteY20" fmla="*/ 3165802 h 4238882"/>
              <a:gd name="connsiteX21" fmla="*/ 3418638 w 4317960"/>
              <a:gd name="connsiteY21" fmla="*/ 3684634 h 4238882"/>
              <a:gd name="connsiteX22" fmla="*/ 2754088 w 4317960"/>
              <a:gd name="connsiteY22" fmla="*/ 4239065 h 4238882"/>
              <a:gd name="connsiteX23" fmla="*/ 4127212 w 4317960"/>
              <a:gd name="connsiteY23" fmla="*/ 4239065 h 4238882"/>
              <a:gd name="connsiteX24" fmla="*/ 4306236 w 4317960"/>
              <a:gd name="connsiteY24" fmla="*/ 3665155 h 4238882"/>
              <a:gd name="connsiteX25" fmla="*/ 4142719 w 4317960"/>
              <a:gd name="connsiteY25" fmla="*/ 3328504 h 4238882"/>
              <a:gd name="connsiteX26" fmla="*/ 3886364 w 4317960"/>
              <a:gd name="connsiteY26" fmla="*/ 3567856 h 4238882"/>
              <a:gd name="connsiteX27" fmla="*/ 3483351 w 4317960"/>
              <a:gd name="connsiteY27" fmla="*/ 2992545 h 4238882"/>
              <a:gd name="connsiteX28" fmla="*/ 3483360 w 4317960"/>
              <a:gd name="connsiteY28" fmla="*/ 2992545 h 4238882"/>
              <a:gd name="connsiteX29" fmla="*/ 3485577 w 4317960"/>
              <a:gd name="connsiteY29" fmla="*/ 2949998 h 4238882"/>
              <a:gd name="connsiteX30" fmla="*/ 1911656 w 4317960"/>
              <a:gd name="connsiteY30" fmla="*/ 2719513 h 4238882"/>
              <a:gd name="connsiteX31" fmla="*/ 672968 w 4317960"/>
              <a:gd name="connsiteY31" fmla="*/ 2352675 h 4238882"/>
              <a:gd name="connsiteX32" fmla="*/ 1942554 w 4317960"/>
              <a:gd name="connsiteY32" fmla="*/ 1993993 h 4238882"/>
              <a:gd name="connsiteX33" fmla="*/ 3488302 w 4317960"/>
              <a:gd name="connsiteY33" fmla="*/ 1487443 h 4238882"/>
              <a:gd name="connsiteX34" fmla="*/ 3376552 w 4317960"/>
              <a:gd name="connsiteY34" fmla="*/ 1329798 h 4238882"/>
              <a:gd name="connsiteX35" fmla="*/ 3233866 w 4317960"/>
              <a:gd name="connsiteY35" fmla="*/ 1456834 h 4238882"/>
              <a:gd name="connsiteX36" fmla="*/ 2984075 w 4317960"/>
              <a:gd name="connsiteY36" fmla="*/ 1181950 h 4238882"/>
              <a:gd name="connsiteX37" fmla="*/ 1981416 w 4317960"/>
              <a:gd name="connsiteY37" fmla="*/ 1081743 h 4238882"/>
              <a:gd name="connsiteX38" fmla="*/ 1105534 w 4317960"/>
              <a:gd name="connsiteY38" fmla="*/ 902402 h 4238882"/>
              <a:gd name="connsiteX39" fmla="*/ 1996097 w 4317960"/>
              <a:gd name="connsiteY39" fmla="*/ 737359 h 4238882"/>
              <a:gd name="connsiteX40" fmla="*/ 3104192 w 4317960"/>
              <a:gd name="connsiteY40" fmla="*/ 473673 h 4238882"/>
              <a:gd name="connsiteX41" fmla="*/ 3033069 w 4317960"/>
              <a:gd name="connsiteY41" fmla="*/ 402960 h 4238882"/>
              <a:gd name="connsiteX42" fmla="*/ 2946000 w 4317960"/>
              <a:gd name="connsiteY42" fmla="*/ 480493 h 4238882"/>
              <a:gd name="connsiteX43" fmla="*/ 2803573 w 4317960"/>
              <a:gd name="connsiteY43" fmla="*/ 329767 h 4238882"/>
              <a:gd name="connsiteX44" fmla="*/ 2016632 w 4317960"/>
              <a:gd name="connsiteY44" fmla="*/ 256430 h 4238882"/>
              <a:gd name="connsiteX45" fmla="*/ 1357897 w 4317960"/>
              <a:gd name="connsiteY45" fmla="*/ 145985 h 4238882"/>
              <a:gd name="connsiteX46" fmla="*/ 2023377 w 4317960"/>
              <a:gd name="connsiteY46" fmla="*/ 182 h 4238882"/>
              <a:gd name="connsiteX47" fmla="*/ 1318709 w 4317960"/>
              <a:gd name="connsiteY47" fmla="*/ 43160 h 4238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317960" h="4238882">
                <a:moveTo>
                  <a:pt x="1318709" y="43160"/>
                </a:moveTo>
                <a:cubicBezTo>
                  <a:pt x="1271518" y="97957"/>
                  <a:pt x="1218800" y="135053"/>
                  <a:pt x="1218800" y="135053"/>
                </a:cubicBezTo>
                <a:cubicBezTo>
                  <a:pt x="1218800" y="135053"/>
                  <a:pt x="1187250" y="112853"/>
                  <a:pt x="1151113" y="77433"/>
                </a:cubicBezTo>
                <a:cubicBezTo>
                  <a:pt x="1082082" y="96990"/>
                  <a:pt x="1037847" y="119958"/>
                  <a:pt x="1026178" y="145985"/>
                </a:cubicBezTo>
                <a:cubicBezTo>
                  <a:pt x="981559" y="245491"/>
                  <a:pt x="1332085" y="317745"/>
                  <a:pt x="2012889" y="343557"/>
                </a:cubicBezTo>
                <a:cubicBezTo>
                  <a:pt x="2405540" y="358430"/>
                  <a:pt x="2756929" y="394126"/>
                  <a:pt x="2775064" y="473673"/>
                </a:cubicBezTo>
                <a:cubicBezTo>
                  <a:pt x="2794255" y="558114"/>
                  <a:pt x="2392010" y="599953"/>
                  <a:pt x="1953109" y="612428"/>
                </a:cubicBezTo>
                <a:cubicBezTo>
                  <a:pt x="1592758" y="622669"/>
                  <a:pt x="1325138" y="649212"/>
                  <a:pt x="1132833" y="686619"/>
                </a:cubicBezTo>
                <a:cubicBezTo>
                  <a:pt x="1071258" y="811157"/>
                  <a:pt x="930933" y="909897"/>
                  <a:pt x="930933" y="909897"/>
                </a:cubicBezTo>
                <a:cubicBezTo>
                  <a:pt x="930933" y="909897"/>
                  <a:pt x="865942" y="864164"/>
                  <a:pt x="805011" y="795696"/>
                </a:cubicBezTo>
                <a:cubicBezTo>
                  <a:pt x="751796" y="829066"/>
                  <a:pt x="724371" y="865162"/>
                  <a:pt x="717971" y="902498"/>
                </a:cubicBezTo>
                <a:cubicBezTo>
                  <a:pt x="693743" y="1043841"/>
                  <a:pt x="851827" y="1213682"/>
                  <a:pt x="1942554" y="1264922"/>
                </a:cubicBezTo>
                <a:cubicBezTo>
                  <a:pt x="2485470" y="1290427"/>
                  <a:pt x="2966879" y="1374504"/>
                  <a:pt x="2990388" y="1487635"/>
                </a:cubicBezTo>
                <a:cubicBezTo>
                  <a:pt x="3034048" y="1614393"/>
                  <a:pt x="2655791" y="1717958"/>
                  <a:pt x="1953109" y="1745276"/>
                </a:cubicBezTo>
                <a:cubicBezTo>
                  <a:pt x="1386204" y="1767317"/>
                  <a:pt x="951199" y="1821474"/>
                  <a:pt x="637372" y="1903219"/>
                </a:cubicBezTo>
                <a:cubicBezTo>
                  <a:pt x="665434" y="1953576"/>
                  <a:pt x="681439" y="2011687"/>
                  <a:pt x="681439" y="2073578"/>
                </a:cubicBezTo>
                <a:lnTo>
                  <a:pt x="681450" y="2073578"/>
                </a:lnTo>
                <a:cubicBezTo>
                  <a:pt x="681450" y="2328235"/>
                  <a:pt x="336010" y="2569928"/>
                  <a:pt x="336010" y="2569928"/>
                </a:cubicBezTo>
                <a:cubicBezTo>
                  <a:pt x="336010" y="2569928"/>
                  <a:pt x="132215" y="2427338"/>
                  <a:pt x="37690" y="2245809"/>
                </a:cubicBezTo>
                <a:cubicBezTo>
                  <a:pt x="22604" y="2274135"/>
                  <a:pt x="12388" y="2303469"/>
                  <a:pt x="6941" y="2333772"/>
                </a:cubicBezTo>
                <a:cubicBezTo>
                  <a:pt x="-71735" y="2771425"/>
                  <a:pt x="537516" y="3040100"/>
                  <a:pt x="1895056" y="3165802"/>
                </a:cubicBezTo>
                <a:cubicBezTo>
                  <a:pt x="2638606" y="3234650"/>
                  <a:pt x="3350509" y="3385540"/>
                  <a:pt x="3418638" y="3684634"/>
                </a:cubicBezTo>
                <a:cubicBezTo>
                  <a:pt x="3473035" y="3923486"/>
                  <a:pt x="3216978" y="4115752"/>
                  <a:pt x="2754088" y="4239065"/>
                </a:cubicBezTo>
                <a:lnTo>
                  <a:pt x="4127212" y="4239065"/>
                </a:lnTo>
                <a:cubicBezTo>
                  <a:pt x="4282382" y="4067381"/>
                  <a:pt x="4346979" y="3873417"/>
                  <a:pt x="4306236" y="3665155"/>
                </a:cubicBezTo>
                <a:cubicBezTo>
                  <a:pt x="4282132" y="3541986"/>
                  <a:pt x="4229875" y="3429584"/>
                  <a:pt x="4142719" y="3328504"/>
                </a:cubicBezTo>
                <a:cubicBezTo>
                  <a:pt x="4027486" y="3469761"/>
                  <a:pt x="3886364" y="3567856"/>
                  <a:pt x="3886364" y="3567856"/>
                </a:cubicBezTo>
                <a:cubicBezTo>
                  <a:pt x="3886364" y="3567856"/>
                  <a:pt x="3483351" y="3287723"/>
                  <a:pt x="3483351" y="2992545"/>
                </a:cubicBezTo>
                <a:lnTo>
                  <a:pt x="3483360" y="2992545"/>
                </a:lnTo>
                <a:cubicBezTo>
                  <a:pt x="3483360" y="2978180"/>
                  <a:pt x="3484108" y="2963979"/>
                  <a:pt x="3485577" y="2949998"/>
                </a:cubicBezTo>
                <a:cubicBezTo>
                  <a:pt x="3115937" y="2833537"/>
                  <a:pt x="2603908" y="2755631"/>
                  <a:pt x="1911656" y="2719513"/>
                </a:cubicBezTo>
                <a:cubicBezTo>
                  <a:pt x="1152168" y="2679883"/>
                  <a:pt x="643385" y="2538445"/>
                  <a:pt x="672968" y="2352675"/>
                </a:cubicBezTo>
                <a:cubicBezTo>
                  <a:pt x="702551" y="2166905"/>
                  <a:pt x="1105534" y="2046960"/>
                  <a:pt x="1942554" y="1993993"/>
                </a:cubicBezTo>
                <a:cubicBezTo>
                  <a:pt x="3104192" y="1920481"/>
                  <a:pt x="3530349" y="1745276"/>
                  <a:pt x="3488302" y="1487443"/>
                </a:cubicBezTo>
                <a:cubicBezTo>
                  <a:pt x="3479109" y="1431031"/>
                  <a:pt x="3444220" y="1377929"/>
                  <a:pt x="3376552" y="1329798"/>
                </a:cubicBezTo>
                <a:cubicBezTo>
                  <a:pt x="3305008" y="1406620"/>
                  <a:pt x="3233866" y="1456834"/>
                  <a:pt x="3233866" y="1456834"/>
                </a:cubicBezTo>
                <a:cubicBezTo>
                  <a:pt x="3233866" y="1456834"/>
                  <a:pt x="3062307" y="1335719"/>
                  <a:pt x="2984075" y="1181950"/>
                </a:cubicBezTo>
                <a:cubicBezTo>
                  <a:pt x="2750557" y="1131026"/>
                  <a:pt x="2424318" y="1095753"/>
                  <a:pt x="1981416" y="1081743"/>
                </a:cubicBezTo>
                <a:cubicBezTo>
                  <a:pt x="1298222" y="1060134"/>
                  <a:pt x="1076651" y="990490"/>
                  <a:pt x="1105534" y="902402"/>
                </a:cubicBezTo>
                <a:cubicBezTo>
                  <a:pt x="1134224" y="817866"/>
                  <a:pt x="1521981" y="755782"/>
                  <a:pt x="1996097" y="737359"/>
                </a:cubicBezTo>
                <a:cubicBezTo>
                  <a:pt x="2783508" y="706749"/>
                  <a:pt x="3150922" y="602253"/>
                  <a:pt x="3104192" y="473673"/>
                </a:cubicBezTo>
                <a:cubicBezTo>
                  <a:pt x="3094846" y="447955"/>
                  <a:pt x="3071384" y="424380"/>
                  <a:pt x="3033069" y="402960"/>
                </a:cubicBezTo>
                <a:cubicBezTo>
                  <a:pt x="2989650" y="449777"/>
                  <a:pt x="2946000" y="480493"/>
                  <a:pt x="2946000" y="480493"/>
                </a:cubicBezTo>
                <a:cubicBezTo>
                  <a:pt x="2946000" y="480493"/>
                  <a:pt x="2853105" y="415130"/>
                  <a:pt x="2803573" y="329767"/>
                </a:cubicBezTo>
                <a:cubicBezTo>
                  <a:pt x="2625450" y="294124"/>
                  <a:pt x="2366044" y="269628"/>
                  <a:pt x="2016632" y="256430"/>
                </a:cubicBezTo>
                <a:cubicBezTo>
                  <a:pt x="1617073" y="241365"/>
                  <a:pt x="1337458" y="211426"/>
                  <a:pt x="1357897" y="145985"/>
                </a:cubicBezTo>
                <a:cubicBezTo>
                  <a:pt x="1377328" y="83964"/>
                  <a:pt x="1675145" y="605"/>
                  <a:pt x="2023377" y="182"/>
                </a:cubicBezTo>
                <a:cubicBezTo>
                  <a:pt x="1753685" y="362"/>
                  <a:pt x="1502108" y="15444"/>
                  <a:pt x="1318709" y="43160"/>
                </a:cubicBezTo>
                <a:close/>
              </a:path>
            </a:pathLst>
          </a:custGeom>
          <a:solidFill>
            <a:schemeClr val="tx1">
              <a:lumMod val="50000"/>
              <a:lumOff val="5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Freeform 5">
            <a:extLst>
              <a:ext uri="{FF2B5EF4-FFF2-40B4-BE49-F238E27FC236}">
                <a16:creationId xmlns:a16="http://schemas.microsoft.com/office/drawing/2014/main" id="{D24908E2-F243-3D05-BD11-85E38CC6DFF0}"/>
              </a:ext>
            </a:extLst>
          </p:cNvPr>
          <p:cNvSpPr/>
          <p:nvPr/>
        </p:nvSpPr>
        <p:spPr>
          <a:xfrm>
            <a:off x="7652859" y="4404750"/>
            <a:ext cx="938799" cy="1139970"/>
          </a:xfrm>
          <a:custGeom>
            <a:avLst/>
            <a:gdLst>
              <a:gd name="connsiteX0" fmla="*/ 586 w 806026"/>
              <a:gd name="connsiteY0" fmla="*/ 403887 h 978746"/>
              <a:gd name="connsiteX1" fmla="*/ 402986 w 806026"/>
              <a:gd name="connsiteY1" fmla="*/ 452 h 978746"/>
              <a:gd name="connsiteX2" fmla="*/ 404189 w 806026"/>
              <a:gd name="connsiteY2" fmla="*/ 452 h 978746"/>
              <a:gd name="connsiteX3" fmla="*/ 806589 w 806026"/>
              <a:gd name="connsiteY3" fmla="*/ 403887 h 978746"/>
              <a:gd name="connsiteX4" fmla="*/ 806601 w 806026"/>
              <a:gd name="connsiteY4" fmla="*/ 403887 h 978746"/>
              <a:gd name="connsiteX5" fmla="*/ 403587 w 806026"/>
              <a:gd name="connsiteY5" fmla="*/ 979199 h 978746"/>
              <a:gd name="connsiteX6" fmla="*/ 574 w 806026"/>
              <a:gd name="connsiteY6" fmla="*/ 403887 h 978746"/>
              <a:gd name="connsiteX7" fmla="*/ 586 w 806026"/>
              <a:gd name="connsiteY7" fmla="*/ 403887 h 97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6026" h="978746">
                <a:moveTo>
                  <a:pt x="586" y="403887"/>
                </a:moveTo>
                <a:cubicBezTo>
                  <a:pt x="586" y="181074"/>
                  <a:pt x="180744" y="452"/>
                  <a:pt x="402986" y="452"/>
                </a:cubicBezTo>
                <a:lnTo>
                  <a:pt x="404189" y="452"/>
                </a:lnTo>
                <a:cubicBezTo>
                  <a:pt x="626431" y="452"/>
                  <a:pt x="806589" y="181074"/>
                  <a:pt x="806589" y="403887"/>
                </a:cubicBezTo>
                <a:lnTo>
                  <a:pt x="806601" y="403887"/>
                </a:lnTo>
                <a:cubicBezTo>
                  <a:pt x="806601" y="699064"/>
                  <a:pt x="403587" y="979199"/>
                  <a:pt x="403587" y="979199"/>
                </a:cubicBezTo>
                <a:cubicBezTo>
                  <a:pt x="403587" y="979199"/>
                  <a:pt x="574" y="699064"/>
                  <a:pt x="574" y="403887"/>
                </a:cubicBezTo>
                <a:lnTo>
                  <a:pt x="586" y="403887"/>
                </a:lnTo>
                <a:close/>
              </a:path>
            </a:pathLst>
          </a:custGeom>
          <a:solidFill>
            <a:schemeClr val="accent1">
              <a:lumMod val="5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Freeform 6">
            <a:extLst>
              <a:ext uri="{FF2B5EF4-FFF2-40B4-BE49-F238E27FC236}">
                <a16:creationId xmlns:a16="http://schemas.microsoft.com/office/drawing/2014/main" id="{BE853B37-7B7B-CB2F-620A-05623C24E299}"/>
              </a:ext>
            </a:extLst>
          </p:cNvPr>
          <p:cNvSpPr/>
          <p:nvPr/>
        </p:nvSpPr>
        <p:spPr>
          <a:xfrm>
            <a:off x="3584728" y="3398894"/>
            <a:ext cx="804684" cy="983503"/>
          </a:xfrm>
          <a:custGeom>
            <a:avLst/>
            <a:gdLst>
              <a:gd name="connsiteX0" fmla="*/ 221 w 690879"/>
              <a:gd name="connsiteY0" fmla="*/ 348424 h 844408"/>
              <a:gd name="connsiteX1" fmla="*/ 345135 w 690879"/>
              <a:gd name="connsiteY1" fmla="*/ 362 h 844408"/>
              <a:gd name="connsiteX2" fmla="*/ 346165 w 690879"/>
              <a:gd name="connsiteY2" fmla="*/ 362 h 844408"/>
              <a:gd name="connsiteX3" fmla="*/ 691079 w 690879"/>
              <a:gd name="connsiteY3" fmla="*/ 348424 h 844408"/>
              <a:gd name="connsiteX4" fmla="*/ 691090 w 690879"/>
              <a:gd name="connsiteY4" fmla="*/ 348424 h 844408"/>
              <a:gd name="connsiteX5" fmla="*/ 345650 w 690879"/>
              <a:gd name="connsiteY5" fmla="*/ 844771 h 844408"/>
              <a:gd name="connsiteX6" fmla="*/ 210 w 690879"/>
              <a:gd name="connsiteY6" fmla="*/ 348424 h 844408"/>
              <a:gd name="connsiteX7" fmla="*/ 221 w 690879"/>
              <a:gd name="connsiteY7" fmla="*/ 348424 h 84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879" h="844408">
                <a:moveTo>
                  <a:pt x="221" y="348424"/>
                </a:moveTo>
                <a:cubicBezTo>
                  <a:pt x="221" y="156193"/>
                  <a:pt x="154642" y="362"/>
                  <a:pt x="345135" y="362"/>
                </a:cubicBezTo>
                <a:lnTo>
                  <a:pt x="346165" y="362"/>
                </a:lnTo>
                <a:cubicBezTo>
                  <a:pt x="536658" y="362"/>
                  <a:pt x="691079" y="156193"/>
                  <a:pt x="691079" y="348424"/>
                </a:cubicBezTo>
                <a:lnTo>
                  <a:pt x="691090" y="348424"/>
                </a:lnTo>
                <a:cubicBezTo>
                  <a:pt x="691090" y="603087"/>
                  <a:pt x="345650" y="844771"/>
                  <a:pt x="345650" y="844771"/>
                </a:cubicBezTo>
                <a:cubicBezTo>
                  <a:pt x="345650" y="844771"/>
                  <a:pt x="210" y="603087"/>
                  <a:pt x="210" y="348424"/>
                </a:cubicBezTo>
                <a:lnTo>
                  <a:pt x="221" y="348424"/>
                </a:lnTo>
                <a:close/>
              </a:path>
            </a:pathLst>
          </a:custGeom>
          <a:solidFill>
            <a:schemeClr val="accent1">
              <a:lumMod val="75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 name="Freeform 7">
            <a:extLst>
              <a:ext uri="{FF2B5EF4-FFF2-40B4-BE49-F238E27FC236}">
                <a16:creationId xmlns:a16="http://schemas.microsoft.com/office/drawing/2014/main" id="{78FE4DC7-80C4-9E0A-A850-D6FFBA392686}"/>
              </a:ext>
            </a:extLst>
          </p:cNvPr>
          <p:cNvSpPr/>
          <p:nvPr/>
        </p:nvSpPr>
        <p:spPr>
          <a:xfrm>
            <a:off x="7026993" y="2258924"/>
            <a:ext cx="670571" cy="827037"/>
          </a:xfrm>
          <a:custGeom>
            <a:avLst/>
            <a:gdLst>
              <a:gd name="connsiteX0" fmla="*/ 527 w 575733"/>
              <a:gd name="connsiteY0" fmla="*/ 292947 h 710071"/>
              <a:gd name="connsiteX1" fmla="*/ 287955 w 575733"/>
              <a:gd name="connsiteY1" fmla="*/ 260 h 710071"/>
              <a:gd name="connsiteX2" fmla="*/ 288815 w 575733"/>
              <a:gd name="connsiteY2" fmla="*/ 260 h 710071"/>
              <a:gd name="connsiteX3" fmla="*/ 576243 w 575733"/>
              <a:gd name="connsiteY3" fmla="*/ 292947 h 710071"/>
              <a:gd name="connsiteX4" fmla="*/ 576251 w 575733"/>
              <a:gd name="connsiteY4" fmla="*/ 292947 h 710071"/>
              <a:gd name="connsiteX5" fmla="*/ 288385 w 575733"/>
              <a:gd name="connsiteY5" fmla="*/ 710331 h 710071"/>
              <a:gd name="connsiteX6" fmla="*/ 518 w 575733"/>
              <a:gd name="connsiteY6" fmla="*/ 292947 h 710071"/>
              <a:gd name="connsiteX7" fmla="*/ 527 w 575733"/>
              <a:gd name="connsiteY7" fmla="*/ 292947 h 7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33" h="710071">
                <a:moveTo>
                  <a:pt x="527" y="292947"/>
                </a:moveTo>
                <a:cubicBezTo>
                  <a:pt x="527" y="131299"/>
                  <a:pt x="129211" y="260"/>
                  <a:pt x="287955" y="260"/>
                </a:cubicBezTo>
                <a:lnTo>
                  <a:pt x="288815" y="260"/>
                </a:lnTo>
                <a:cubicBezTo>
                  <a:pt x="447559" y="260"/>
                  <a:pt x="576243" y="131299"/>
                  <a:pt x="576243" y="292947"/>
                </a:cubicBezTo>
                <a:lnTo>
                  <a:pt x="576251" y="292947"/>
                </a:lnTo>
                <a:cubicBezTo>
                  <a:pt x="576251" y="507096"/>
                  <a:pt x="288385" y="710331"/>
                  <a:pt x="288385" y="710331"/>
                </a:cubicBezTo>
                <a:cubicBezTo>
                  <a:pt x="288385" y="710331"/>
                  <a:pt x="518" y="507096"/>
                  <a:pt x="518" y="292947"/>
                </a:cubicBezTo>
                <a:lnTo>
                  <a:pt x="527" y="292947"/>
                </a:lnTo>
                <a:close/>
              </a:path>
            </a:pathLst>
          </a:custGeom>
          <a:solidFill>
            <a:schemeClr val="accent6">
              <a:lumMod val="5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 name="Freeform 8">
            <a:extLst>
              <a:ext uri="{FF2B5EF4-FFF2-40B4-BE49-F238E27FC236}">
                <a16:creationId xmlns:a16="http://schemas.microsoft.com/office/drawing/2014/main" id="{E92E033D-DE31-74E2-89D7-2211419E02A2}"/>
              </a:ext>
            </a:extLst>
          </p:cNvPr>
          <p:cNvSpPr/>
          <p:nvPr/>
        </p:nvSpPr>
        <p:spPr>
          <a:xfrm>
            <a:off x="4411766" y="1789523"/>
            <a:ext cx="536456" cy="659394"/>
          </a:xfrm>
          <a:custGeom>
            <a:avLst/>
            <a:gdLst>
              <a:gd name="connsiteX0" fmla="*/ 291 w 460586"/>
              <a:gd name="connsiteY0" fmla="*/ 233577 h 566137"/>
              <a:gd name="connsiteX1" fmla="*/ 230234 w 460586"/>
              <a:gd name="connsiteY1" fmla="*/ 218 h 566137"/>
              <a:gd name="connsiteX2" fmla="*/ 230921 w 460586"/>
              <a:gd name="connsiteY2" fmla="*/ 218 h 566137"/>
              <a:gd name="connsiteX3" fmla="*/ 460864 w 460586"/>
              <a:gd name="connsiteY3" fmla="*/ 233577 h 566137"/>
              <a:gd name="connsiteX4" fmla="*/ 460871 w 460586"/>
              <a:gd name="connsiteY4" fmla="*/ 233577 h 566137"/>
              <a:gd name="connsiteX5" fmla="*/ 230577 w 460586"/>
              <a:gd name="connsiteY5" fmla="*/ 566356 h 566137"/>
              <a:gd name="connsiteX6" fmla="*/ 284 w 460586"/>
              <a:gd name="connsiteY6" fmla="*/ 233577 h 566137"/>
              <a:gd name="connsiteX7" fmla="*/ 291 w 460586"/>
              <a:gd name="connsiteY7" fmla="*/ 233577 h 566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586" h="566137">
                <a:moveTo>
                  <a:pt x="291" y="233577"/>
                </a:moveTo>
                <a:cubicBezTo>
                  <a:pt x="291" y="104695"/>
                  <a:pt x="103239" y="218"/>
                  <a:pt x="230234" y="218"/>
                </a:cubicBezTo>
                <a:lnTo>
                  <a:pt x="230921" y="218"/>
                </a:lnTo>
                <a:cubicBezTo>
                  <a:pt x="357916" y="218"/>
                  <a:pt x="460864" y="104695"/>
                  <a:pt x="460864" y="233577"/>
                </a:cubicBezTo>
                <a:lnTo>
                  <a:pt x="460871" y="233577"/>
                </a:lnTo>
                <a:cubicBezTo>
                  <a:pt x="460871" y="404318"/>
                  <a:pt x="230577" y="566356"/>
                  <a:pt x="230577" y="566356"/>
                </a:cubicBezTo>
                <a:cubicBezTo>
                  <a:pt x="230577" y="566356"/>
                  <a:pt x="284" y="404318"/>
                  <a:pt x="284" y="233577"/>
                </a:cubicBezTo>
                <a:lnTo>
                  <a:pt x="291" y="233577"/>
                </a:lnTo>
                <a:close/>
              </a:path>
            </a:pathLst>
          </a:custGeom>
          <a:solidFill>
            <a:schemeClr val="accent6">
              <a:lumMod val="75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 name="Freeform 9">
            <a:extLst>
              <a:ext uri="{FF2B5EF4-FFF2-40B4-BE49-F238E27FC236}">
                <a16:creationId xmlns:a16="http://schemas.microsoft.com/office/drawing/2014/main" id="{55709F46-3FED-AB07-878E-52C1E292A030}"/>
              </a:ext>
            </a:extLst>
          </p:cNvPr>
          <p:cNvSpPr/>
          <p:nvPr/>
        </p:nvSpPr>
        <p:spPr>
          <a:xfrm>
            <a:off x="6825822" y="1454239"/>
            <a:ext cx="402341" cy="494546"/>
          </a:xfrm>
          <a:custGeom>
            <a:avLst/>
            <a:gdLst>
              <a:gd name="connsiteX0" fmla="*/ 505 w 345439"/>
              <a:gd name="connsiteY0" fmla="*/ 175207 h 424603"/>
              <a:gd name="connsiteX1" fmla="*/ 172962 w 345439"/>
              <a:gd name="connsiteY1" fmla="*/ 188 h 424603"/>
              <a:gd name="connsiteX2" fmla="*/ 173478 w 345439"/>
              <a:gd name="connsiteY2" fmla="*/ 188 h 424603"/>
              <a:gd name="connsiteX3" fmla="*/ 345935 w 345439"/>
              <a:gd name="connsiteY3" fmla="*/ 175207 h 424603"/>
              <a:gd name="connsiteX4" fmla="*/ 345940 w 345439"/>
              <a:gd name="connsiteY4" fmla="*/ 175207 h 424603"/>
              <a:gd name="connsiteX5" fmla="*/ 173220 w 345439"/>
              <a:gd name="connsiteY5" fmla="*/ 424791 h 424603"/>
              <a:gd name="connsiteX6" fmla="*/ 500 w 345439"/>
              <a:gd name="connsiteY6" fmla="*/ 175207 h 424603"/>
              <a:gd name="connsiteX7" fmla="*/ 505 w 345439"/>
              <a:gd name="connsiteY7" fmla="*/ 175207 h 42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39" h="424603">
                <a:moveTo>
                  <a:pt x="505" y="175207"/>
                </a:moveTo>
                <a:cubicBezTo>
                  <a:pt x="505" y="78546"/>
                  <a:pt x="77715" y="188"/>
                  <a:pt x="172962" y="188"/>
                </a:cubicBezTo>
                <a:lnTo>
                  <a:pt x="173478" y="188"/>
                </a:lnTo>
                <a:cubicBezTo>
                  <a:pt x="268725" y="188"/>
                  <a:pt x="345935" y="78546"/>
                  <a:pt x="345935" y="175207"/>
                </a:cubicBezTo>
                <a:lnTo>
                  <a:pt x="345940" y="175207"/>
                </a:lnTo>
                <a:cubicBezTo>
                  <a:pt x="345940" y="303263"/>
                  <a:pt x="173220" y="424791"/>
                  <a:pt x="173220" y="424791"/>
                </a:cubicBezTo>
                <a:cubicBezTo>
                  <a:pt x="173220" y="424791"/>
                  <a:pt x="500" y="303263"/>
                  <a:pt x="500" y="175207"/>
                </a:cubicBezTo>
                <a:lnTo>
                  <a:pt x="505" y="175207"/>
                </a:lnTo>
                <a:close/>
              </a:path>
            </a:pathLst>
          </a:custGeom>
          <a:solidFill>
            <a:schemeClr val="tx2">
              <a:lumMod val="50000"/>
              <a:lumOff val="5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Freeform 10">
            <a:extLst>
              <a:ext uri="{FF2B5EF4-FFF2-40B4-BE49-F238E27FC236}">
                <a16:creationId xmlns:a16="http://schemas.microsoft.com/office/drawing/2014/main" id="{129A411B-EBD6-C933-7598-8F24E6B63758}"/>
              </a:ext>
            </a:extLst>
          </p:cNvPr>
          <p:cNvSpPr/>
          <p:nvPr/>
        </p:nvSpPr>
        <p:spPr>
          <a:xfrm>
            <a:off x="4814108" y="1051895"/>
            <a:ext cx="402341" cy="494546"/>
          </a:xfrm>
          <a:custGeom>
            <a:avLst/>
            <a:gdLst>
              <a:gd name="connsiteX0" fmla="*/ 325 w 345439"/>
              <a:gd name="connsiteY0" fmla="*/ 175171 h 424603"/>
              <a:gd name="connsiteX1" fmla="*/ 172782 w 345439"/>
              <a:gd name="connsiteY1" fmla="*/ 152 h 424603"/>
              <a:gd name="connsiteX2" fmla="*/ 173298 w 345439"/>
              <a:gd name="connsiteY2" fmla="*/ 152 h 424603"/>
              <a:gd name="connsiteX3" fmla="*/ 345755 w 345439"/>
              <a:gd name="connsiteY3" fmla="*/ 175171 h 424603"/>
              <a:gd name="connsiteX4" fmla="*/ 345760 w 345439"/>
              <a:gd name="connsiteY4" fmla="*/ 175171 h 424603"/>
              <a:gd name="connsiteX5" fmla="*/ 173040 w 345439"/>
              <a:gd name="connsiteY5" fmla="*/ 424755 h 424603"/>
              <a:gd name="connsiteX6" fmla="*/ 320 w 345439"/>
              <a:gd name="connsiteY6" fmla="*/ 175171 h 424603"/>
              <a:gd name="connsiteX7" fmla="*/ 325 w 345439"/>
              <a:gd name="connsiteY7" fmla="*/ 175171 h 42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39" h="424603">
                <a:moveTo>
                  <a:pt x="325" y="175171"/>
                </a:moveTo>
                <a:cubicBezTo>
                  <a:pt x="325" y="78510"/>
                  <a:pt x="77535" y="152"/>
                  <a:pt x="172782" y="152"/>
                </a:cubicBezTo>
                <a:lnTo>
                  <a:pt x="173298" y="152"/>
                </a:lnTo>
                <a:cubicBezTo>
                  <a:pt x="268545" y="152"/>
                  <a:pt x="345755" y="78510"/>
                  <a:pt x="345755" y="175171"/>
                </a:cubicBezTo>
                <a:lnTo>
                  <a:pt x="345760" y="175171"/>
                </a:lnTo>
                <a:cubicBezTo>
                  <a:pt x="345760" y="303227"/>
                  <a:pt x="173040" y="424755"/>
                  <a:pt x="173040" y="424755"/>
                </a:cubicBezTo>
                <a:cubicBezTo>
                  <a:pt x="173040" y="424755"/>
                  <a:pt x="320" y="303227"/>
                  <a:pt x="320" y="175171"/>
                </a:cubicBezTo>
                <a:lnTo>
                  <a:pt x="325" y="175171"/>
                </a:lnTo>
                <a:close/>
              </a:path>
            </a:pathLst>
          </a:custGeom>
          <a:solidFill>
            <a:schemeClr val="accent1">
              <a:lumMod val="40000"/>
              <a:lumOff val="6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 name="TextBox 11">
            <a:extLst>
              <a:ext uri="{FF2B5EF4-FFF2-40B4-BE49-F238E27FC236}">
                <a16:creationId xmlns:a16="http://schemas.microsoft.com/office/drawing/2014/main" id="{9E689DA0-59C4-F317-928B-826342BB7356}"/>
              </a:ext>
            </a:extLst>
          </p:cNvPr>
          <p:cNvSpPr txBox="1"/>
          <p:nvPr/>
        </p:nvSpPr>
        <p:spPr>
          <a:xfrm>
            <a:off x="7362278" y="1599933"/>
            <a:ext cx="3670877" cy="169277"/>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Apply human + AI evaluation, guardrails, and observability.</a:t>
            </a:r>
          </a:p>
        </p:txBody>
      </p:sp>
      <p:sp>
        <p:nvSpPr>
          <p:cNvPr id="13" name="TextBox 12">
            <a:extLst>
              <a:ext uri="{FF2B5EF4-FFF2-40B4-BE49-F238E27FC236}">
                <a16:creationId xmlns:a16="http://schemas.microsoft.com/office/drawing/2014/main" id="{2C55F23B-7C28-60D1-0689-A447388BAA66}"/>
              </a:ext>
            </a:extLst>
          </p:cNvPr>
          <p:cNvSpPr txBox="1"/>
          <p:nvPr/>
        </p:nvSpPr>
        <p:spPr>
          <a:xfrm>
            <a:off x="1838580" y="1948434"/>
            <a:ext cx="2370842" cy="307777"/>
          </a:xfrm>
          <a:prstGeom prst="rect">
            <a:avLst/>
          </a:prstGeom>
          <a:noFill/>
        </p:spPr>
        <p:txBody>
          <a:bodyPr wrap="non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rPr>
              <a:t>Process Reinvention</a:t>
            </a:r>
          </a:p>
        </p:txBody>
      </p:sp>
      <p:sp>
        <p:nvSpPr>
          <p:cNvPr id="14" name="TextBox 13">
            <a:extLst>
              <a:ext uri="{FF2B5EF4-FFF2-40B4-BE49-F238E27FC236}">
                <a16:creationId xmlns:a16="http://schemas.microsoft.com/office/drawing/2014/main" id="{4E730BD0-493E-78FE-4DC5-DB439FAF1C91}"/>
              </a:ext>
            </a:extLst>
          </p:cNvPr>
          <p:cNvSpPr txBox="1"/>
          <p:nvPr/>
        </p:nvSpPr>
        <p:spPr>
          <a:xfrm>
            <a:off x="8776395" y="4855899"/>
            <a:ext cx="2660966"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Introduce the many ways to build an Agent via Bedrock</a:t>
            </a:r>
          </a:p>
        </p:txBody>
      </p:sp>
      <p:sp>
        <p:nvSpPr>
          <p:cNvPr id="15" name="TextBox 14">
            <a:extLst>
              <a:ext uri="{FF2B5EF4-FFF2-40B4-BE49-F238E27FC236}">
                <a16:creationId xmlns:a16="http://schemas.microsoft.com/office/drawing/2014/main" id="{A3C419F7-0EED-2629-AF46-98A246D9008B}"/>
              </a:ext>
            </a:extLst>
          </p:cNvPr>
          <p:cNvSpPr txBox="1"/>
          <p:nvPr/>
        </p:nvSpPr>
        <p:spPr>
          <a:xfrm>
            <a:off x="7362278" y="1289795"/>
            <a:ext cx="3691716" cy="307777"/>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US" sz="2000" b="1" dirty="0">
                <a:ln/>
                <a:solidFill>
                  <a:srgbClr val="666666"/>
                </a:solidFill>
                <a:latin typeface="Roboto"/>
                <a:ea typeface="Roboto"/>
                <a:cs typeface="Roboto"/>
                <a:sym typeface="Roboto"/>
                <a:rtl val="0"/>
              </a:rPr>
              <a:t>Evaluations of Agentic Software</a:t>
            </a:r>
            <a:endPar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endParaRPr>
          </a:p>
        </p:txBody>
      </p:sp>
      <p:sp>
        <p:nvSpPr>
          <p:cNvPr id="16" name="TextBox 15">
            <a:extLst>
              <a:ext uri="{FF2B5EF4-FFF2-40B4-BE49-F238E27FC236}">
                <a16:creationId xmlns:a16="http://schemas.microsoft.com/office/drawing/2014/main" id="{BF2E21E2-0B90-D733-D6BD-E5E143242768}"/>
              </a:ext>
            </a:extLst>
          </p:cNvPr>
          <p:cNvSpPr txBox="1"/>
          <p:nvPr/>
        </p:nvSpPr>
        <p:spPr>
          <a:xfrm>
            <a:off x="7869398" y="2324690"/>
            <a:ext cx="2388474" cy="307777"/>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US" sz="2000" b="1" dirty="0">
                <a:ln/>
                <a:solidFill>
                  <a:srgbClr val="666666"/>
                </a:solidFill>
                <a:latin typeface="Roboto"/>
                <a:ea typeface="Roboto"/>
                <a:cs typeface="Roboto"/>
                <a:sym typeface="Roboto"/>
                <a:rtl val="0"/>
              </a:rPr>
              <a:t>Agents with </a:t>
            </a:r>
            <a:r>
              <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rPr>
              <a:t>Memory</a:t>
            </a:r>
          </a:p>
        </p:txBody>
      </p:sp>
      <p:sp>
        <p:nvSpPr>
          <p:cNvPr id="17" name="TextBox 16">
            <a:extLst>
              <a:ext uri="{FF2B5EF4-FFF2-40B4-BE49-F238E27FC236}">
                <a16:creationId xmlns:a16="http://schemas.microsoft.com/office/drawing/2014/main" id="{AEEAFF88-CC39-6740-D8C9-70CC23FABC79}"/>
              </a:ext>
            </a:extLst>
          </p:cNvPr>
          <p:cNvSpPr txBox="1"/>
          <p:nvPr/>
        </p:nvSpPr>
        <p:spPr>
          <a:xfrm>
            <a:off x="7869398" y="2626092"/>
            <a:ext cx="2699452"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US" sz="1100" dirty="0">
                <a:ln/>
                <a:solidFill>
                  <a:srgbClr val="666666"/>
                </a:solidFill>
                <a:latin typeface="Arial"/>
                <a:cs typeface="Arial"/>
                <a:sym typeface="Arial"/>
                <a:rtl val="0"/>
              </a:rPr>
              <a:t>Use memory layers like short-term and long-term memory </a:t>
            </a:r>
            <a:endParaRPr kumimoji="0" lang="en-US" sz="1100" b="0" i="0" u="none" strike="noStrike" kern="1200" cap="none" spc="0" normalizeH="0" baseline="0" noProof="0" dirty="0">
              <a:ln/>
              <a:solidFill>
                <a:srgbClr val="666666"/>
              </a:solidFill>
              <a:effectLst/>
              <a:uLnTx/>
              <a:uFillTx/>
              <a:latin typeface="Arial"/>
              <a:ea typeface="+mn-ea"/>
              <a:cs typeface="Arial"/>
              <a:sym typeface="Arial"/>
              <a:rtl val="0"/>
            </a:endParaRPr>
          </a:p>
        </p:txBody>
      </p:sp>
      <p:sp>
        <p:nvSpPr>
          <p:cNvPr id="18" name="TextBox 17">
            <a:extLst>
              <a:ext uri="{FF2B5EF4-FFF2-40B4-BE49-F238E27FC236}">
                <a16:creationId xmlns:a16="http://schemas.microsoft.com/office/drawing/2014/main" id="{8256B0AE-C160-1BEC-C3FE-CBF3AA057A28}"/>
              </a:ext>
            </a:extLst>
          </p:cNvPr>
          <p:cNvSpPr txBox="1"/>
          <p:nvPr/>
        </p:nvSpPr>
        <p:spPr>
          <a:xfrm>
            <a:off x="627959" y="3398894"/>
            <a:ext cx="2698389" cy="615553"/>
          </a:xfrm>
          <a:prstGeom prst="rect">
            <a:avLst/>
          </a:prstGeom>
          <a:noFill/>
        </p:spPr>
        <p:txBody>
          <a:bodyPr wrap="squar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2000" b="1" dirty="0">
                <a:ln/>
                <a:solidFill>
                  <a:srgbClr val="666666"/>
                </a:solidFill>
                <a:latin typeface="Roboto"/>
                <a:ea typeface="Roboto"/>
                <a:cs typeface="Roboto"/>
                <a:sym typeface="Roboto"/>
                <a:rtl val="0"/>
              </a:rPr>
              <a:t>Tools and Reasoning with Agents</a:t>
            </a:r>
            <a:endPar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endParaRPr>
          </a:p>
        </p:txBody>
      </p:sp>
      <p:sp>
        <p:nvSpPr>
          <p:cNvPr id="19" name="TextBox 18">
            <a:extLst>
              <a:ext uri="{FF2B5EF4-FFF2-40B4-BE49-F238E27FC236}">
                <a16:creationId xmlns:a16="http://schemas.microsoft.com/office/drawing/2014/main" id="{5FC77285-3458-40AC-84DB-E8AC5AD9C5BD}"/>
              </a:ext>
            </a:extLst>
          </p:cNvPr>
          <p:cNvSpPr txBox="1"/>
          <p:nvPr/>
        </p:nvSpPr>
        <p:spPr>
          <a:xfrm>
            <a:off x="2188326" y="1337973"/>
            <a:ext cx="2370841" cy="338554"/>
          </a:xfrm>
          <a:prstGeom prst="rect">
            <a:avLst/>
          </a:prstGeom>
          <a:noFill/>
        </p:spPr>
        <p:txBody>
          <a:bodyPr wrap="squar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Orchestrate multiple agents, introduce LangGraph workflows</a:t>
            </a:r>
          </a:p>
        </p:txBody>
      </p:sp>
      <p:sp>
        <p:nvSpPr>
          <p:cNvPr id="20" name="TextBox 19">
            <a:extLst>
              <a:ext uri="{FF2B5EF4-FFF2-40B4-BE49-F238E27FC236}">
                <a16:creationId xmlns:a16="http://schemas.microsoft.com/office/drawing/2014/main" id="{ADE35F9A-9B8E-9434-07C0-E1D6D08499B8}"/>
              </a:ext>
            </a:extLst>
          </p:cNvPr>
          <p:cNvSpPr txBox="1"/>
          <p:nvPr/>
        </p:nvSpPr>
        <p:spPr>
          <a:xfrm>
            <a:off x="859316" y="4043843"/>
            <a:ext cx="2467032" cy="338554"/>
          </a:xfrm>
          <a:prstGeom prst="rect">
            <a:avLst/>
          </a:prstGeom>
          <a:noFill/>
        </p:spPr>
        <p:txBody>
          <a:bodyPr wrap="squar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See how tools, decision-making, and reasoning chains</a:t>
            </a:r>
            <a:r>
              <a:rPr lang="en-US" sz="1100" dirty="0">
                <a:ln/>
                <a:solidFill>
                  <a:srgbClr val="666666"/>
                </a:solidFill>
                <a:latin typeface="Arial"/>
                <a:cs typeface="Arial"/>
                <a:sym typeface="Arial"/>
                <a:rtl val="0"/>
              </a:rPr>
              <a:t> work</a:t>
            </a:r>
            <a:endParaRPr kumimoji="0" lang="en-US" sz="1100" b="0" i="0" u="none" strike="noStrike" kern="1200" cap="none" spc="0" normalizeH="0" baseline="0" noProof="0" dirty="0">
              <a:ln/>
              <a:solidFill>
                <a:srgbClr val="666666"/>
              </a:solidFill>
              <a:effectLst/>
              <a:uLnTx/>
              <a:uFillTx/>
              <a:latin typeface="Arial"/>
              <a:ea typeface="+mn-ea"/>
              <a:cs typeface="Arial"/>
              <a:sym typeface="Arial"/>
              <a:rtl val="0"/>
            </a:endParaRPr>
          </a:p>
        </p:txBody>
      </p:sp>
      <p:sp>
        <p:nvSpPr>
          <p:cNvPr id="21" name="TextBox 20">
            <a:extLst>
              <a:ext uri="{FF2B5EF4-FFF2-40B4-BE49-F238E27FC236}">
                <a16:creationId xmlns:a16="http://schemas.microsoft.com/office/drawing/2014/main" id="{0B5002F4-C443-FDA6-9739-84BF06AE214F}"/>
              </a:ext>
            </a:extLst>
          </p:cNvPr>
          <p:cNvSpPr txBox="1"/>
          <p:nvPr/>
        </p:nvSpPr>
        <p:spPr>
          <a:xfrm>
            <a:off x="2978606" y="1027543"/>
            <a:ext cx="1580562" cy="307777"/>
          </a:xfrm>
          <a:prstGeom prst="rect">
            <a:avLst/>
          </a:prstGeom>
          <a:noFill/>
        </p:spPr>
        <p:txBody>
          <a:bodyPr wrap="non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rPr>
              <a:t>Orchestrating</a:t>
            </a:r>
          </a:p>
        </p:txBody>
      </p:sp>
      <p:sp>
        <p:nvSpPr>
          <p:cNvPr id="22" name="TextBox 21">
            <a:extLst>
              <a:ext uri="{FF2B5EF4-FFF2-40B4-BE49-F238E27FC236}">
                <a16:creationId xmlns:a16="http://schemas.microsoft.com/office/drawing/2014/main" id="{BBA6C7C2-FB0D-DAEF-C987-F3938FF1B9FA}"/>
              </a:ext>
            </a:extLst>
          </p:cNvPr>
          <p:cNvSpPr txBox="1"/>
          <p:nvPr/>
        </p:nvSpPr>
        <p:spPr>
          <a:xfrm>
            <a:off x="8768151" y="4570715"/>
            <a:ext cx="1723229" cy="307777"/>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rPr>
              <a:t>Intro to Agents</a:t>
            </a:r>
          </a:p>
        </p:txBody>
      </p:sp>
      <p:sp>
        <p:nvSpPr>
          <p:cNvPr id="23" name="TextBox 22">
            <a:extLst>
              <a:ext uri="{FF2B5EF4-FFF2-40B4-BE49-F238E27FC236}">
                <a16:creationId xmlns:a16="http://schemas.microsoft.com/office/drawing/2014/main" id="{C80A0A5E-AA89-6CD1-11C0-C0E9445B0057}"/>
              </a:ext>
            </a:extLst>
          </p:cNvPr>
          <p:cNvSpPr txBox="1"/>
          <p:nvPr/>
        </p:nvSpPr>
        <p:spPr>
          <a:xfrm>
            <a:off x="1834880" y="2255112"/>
            <a:ext cx="2320827" cy="338554"/>
          </a:xfrm>
          <a:prstGeom prst="rect">
            <a:avLst/>
          </a:prstGeom>
          <a:noFill/>
        </p:spPr>
        <p:txBody>
          <a:bodyPr wrap="squar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Learn how to transform an as is to an agentic to-be.</a:t>
            </a:r>
          </a:p>
        </p:txBody>
      </p:sp>
      <p:sp>
        <p:nvSpPr>
          <p:cNvPr id="24" name="Freeform 23">
            <a:extLst>
              <a:ext uri="{FF2B5EF4-FFF2-40B4-BE49-F238E27FC236}">
                <a16:creationId xmlns:a16="http://schemas.microsoft.com/office/drawing/2014/main" id="{42380984-510F-D92E-5DDE-68A897B70FCD}"/>
              </a:ext>
            </a:extLst>
          </p:cNvPr>
          <p:cNvSpPr>
            <a:spLocks noChangeAspect="1"/>
          </p:cNvSpPr>
          <p:nvPr/>
        </p:nvSpPr>
        <p:spPr>
          <a:xfrm>
            <a:off x="3595950" y="1389350"/>
            <a:ext cx="5032937" cy="4941713"/>
          </a:xfrm>
          <a:custGeom>
            <a:avLst/>
            <a:gdLst>
              <a:gd name="connsiteX0" fmla="*/ 2754088 w 4317963"/>
              <a:gd name="connsiteY0" fmla="*/ 4239067 h 4239700"/>
              <a:gd name="connsiteX1" fmla="*/ 3418638 w 4317963"/>
              <a:gd name="connsiteY1" fmla="*/ 3684636 h 4239700"/>
              <a:gd name="connsiteX2" fmla="*/ 1895056 w 4317963"/>
              <a:gd name="connsiteY2" fmla="*/ 3165804 h 4239700"/>
              <a:gd name="connsiteX3" fmla="*/ 6941 w 4317963"/>
              <a:gd name="connsiteY3" fmla="*/ 2333774 h 4239700"/>
              <a:gd name="connsiteX4" fmla="*/ 37757 w 4317963"/>
              <a:gd name="connsiteY4" fmla="*/ 2245686 h 4239700"/>
              <a:gd name="connsiteX5" fmla="*/ 4127212 w 4317963"/>
              <a:gd name="connsiteY5" fmla="*/ 4239067 h 4239700"/>
              <a:gd name="connsiteX6" fmla="*/ 4306236 w 4317963"/>
              <a:gd name="connsiteY6" fmla="*/ 3665157 h 4239700"/>
              <a:gd name="connsiteX7" fmla="*/ 4142258 w 4317963"/>
              <a:gd name="connsiteY7" fmla="*/ 3327979 h 4239700"/>
              <a:gd name="connsiteX8" fmla="*/ 803859 w 4317963"/>
              <a:gd name="connsiteY8" fmla="*/ 796426 h 4239700"/>
              <a:gd name="connsiteX9" fmla="*/ 717971 w 4317963"/>
              <a:gd name="connsiteY9" fmla="*/ 902500 h 4239700"/>
              <a:gd name="connsiteX10" fmla="*/ 1942554 w 4317963"/>
              <a:gd name="connsiteY10" fmla="*/ 1264924 h 4239700"/>
              <a:gd name="connsiteX11" fmla="*/ 2990388 w 4317963"/>
              <a:gd name="connsiteY11" fmla="*/ 1487637 h 4239700"/>
              <a:gd name="connsiteX12" fmla="*/ 1953109 w 4317963"/>
              <a:gd name="connsiteY12" fmla="*/ 1745278 h 4239700"/>
              <a:gd name="connsiteX13" fmla="*/ 638269 w 4317963"/>
              <a:gd name="connsiteY13" fmla="*/ 1902990 h 4239700"/>
              <a:gd name="connsiteX14" fmla="*/ 1132440 w 4317963"/>
              <a:gd name="connsiteY14" fmla="*/ 686698 h 4239700"/>
              <a:gd name="connsiteX15" fmla="*/ 1953109 w 4317963"/>
              <a:gd name="connsiteY15" fmla="*/ 612429 h 4239700"/>
              <a:gd name="connsiteX16" fmla="*/ 2775064 w 4317963"/>
              <a:gd name="connsiteY16" fmla="*/ 473675 h 4239700"/>
              <a:gd name="connsiteX17" fmla="*/ 2012889 w 4317963"/>
              <a:gd name="connsiteY17" fmla="*/ 343559 h 4239700"/>
              <a:gd name="connsiteX18" fmla="*/ 1026178 w 4317963"/>
              <a:gd name="connsiteY18" fmla="*/ 145987 h 4239700"/>
              <a:gd name="connsiteX19" fmla="*/ 1151631 w 4317963"/>
              <a:gd name="connsiteY19" fmla="*/ 77289 h 4239700"/>
              <a:gd name="connsiteX20" fmla="*/ 1319553 w 4317963"/>
              <a:gd name="connsiteY20" fmla="*/ 43033 h 4239700"/>
              <a:gd name="connsiteX21" fmla="*/ 2028242 w 4317963"/>
              <a:gd name="connsiteY21" fmla="*/ 182 h 4239700"/>
              <a:gd name="connsiteX22" fmla="*/ 2026035 w 4317963"/>
              <a:gd name="connsiteY22" fmla="*/ 182 h 4239700"/>
              <a:gd name="connsiteX23" fmla="*/ 1357897 w 4317963"/>
              <a:gd name="connsiteY23" fmla="*/ 145987 h 4239700"/>
              <a:gd name="connsiteX24" fmla="*/ 2016632 w 4317963"/>
              <a:gd name="connsiteY24" fmla="*/ 256432 h 4239700"/>
              <a:gd name="connsiteX25" fmla="*/ 2804398 w 4317963"/>
              <a:gd name="connsiteY25" fmla="*/ 329933 h 4239700"/>
              <a:gd name="connsiteX26" fmla="*/ 3032359 w 4317963"/>
              <a:gd name="connsiteY26" fmla="*/ 402567 h 4239700"/>
              <a:gd name="connsiteX27" fmla="*/ 3104192 w 4317963"/>
              <a:gd name="connsiteY27" fmla="*/ 473675 h 4239700"/>
              <a:gd name="connsiteX28" fmla="*/ 1996097 w 4317963"/>
              <a:gd name="connsiteY28" fmla="*/ 737361 h 4239700"/>
              <a:gd name="connsiteX29" fmla="*/ 1105534 w 4317963"/>
              <a:gd name="connsiteY29" fmla="*/ 902404 h 4239700"/>
              <a:gd name="connsiteX30" fmla="*/ 1981416 w 4317963"/>
              <a:gd name="connsiteY30" fmla="*/ 1081745 h 4239700"/>
              <a:gd name="connsiteX31" fmla="*/ 2984382 w 4317963"/>
              <a:gd name="connsiteY31" fmla="*/ 1182028 h 4239700"/>
              <a:gd name="connsiteX32" fmla="*/ 3376312 w 4317963"/>
              <a:gd name="connsiteY32" fmla="*/ 1329627 h 4239700"/>
              <a:gd name="connsiteX33" fmla="*/ 3488302 w 4317963"/>
              <a:gd name="connsiteY33" fmla="*/ 1487445 h 4239700"/>
              <a:gd name="connsiteX34" fmla="*/ 1942554 w 4317963"/>
              <a:gd name="connsiteY34" fmla="*/ 1993995 h 4239700"/>
              <a:gd name="connsiteX35" fmla="*/ 672968 w 4317963"/>
              <a:gd name="connsiteY35" fmla="*/ 2352677 h 4239700"/>
              <a:gd name="connsiteX36" fmla="*/ 1911656 w 4317963"/>
              <a:gd name="connsiteY36" fmla="*/ 2719515 h 4239700"/>
              <a:gd name="connsiteX37" fmla="*/ 3485567 w 4317963"/>
              <a:gd name="connsiteY37" fmla="*/ 2950000 h 4239700"/>
              <a:gd name="connsiteX38" fmla="*/ 3860801 w 4317963"/>
              <a:gd name="connsiteY38" fmla="*/ 3919631 h 4239700"/>
              <a:gd name="connsiteX39" fmla="*/ 3793920 w 4317963"/>
              <a:gd name="connsiteY39" fmla="*/ 4037368 h 4239700"/>
              <a:gd name="connsiteX40" fmla="*/ 3879224 w 4317963"/>
              <a:gd name="connsiteY40" fmla="*/ 3685691 h 4239700"/>
              <a:gd name="connsiteX41" fmla="*/ 3888628 w 4317963"/>
              <a:gd name="connsiteY41" fmla="*/ 3801701 h 4239700"/>
              <a:gd name="connsiteX42" fmla="*/ 3759376 w 4317963"/>
              <a:gd name="connsiteY42" fmla="*/ 3467297 h 4239700"/>
              <a:gd name="connsiteX43" fmla="*/ 3835373 w 4317963"/>
              <a:gd name="connsiteY43" fmla="*/ 3573615 h 4239700"/>
              <a:gd name="connsiteX44" fmla="*/ 3521982 w 4317963"/>
              <a:gd name="connsiteY44" fmla="*/ 3286612 h 4239700"/>
              <a:gd name="connsiteX45" fmla="*/ 3653825 w 4317963"/>
              <a:gd name="connsiteY45" fmla="*/ 3377578 h 4239700"/>
              <a:gd name="connsiteX46" fmla="*/ 3192087 w 4317963"/>
              <a:gd name="connsiteY46" fmla="*/ 3142391 h 4239700"/>
              <a:gd name="connsiteX47" fmla="*/ 3367014 w 4317963"/>
              <a:gd name="connsiteY47" fmla="*/ 3214454 h 4239700"/>
              <a:gd name="connsiteX48" fmla="*/ 2794735 w 4317963"/>
              <a:gd name="connsiteY48" fmla="*/ 3029931 h 4239700"/>
              <a:gd name="connsiteX49" fmla="*/ 3000368 w 4317963"/>
              <a:gd name="connsiteY49" fmla="*/ 3080788 h 4239700"/>
              <a:gd name="connsiteX50" fmla="*/ 2352668 w 4317963"/>
              <a:gd name="connsiteY50" fmla="*/ 2963347 h 4239700"/>
              <a:gd name="connsiteX51" fmla="*/ 2577971 w 4317963"/>
              <a:gd name="connsiteY51" fmla="*/ 2990301 h 4239700"/>
              <a:gd name="connsiteX52" fmla="*/ 1888051 w 4317963"/>
              <a:gd name="connsiteY52" fmla="*/ 2924965 h 4239700"/>
              <a:gd name="connsiteX53" fmla="*/ 2121991 w 4317963"/>
              <a:gd name="connsiteY53" fmla="*/ 2937248 h 4239700"/>
              <a:gd name="connsiteX54" fmla="*/ 1421227 w 4317963"/>
              <a:gd name="connsiteY54" fmla="*/ 2886957 h 4239700"/>
              <a:gd name="connsiteX55" fmla="*/ 1651329 w 4317963"/>
              <a:gd name="connsiteY55" fmla="*/ 2905093 h 4239700"/>
              <a:gd name="connsiteX56" fmla="*/ 1012361 w 4317963"/>
              <a:gd name="connsiteY56" fmla="*/ 2818253 h 4239700"/>
              <a:gd name="connsiteX57" fmla="*/ 1212908 w 4317963"/>
              <a:gd name="connsiteY57" fmla="*/ 2857691 h 4239700"/>
              <a:gd name="connsiteX58" fmla="*/ 669412 w 4317963"/>
              <a:gd name="connsiteY58" fmla="*/ 2723449 h 4239700"/>
              <a:gd name="connsiteX59" fmla="*/ 823616 w 4317963"/>
              <a:gd name="connsiteY59" fmla="*/ 2779487 h 4239700"/>
              <a:gd name="connsiteX60" fmla="*/ 445068 w 4317963"/>
              <a:gd name="connsiteY60" fmla="*/ 2594677 h 4239700"/>
              <a:gd name="connsiteX61" fmla="*/ 542654 w 4317963"/>
              <a:gd name="connsiteY61" fmla="*/ 2661366 h 4239700"/>
              <a:gd name="connsiteX62" fmla="*/ 971963 w 4317963"/>
              <a:gd name="connsiteY62" fmla="*/ 1974324 h 4239700"/>
              <a:gd name="connsiteX63" fmla="*/ 822657 w 4317963"/>
              <a:gd name="connsiteY63" fmla="*/ 2017024 h 4239700"/>
              <a:gd name="connsiteX64" fmla="*/ 1306752 w 4317963"/>
              <a:gd name="connsiteY64" fmla="*/ 1908978 h 4239700"/>
              <a:gd name="connsiteX65" fmla="*/ 1134128 w 4317963"/>
              <a:gd name="connsiteY65" fmla="*/ 1938149 h 4239700"/>
              <a:gd name="connsiteX66" fmla="*/ 1673686 w 4317963"/>
              <a:gd name="connsiteY66" fmla="*/ 1872419 h 4239700"/>
              <a:gd name="connsiteX67" fmla="*/ 1487437 w 4317963"/>
              <a:gd name="connsiteY67" fmla="*/ 1887004 h 4239700"/>
              <a:gd name="connsiteX68" fmla="*/ 2050983 w 4317963"/>
              <a:gd name="connsiteY68" fmla="*/ 1853900 h 4239700"/>
              <a:gd name="connsiteX69" fmla="*/ 1862815 w 4317963"/>
              <a:gd name="connsiteY69" fmla="*/ 1865318 h 4239700"/>
              <a:gd name="connsiteX70" fmla="*/ 2414079 w 4317963"/>
              <a:gd name="connsiteY70" fmla="*/ 1831350 h 4239700"/>
              <a:gd name="connsiteX71" fmla="*/ 2235698 w 4317963"/>
              <a:gd name="connsiteY71" fmla="*/ 1846223 h 4239700"/>
              <a:gd name="connsiteX72" fmla="*/ 2736202 w 4317963"/>
              <a:gd name="connsiteY72" fmla="*/ 1782029 h 4239700"/>
              <a:gd name="connsiteX73" fmla="*/ 2582194 w 4317963"/>
              <a:gd name="connsiteY73" fmla="*/ 1809760 h 4239700"/>
              <a:gd name="connsiteX74" fmla="*/ 3000559 w 4317963"/>
              <a:gd name="connsiteY74" fmla="*/ 1711214 h 4239700"/>
              <a:gd name="connsiteX75" fmla="*/ 2873323 w 4317963"/>
              <a:gd name="connsiteY75" fmla="*/ 1748924 h 4239700"/>
              <a:gd name="connsiteX76" fmla="*/ 3160614 w 4317963"/>
              <a:gd name="connsiteY76" fmla="*/ 1635505 h 4239700"/>
              <a:gd name="connsiteX77" fmla="*/ 3087208 w 4317963"/>
              <a:gd name="connsiteY77" fmla="*/ 1679453 h 4239700"/>
              <a:gd name="connsiteX78" fmla="*/ 3236227 w 4317963"/>
              <a:gd name="connsiteY78" fmla="*/ 1543292 h 4239700"/>
              <a:gd name="connsiteX79" fmla="*/ 3210414 w 4317963"/>
              <a:gd name="connsiteY79" fmla="*/ 1589830 h 4239700"/>
              <a:gd name="connsiteX80" fmla="*/ 3218858 w 4317963"/>
              <a:gd name="connsiteY80" fmla="*/ 1451462 h 4239700"/>
              <a:gd name="connsiteX81" fmla="*/ 3236418 w 4317963"/>
              <a:gd name="connsiteY81" fmla="*/ 1487445 h 4239700"/>
              <a:gd name="connsiteX82" fmla="*/ 3238721 w 4317963"/>
              <a:gd name="connsiteY82" fmla="*/ 1496849 h 4239700"/>
              <a:gd name="connsiteX83" fmla="*/ 2940299 w 4317963"/>
              <a:gd name="connsiteY83" fmla="*/ 1293039 h 4239700"/>
              <a:gd name="connsiteX84" fmla="*/ 3036639 w 4317963"/>
              <a:gd name="connsiteY84" fmla="*/ 1327967 h 4239700"/>
              <a:gd name="connsiteX85" fmla="*/ 2705976 w 4317963"/>
              <a:gd name="connsiteY85" fmla="*/ 1235082 h 4239700"/>
              <a:gd name="connsiteX86" fmla="*/ 2829471 w 4317963"/>
              <a:gd name="connsiteY86" fmla="*/ 1261950 h 4239700"/>
              <a:gd name="connsiteX87" fmla="*/ 2429432 w 4317963"/>
              <a:gd name="connsiteY87" fmla="*/ 1195261 h 4239700"/>
              <a:gd name="connsiteX88" fmla="*/ 2571926 w 4317963"/>
              <a:gd name="connsiteY88" fmla="*/ 1212821 h 4239700"/>
              <a:gd name="connsiteX89" fmla="*/ 2127172 w 4317963"/>
              <a:gd name="connsiteY89" fmla="*/ 1175206 h 4239700"/>
              <a:gd name="connsiteX90" fmla="*/ 2280413 w 4317963"/>
              <a:gd name="connsiteY90" fmla="*/ 1182691 h 4239700"/>
              <a:gd name="connsiteX91" fmla="*/ 1813877 w 4317963"/>
              <a:gd name="connsiteY91" fmla="*/ 1170120 h 4239700"/>
              <a:gd name="connsiteX92" fmla="*/ 1971628 w 4317963"/>
              <a:gd name="connsiteY92" fmla="*/ 1172903 h 4239700"/>
              <a:gd name="connsiteX93" fmla="*/ 1513249 w 4317963"/>
              <a:gd name="connsiteY93" fmla="*/ 1149298 h 4239700"/>
              <a:gd name="connsiteX94" fmla="*/ 1659869 w 4317963"/>
              <a:gd name="connsiteY94" fmla="*/ 1162156 h 4239700"/>
              <a:gd name="connsiteX95" fmla="*/ 1254169 w 4317963"/>
              <a:gd name="connsiteY95" fmla="*/ 1110148 h 4239700"/>
              <a:gd name="connsiteX96" fmla="*/ 1377184 w 4317963"/>
              <a:gd name="connsiteY96" fmla="*/ 1131834 h 4239700"/>
              <a:gd name="connsiteX97" fmla="*/ 1056308 w 4317963"/>
              <a:gd name="connsiteY97" fmla="*/ 1056509 h 4239700"/>
              <a:gd name="connsiteX98" fmla="*/ 1146507 w 4317963"/>
              <a:gd name="connsiteY98" fmla="*/ 1084816 h 4239700"/>
              <a:gd name="connsiteX99" fmla="*/ 933197 w 4317963"/>
              <a:gd name="connsiteY99" fmla="*/ 993562 h 4239700"/>
              <a:gd name="connsiteX100" fmla="*/ 984918 w 4317963"/>
              <a:gd name="connsiteY100" fmla="*/ 1025899 h 4239700"/>
              <a:gd name="connsiteX101" fmla="*/ 890785 w 4317963"/>
              <a:gd name="connsiteY101" fmla="*/ 926489 h 4239700"/>
              <a:gd name="connsiteX102" fmla="*/ 901820 w 4317963"/>
              <a:gd name="connsiteY102" fmla="*/ 960170 h 4239700"/>
              <a:gd name="connsiteX103" fmla="*/ 1202737 w 4317963"/>
              <a:gd name="connsiteY103" fmla="*/ 748304 h 4239700"/>
              <a:gd name="connsiteX104" fmla="*/ 1111771 w 4317963"/>
              <a:gd name="connsiteY104" fmla="*/ 772676 h 4239700"/>
              <a:gd name="connsiteX105" fmla="*/ 1418541 w 4317963"/>
              <a:gd name="connsiteY105" fmla="*/ 708578 h 4239700"/>
              <a:gd name="connsiteX106" fmla="*/ 1305601 w 4317963"/>
              <a:gd name="connsiteY106" fmla="*/ 726810 h 4239700"/>
              <a:gd name="connsiteX107" fmla="*/ 1667449 w 4317963"/>
              <a:gd name="connsiteY107" fmla="*/ 682478 h 4239700"/>
              <a:gd name="connsiteX108" fmla="*/ 1539732 w 4317963"/>
              <a:gd name="connsiteY108" fmla="*/ 693705 h 4239700"/>
              <a:gd name="connsiteX109" fmla="*/ 1934685 w 4317963"/>
              <a:gd name="connsiteY109" fmla="*/ 671251 h 4239700"/>
              <a:gd name="connsiteX110" fmla="*/ 1799868 w 4317963"/>
              <a:gd name="connsiteY110" fmla="*/ 674994 h 4239700"/>
              <a:gd name="connsiteX111" fmla="*/ 2200962 w 4317963"/>
              <a:gd name="connsiteY111" fmla="*/ 666549 h 4239700"/>
              <a:gd name="connsiteX112" fmla="*/ 2069023 w 4317963"/>
              <a:gd name="connsiteY112" fmla="*/ 670388 h 4239700"/>
              <a:gd name="connsiteX113" fmla="*/ 2449583 w 4317963"/>
              <a:gd name="connsiteY113" fmla="*/ 648030 h 4239700"/>
              <a:gd name="connsiteX114" fmla="*/ 2328775 w 4317963"/>
              <a:gd name="connsiteY114" fmla="*/ 658969 h 4239700"/>
              <a:gd name="connsiteX115" fmla="*/ 2660973 w 4317963"/>
              <a:gd name="connsiteY115" fmla="*/ 616844 h 4239700"/>
              <a:gd name="connsiteX116" fmla="*/ 2561083 w 4317963"/>
              <a:gd name="connsiteY116" fmla="*/ 633829 h 4239700"/>
              <a:gd name="connsiteX117" fmla="*/ 2819300 w 4317963"/>
              <a:gd name="connsiteY117" fmla="*/ 575871 h 4239700"/>
              <a:gd name="connsiteX118" fmla="*/ 2747525 w 4317963"/>
              <a:gd name="connsiteY118" fmla="*/ 597365 h 4239700"/>
              <a:gd name="connsiteX119" fmla="*/ 2914104 w 4317963"/>
              <a:gd name="connsiteY119" fmla="*/ 528757 h 4239700"/>
              <a:gd name="connsiteX120" fmla="*/ 2875050 w 4317963"/>
              <a:gd name="connsiteY120" fmla="*/ 552842 h 4239700"/>
              <a:gd name="connsiteX121" fmla="*/ 2940875 w 4317963"/>
              <a:gd name="connsiteY121" fmla="*/ 479244 h 4239700"/>
              <a:gd name="connsiteX122" fmla="*/ 2935982 w 4317963"/>
              <a:gd name="connsiteY122" fmla="*/ 504001 h 4239700"/>
              <a:gd name="connsiteX123" fmla="*/ 2802507 w 4317963"/>
              <a:gd name="connsiteY123" fmla="*/ 387511 h 4239700"/>
              <a:gd name="connsiteX124" fmla="*/ 2859217 w 4317963"/>
              <a:gd name="connsiteY124" fmla="*/ 408621 h 4239700"/>
              <a:gd name="connsiteX125" fmla="*/ 2651953 w 4317963"/>
              <a:gd name="connsiteY125" fmla="*/ 350952 h 4239700"/>
              <a:gd name="connsiteX126" fmla="*/ 2732940 w 4317963"/>
              <a:gd name="connsiteY126" fmla="*/ 368224 h 4239700"/>
              <a:gd name="connsiteX127" fmla="*/ 2461865 w 4317963"/>
              <a:gd name="connsiteY127" fmla="*/ 323508 h 4239700"/>
              <a:gd name="connsiteX128" fmla="*/ 2561083 w 4317963"/>
              <a:gd name="connsiteY128" fmla="*/ 335983 h 4239700"/>
              <a:gd name="connsiteX129" fmla="*/ 2244526 w 4317963"/>
              <a:gd name="connsiteY129" fmla="*/ 306524 h 4239700"/>
              <a:gd name="connsiteX130" fmla="*/ 2355834 w 4317963"/>
              <a:gd name="connsiteY130" fmla="*/ 313625 h 4239700"/>
              <a:gd name="connsiteX131" fmla="*/ 2013273 w 4317963"/>
              <a:gd name="connsiteY131" fmla="*/ 300863 h 4239700"/>
              <a:gd name="connsiteX132" fmla="*/ 2014712 w 4317963"/>
              <a:gd name="connsiteY132" fmla="*/ 300863 h 4239700"/>
              <a:gd name="connsiteX133" fmla="*/ 2129763 w 4317963"/>
              <a:gd name="connsiteY133" fmla="*/ 302206 h 4239700"/>
              <a:gd name="connsiteX134" fmla="*/ 1779333 w 4317963"/>
              <a:gd name="connsiteY134" fmla="*/ 295009 h 4239700"/>
              <a:gd name="connsiteX135" fmla="*/ 1894960 w 4317963"/>
              <a:gd name="connsiteY135" fmla="*/ 299423 h 4239700"/>
              <a:gd name="connsiteX136" fmla="*/ 1565640 w 4317963"/>
              <a:gd name="connsiteY136" fmla="*/ 278025 h 4239700"/>
              <a:gd name="connsiteX137" fmla="*/ 1668793 w 4317963"/>
              <a:gd name="connsiteY137" fmla="*/ 287813 h 4239700"/>
              <a:gd name="connsiteX138" fmla="*/ 1389274 w 4317963"/>
              <a:gd name="connsiteY138" fmla="*/ 251446 h 4239700"/>
              <a:gd name="connsiteX139" fmla="*/ 1471892 w 4317963"/>
              <a:gd name="connsiteY139" fmla="*/ 265743 h 4239700"/>
              <a:gd name="connsiteX140" fmla="*/ 1262901 w 4317963"/>
              <a:gd name="connsiteY140" fmla="*/ 217861 h 4239700"/>
              <a:gd name="connsiteX141" fmla="*/ 1319227 w 4317963"/>
              <a:gd name="connsiteY141" fmla="*/ 235325 h 4239700"/>
              <a:gd name="connsiteX142" fmla="*/ 1194772 w 4317963"/>
              <a:gd name="connsiteY142" fmla="*/ 180055 h 4239700"/>
              <a:gd name="connsiteX143" fmla="*/ 1221256 w 4317963"/>
              <a:gd name="connsiteY143" fmla="*/ 199342 h 4239700"/>
              <a:gd name="connsiteX144" fmla="*/ 1187576 w 4317963"/>
              <a:gd name="connsiteY144" fmla="*/ 140905 h 4239700"/>
              <a:gd name="connsiteX145" fmla="*/ 1185177 w 4317963"/>
              <a:gd name="connsiteY145" fmla="*/ 145895 h 4239700"/>
              <a:gd name="connsiteX146" fmla="*/ 1183641 w 4317963"/>
              <a:gd name="connsiteY146" fmla="*/ 160480 h 4239700"/>
              <a:gd name="connsiteX147" fmla="*/ 1341680 w 4317963"/>
              <a:gd name="connsiteY147" fmla="*/ 69898 h 4239700"/>
              <a:gd name="connsiteX148" fmla="*/ 1283915 w 4317963"/>
              <a:gd name="connsiteY148" fmla="*/ 86018 h 4239700"/>
              <a:gd name="connsiteX149" fmla="*/ 1488684 w 4317963"/>
              <a:gd name="connsiteY149" fmla="*/ 42359 h 4239700"/>
              <a:gd name="connsiteX150" fmla="*/ 1410384 w 4317963"/>
              <a:gd name="connsiteY150" fmla="*/ 55217 h 4239700"/>
              <a:gd name="connsiteX151" fmla="*/ 1668505 w 4317963"/>
              <a:gd name="connsiteY151" fmla="*/ 22400 h 4239700"/>
              <a:gd name="connsiteX152" fmla="*/ 1575140 w 4317963"/>
              <a:gd name="connsiteY152" fmla="*/ 31420 h 4239700"/>
              <a:gd name="connsiteX153" fmla="*/ 3687409 w 4317963"/>
              <a:gd name="connsiteY153" fmla="*/ 4152323 h 4239700"/>
              <a:gd name="connsiteX154" fmla="*/ 3574508 w 4317963"/>
              <a:gd name="connsiteY154" fmla="*/ 4239883 h 42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4317963" h="4239700">
                <a:moveTo>
                  <a:pt x="2754088" y="4239067"/>
                </a:moveTo>
                <a:cubicBezTo>
                  <a:pt x="3216978" y="4115764"/>
                  <a:pt x="3473035" y="3923488"/>
                  <a:pt x="3418638" y="3684636"/>
                </a:cubicBezTo>
                <a:cubicBezTo>
                  <a:pt x="3350509" y="3385542"/>
                  <a:pt x="2638606" y="3234652"/>
                  <a:pt x="1895056" y="3165804"/>
                </a:cubicBezTo>
                <a:cubicBezTo>
                  <a:pt x="537516" y="3040112"/>
                  <a:pt x="-71734" y="2771427"/>
                  <a:pt x="6941" y="2333774"/>
                </a:cubicBezTo>
                <a:cubicBezTo>
                  <a:pt x="12397" y="2303423"/>
                  <a:pt x="22635" y="2274051"/>
                  <a:pt x="37757" y="2245686"/>
                </a:cubicBezTo>
                <a:moveTo>
                  <a:pt x="4127212" y="4239067"/>
                </a:moveTo>
                <a:cubicBezTo>
                  <a:pt x="4282382" y="4067393"/>
                  <a:pt x="4346989" y="3873419"/>
                  <a:pt x="4306236" y="3665157"/>
                </a:cubicBezTo>
                <a:cubicBezTo>
                  <a:pt x="4282094" y="3541777"/>
                  <a:pt x="4229693" y="3429193"/>
                  <a:pt x="4142258" y="3327979"/>
                </a:cubicBezTo>
                <a:moveTo>
                  <a:pt x="803859" y="796426"/>
                </a:moveTo>
                <a:cubicBezTo>
                  <a:pt x="751398" y="829592"/>
                  <a:pt x="724324" y="865433"/>
                  <a:pt x="717971" y="902500"/>
                </a:cubicBezTo>
                <a:cubicBezTo>
                  <a:pt x="693744" y="1043843"/>
                  <a:pt x="851827" y="1213684"/>
                  <a:pt x="1942554" y="1264924"/>
                </a:cubicBezTo>
                <a:cubicBezTo>
                  <a:pt x="2485470" y="1290429"/>
                  <a:pt x="2966879" y="1374506"/>
                  <a:pt x="2990388" y="1487637"/>
                </a:cubicBezTo>
                <a:cubicBezTo>
                  <a:pt x="3034048" y="1614395"/>
                  <a:pt x="2655791" y="1717959"/>
                  <a:pt x="1953109" y="1745278"/>
                </a:cubicBezTo>
                <a:cubicBezTo>
                  <a:pt x="1386751" y="1767300"/>
                  <a:pt x="952034" y="1821371"/>
                  <a:pt x="638269" y="1902990"/>
                </a:cubicBezTo>
                <a:moveTo>
                  <a:pt x="1132440" y="686698"/>
                </a:moveTo>
                <a:cubicBezTo>
                  <a:pt x="1324773" y="649250"/>
                  <a:pt x="1592508" y="622678"/>
                  <a:pt x="1953109" y="612429"/>
                </a:cubicBezTo>
                <a:cubicBezTo>
                  <a:pt x="2392010" y="599954"/>
                  <a:pt x="2794255" y="558116"/>
                  <a:pt x="2775064" y="473675"/>
                </a:cubicBezTo>
                <a:cubicBezTo>
                  <a:pt x="2756928" y="394128"/>
                  <a:pt x="2405539" y="358432"/>
                  <a:pt x="2012889" y="343559"/>
                </a:cubicBezTo>
                <a:cubicBezTo>
                  <a:pt x="1332085" y="317747"/>
                  <a:pt x="981559" y="245493"/>
                  <a:pt x="1026178" y="145987"/>
                </a:cubicBezTo>
                <a:cubicBezTo>
                  <a:pt x="1037875" y="119895"/>
                  <a:pt x="1082303" y="96879"/>
                  <a:pt x="1151631" y="77289"/>
                </a:cubicBezTo>
                <a:moveTo>
                  <a:pt x="1319553" y="43033"/>
                </a:moveTo>
                <a:cubicBezTo>
                  <a:pt x="1503979" y="15233"/>
                  <a:pt x="1757129" y="182"/>
                  <a:pt x="2028242" y="182"/>
                </a:cubicBezTo>
                <a:lnTo>
                  <a:pt x="2026035" y="182"/>
                </a:lnTo>
                <a:cubicBezTo>
                  <a:pt x="1676661" y="182"/>
                  <a:pt x="1377376" y="83807"/>
                  <a:pt x="1357897" y="145987"/>
                </a:cubicBezTo>
                <a:cubicBezTo>
                  <a:pt x="1337458" y="211428"/>
                  <a:pt x="1617073" y="241366"/>
                  <a:pt x="2016632" y="256432"/>
                </a:cubicBezTo>
                <a:cubicBezTo>
                  <a:pt x="2366591" y="269649"/>
                  <a:pt x="2626256" y="294202"/>
                  <a:pt x="2804398" y="329933"/>
                </a:cubicBezTo>
                <a:moveTo>
                  <a:pt x="3032359" y="402567"/>
                </a:moveTo>
                <a:cubicBezTo>
                  <a:pt x="3071096" y="424092"/>
                  <a:pt x="3094788" y="447799"/>
                  <a:pt x="3104192" y="473675"/>
                </a:cubicBezTo>
                <a:cubicBezTo>
                  <a:pt x="3150922" y="602255"/>
                  <a:pt x="2783508" y="706751"/>
                  <a:pt x="1996097" y="737361"/>
                </a:cubicBezTo>
                <a:cubicBezTo>
                  <a:pt x="1521981" y="755784"/>
                  <a:pt x="1134224" y="817867"/>
                  <a:pt x="1105534" y="902404"/>
                </a:cubicBezTo>
                <a:cubicBezTo>
                  <a:pt x="1076651" y="990492"/>
                  <a:pt x="1298231" y="1060136"/>
                  <a:pt x="1981416" y="1081745"/>
                </a:cubicBezTo>
                <a:cubicBezTo>
                  <a:pt x="2424519" y="1095764"/>
                  <a:pt x="2750855" y="1131066"/>
                  <a:pt x="2984382" y="1182028"/>
                </a:cubicBezTo>
                <a:moveTo>
                  <a:pt x="3376312" y="1329627"/>
                </a:moveTo>
                <a:cubicBezTo>
                  <a:pt x="3444133" y="1377807"/>
                  <a:pt x="3479090" y="1430966"/>
                  <a:pt x="3488302" y="1487445"/>
                </a:cubicBezTo>
                <a:cubicBezTo>
                  <a:pt x="3530349" y="1745278"/>
                  <a:pt x="3104192" y="1920483"/>
                  <a:pt x="1942554" y="1993995"/>
                </a:cubicBezTo>
                <a:cubicBezTo>
                  <a:pt x="1105534" y="2046962"/>
                  <a:pt x="702551" y="2166907"/>
                  <a:pt x="672968" y="2352677"/>
                </a:cubicBezTo>
                <a:cubicBezTo>
                  <a:pt x="643385" y="2538447"/>
                  <a:pt x="1152168" y="2679885"/>
                  <a:pt x="1911656" y="2719515"/>
                </a:cubicBezTo>
                <a:cubicBezTo>
                  <a:pt x="2603908" y="2755632"/>
                  <a:pt x="3115937" y="2833539"/>
                  <a:pt x="3485567" y="2950000"/>
                </a:cubicBezTo>
                <a:moveTo>
                  <a:pt x="3860801" y="3919631"/>
                </a:moveTo>
                <a:cubicBezTo>
                  <a:pt x="3845064" y="3959261"/>
                  <a:pt x="3822611" y="3998890"/>
                  <a:pt x="3793920" y="4037368"/>
                </a:cubicBezTo>
                <a:moveTo>
                  <a:pt x="3879224" y="3685691"/>
                </a:moveTo>
                <a:cubicBezTo>
                  <a:pt x="3888340" y="3724073"/>
                  <a:pt x="3891507" y="3763031"/>
                  <a:pt x="3888628" y="3801701"/>
                </a:cubicBezTo>
                <a:moveTo>
                  <a:pt x="3759376" y="3467297"/>
                </a:moveTo>
                <a:cubicBezTo>
                  <a:pt x="3789794" y="3501649"/>
                  <a:pt x="3815414" y="3537440"/>
                  <a:pt x="3835373" y="3573615"/>
                </a:cubicBezTo>
                <a:moveTo>
                  <a:pt x="3521982" y="3286612"/>
                </a:moveTo>
                <a:cubicBezTo>
                  <a:pt x="3570056" y="3315495"/>
                  <a:pt x="3614483" y="3346105"/>
                  <a:pt x="3653825" y="3377578"/>
                </a:cubicBezTo>
                <a:moveTo>
                  <a:pt x="3192087" y="3142391"/>
                </a:moveTo>
                <a:cubicBezTo>
                  <a:pt x="3253498" y="3164749"/>
                  <a:pt x="3312319" y="3188929"/>
                  <a:pt x="3367014" y="3214454"/>
                </a:cubicBezTo>
                <a:moveTo>
                  <a:pt x="2794735" y="3029931"/>
                </a:moveTo>
                <a:cubicBezTo>
                  <a:pt x="2865262" y="3044996"/>
                  <a:pt x="2934446" y="3062076"/>
                  <a:pt x="3000368" y="3080788"/>
                </a:cubicBezTo>
                <a:moveTo>
                  <a:pt x="2352668" y="2963347"/>
                </a:moveTo>
                <a:cubicBezTo>
                  <a:pt x="2428760" y="2970832"/>
                  <a:pt x="2504470" y="2979075"/>
                  <a:pt x="2577971" y="2990301"/>
                </a:cubicBezTo>
                <a:moveTo>
                  <a:pt x="1888051" y="2924965"/>
                </a:moveTo>
                <a:cubicBezTo>
                  <a:pt x="1888051" y="2924965"/>
                  <a:pt x="2044046" y="2933611"/>
                  <a:pt x="2121991" y="2937248"/>
                </a:cubicBezTo>
                <a:moveTo>
                  <a:pt x="1421227" y="2886957"/>
                </a:moveTo>
                <a:cubicBezTo>
                  <a:pt x="1495785" y="2894826"/>
                  <a:pt x="1573221" y="2900967"/>
                  <a:pt x="1651329" y="2905093"/>
                </a:cubicBezTo>
                <a:moveTo>
                  <a:pt x="1012361" y="2818253"/>
                </a:moveTo>
                <a:cubicBezTo>
                  <a:pt x="1075883" y="2832934"/>
                  <a:pt x="1143340" y="2846272"/>
                  <a:pt x="1212908" y="2857691"/>
                </a:cubicBezTo>
                <a:moveTo>
                  <a:pt x="669412" y="2723449"/>
                </a:moveTo>
                <a:cubicBezTo>
                  <a:pt x="716429" y="2743216"/>
                  <a:pt x="768245" y="2762119"/>
                  <a:pt x="823616" y="2779487"/>
                </a:cubicBezTo>
                <a:moveTo>
                  <a:pt x="445068" y="2594677"/>
                </a:moveTo>
                <a:cubicBezTo>
                  <a:pt x="472510" y="2617514"/>
                  <a:pt x="505327" y="2639968"/>
                  <a:pt x="542654" y="2661366"/>
                </a:cubicBezTo>
                <a:moveTo>
                  <a:pt x="971963" y="1974324"/>
                </a:moveTo>
                <a:cubicBezTo>
                  <a:pt x="919860" y="1987470"/>
                  <a:pt x="869675" y="2001863"/>
                  <a:pt x="822657" y="2017024"/>
                </a:cubicBezTo>
                <a:moveTo>
                  <a:pt x="1306752" y="1908978"/>
                </a:moveTo>
                <a:cubicBezTo>
                  <a:pt x="1247836" y="1917518"/>
                  <a:pt x="1189783" y="1927306"/>
                  <a:pt x="1134128" y="1938149"/>
                </a:cubicBezTo>
                <a:moveTo>
                  <a:pt x="1673686" y="1872419"/>
                </a:moveTo>
                <a:cubicBezTo>
                  <a:pt x="1611027" y="1876065"/>
                  <a:pt x="1548368" y="1880959"/>
                  <a:pt x="1487437" y="1887004"/>
                </a:cubicBezTo>
                <a:moveTo>
                  <a:pt x="2050983" y="1853900"/>
                </a:moveTo>
                <a:lnTo>
                  <a:pt x="1862815" y="1865318"/>
                </a:lnTo>
                <a:moveTo>
                  <a:pt x="2414079" y="1831350"/>
                </a:moveTo>
                <a:cubicBezTo>
                  <a:pt x="2356218" y="1837491"/>
                  <a:pt x="2296150" y="1842481"/>
                  <a:pt x="2235698" y="1846223"/>
                </a:cubicBezTo>
                <a:moveTo>
                  <a:pt x="2736202" y="1782029"/>
                </a:moveTo>
                <a:cubicBezTo>
                  <a:pt x="2687457" y="1792200"/>
                  <a:pt x="2635641" y="1801604"/>
                  <a:pt x="2582194" y="1809760"/>
                </a:cubicBezTo>
                <a:moveTo>
                  <a:pt x="3000559" y="1711214"/>
                </a:moveTo>
                <a:cubicBezTo>
                  <a:pt x="2964768" y="1724456"/>
                  <a:pt x="2915639" y="1737122"/>
                  <a:pt x="2873323" y="1748924"/>
                </a:cubicBezTo>
                <a:moveTo>
                  <a:pt x="3160614" y="1635505"/>
                </a:moveTo>
                <a:cubicBezTo>
                  <a:pt x="3140079" y="1650474"/>
                  <a:pt x="3115418" y="1665347"/>
                  <a:pt x="3087208" y="1679453"/>
                </a:cubicBezTo>
                <a:moveTo>
                  <a:pt x="3236227" y="1543292"/>
                </a:moveTo>
                <a:cubicBezTo>
                  <a:pt x="3231525" y="1558836"/>
                  <a:pt x="3222889" y="1574477"/>
                  <a:pt x="3210414" y="1589830"/>
                </a:cubicBezTo>
                <a:moveTo>
                  <a:pt x="3218858" y="1451462"/>
                </a:moveTo>
                <a:cubicBezTo>
                  <a:pt x="3226919" y="1463265"/>
                  <a:pt x="3232868" y="1475355"/>
                  <a:pt x="3236418" y="1487445"/>
                </a:cubicBezTo>
                <a:cubicBezTo>
                  <a:pt x="3237378" y="1490612"/>
                  <a:pt x="3238145" y="1493778"/>
                  <a:pt x="3238721" y="1496849"/>
                </a:cubicBezTo>
                <a:moveTo>
                  <a:pt x="2940299" y="1293039"/>
                </a:moveTo>
                <a:cubicBezTo>
                  <a:pt x="2974939" y="1304074"/>
                  <a:pt x="3007373" y="1315781"/>
                  <a:pt x="3036639" y="1327967"/>
                </a:cubicBezTo>
                <a:moveTo>
                  <a:pt x="2705976" y="1235082"/>
                </a:moveTo>
                <a:cubicBezTo>
                  <a:pt x="2748964" y="1243238"/>
                  <a:pt x="2790513" y="1252258"/>
                  <a:pt x="2829471" y="1261950"/>
                </a:cubicBezTo>
                <a:moveTo>
                  <a:pt x="2429432" y="1195261"/>
                </a:moveTo>
                <a:cubicBezTo>
                  <a:pt x="2477986" y="1200250"/>
                  <a:pt x="2525963" y="1206200"/>
                  <a:pt x="2571926" y="1212821"/>
                </a:cubicBezTo>
                <a:moveTo>
                  <a:pt x="2127172" y="1175206"/>
                </a:moveTo>
                <a:cubicBezTo>
                  <a:pt x="2178700" y="1176837"/>
                  <a:pt x="2230229" y="1179332"/>
                  <a:pt x="2280413" y="1182691"/>
                </a:cubicBezTo>
                <a:moveTo>
                  <a:pt x="1813877" y="1170120"/>
                </a:moveTo>
                <a:cubicBezTo>
                  <a:pt x="1865693" y="1171944"/>
                  <a:pt x="1918757" y="1172807"/>
                  <a:pt x="1971628" y="1172903"/>
                </a:cubicBezTo>
                <a:moveTo>
                  <a:pt x="1513249" y="1149298"/>
                </a:moveTo>
                <a:cubicBezTo>
                  <a:pt x="1560555" y="1154384"/>
                  <a:pt x="1609876" y="1158702"/>
                  <a:pt x="1659869" y="1162156"/>
                </a:cubicBezTo>
                <a:moveTo>
                  <a:pt x="1254169" y="1110148"/>
                </a:moveTo>
                <a:cubicBezTo>
                  <a:pt x="1292647" y="1118017"/>
                  <a:pt x="1334100" y="1125309"/>
                  <a:pt x="1377184" y="1131834"/>
                </a:cubicBezTo>
                <a:moveTo>
                  <a:pt x="1056308" y="1056509"/>
                </a:moveTo>
                <a:cubicBezTo>
                  <a:pt x="1083272" y="1066392"/>
                  <a:pt x="1113690" y="1075892"/>
                  <a:pt x="1146507" y="1084816"/>
                </a:cubicBezTo>
                <a:moveTo>
                  <a:pt x="933197" y="993562"/>
                </a:moveTo>
                <a:cubicBezTo>
                  <a:pt x="947111" y="1004597"/>
                  <a:pt x="964479" y="1015440"/>
                  <a:pt x="984918" y="1025899"/>
                </a:cubicBezTo>
                <a:moveTo>
                  <a:pt x="890785" y="926489"/>
                </a:moveTo>
                <a:cubicBezTo>
                  <a:pt x="891169" y="937716"/>
                  <a:pt x="894815" y="949135"/>
                  <a:pt x="901820" y="960170"/>
                </a:cubicBezTo>
                <a:moveTo>
                  <a:pt x="1202737" y="748304"/>
                </a:moveTo>
                <a:cubicBezTo>
                  <a:pt x="1170400" y="755980"/>
                  <a:pt x="1139694" y="764136"/>
                  <a:pt x="1111771" y="772676"/>
                </a:cubicBezTo>
                <a:moveTo>
                  <a:pt x="1418541" y="708578"/>
                </a:moveTo>
                <a:cubicBezTo>
                  <a:pt x="1379583" y="714047"/>
                  <a:pt x="1341584" y="720285"/>
                  <a:pt x="1305601" y="726810"/>
                </a:cubicBezTo>
                <a:moveTo>
                  <a:pt x="1667449" y="682478"/>
                </a:moveTo>
                <a:cubicBezTo>
                  <a:pt x="1624077" y="685645"/>
                  <a:pt x="1581185" y="689387"/>
                  <a:pt x="1539732" y="693705"/>
                </a:cubicBezTo>
                <a:moveTo>
                  <a:pt x="1934685" y="671251"/>
                </a:moveTo>
                <a:cubicBezTo>
                  <a:pt x="1889586" y="671827"/>
                  <a:pt x="1844199" y="673074"/>
                  <a:pt x="1799868" y="674994"/>
                </a:cubicBezTo>
                <a:moveTo>
                  <a:pt x="2200962" y="666549"/>
                </a:moveTo>
                <a:cubicBezTo>
                  <a:pt x="2157686" y="668469"/>
                  <a:pt x="2113355" y="669716"/>
                  <a:pt x="2069023" y="670388"/>
                </a:cubicBezTo>
                <a:moveTo>
                  <a:pt x="2449583" y="648030"/>
                </a:moveTo>
                <a:cubicBezTo>
                  <a:pt x="2410817" y="652252"/>
                  <a:pt x="2370132" y="655898"/>
                  <a:pt x="2328775" y="658969"/>
                </a:cubicBezTo>
                <a:moveTo>
                  <a:pt x="2660973" y="616844"/>
                </a:moveTo>
                <a:cubicBezTo>
                  <a:pt x="2629787" y="622986"/>
                  <a:pt x="2596203" y="628647"/>
                  <a:pt x="2561083" y="633829"/>
                </a:cubicBezTo>
                <a:moveTo>
                  <a:pt x="2819300" y="575871"/>
                </a:moveTo>
                <a:cubicBezTo>
                  <a:pt x="2797997" y="583260"/>
                  <a:pt x="2773913" y="590553"/>
                  <a:pt x="2747525" y="597365"/>
                </a:cubicBezTo>
                <a:moveTo>
                  <a:pt x="2914104" y="528757"/>
                </a:moveTo>
                <a:cubicBezTo>
                  <a:pt x="2903932" y="536913"/>
                  <a:pt x="2890787" y="545070"/>
                  <a:pt x="2875050" y="552842"/>
                </a:cubicBezTo>
                <a:moveTo>
                  <a:pt x="2940875" y="479244"/>
                </a:moveTo>
                <a:cubicBezTo>
                  <a:pt x="2942027" y="487496"/>
                  <a:pt x="2940395" y="495844"/>
                  <a:pt x="2935982" y="504001"/>
                </a:cubicBezTo>
                <a:moveTo>
                  <a:pt x="2802507" y="387511"/>
                </a:moveTo>
                <a:cubicBezTo>
                  <a:pt x="2823618" y="394228"/>
                  <a:pt x="2842713" y="401328"/>
                  <a:pt x="2859217" y="408621"/>
                </a:cubicBezTo>
                <a:moveTo>
                  <a:pt x="2651953" y="350952"/>
                </a:moveTo>
                <a:cubicBezTo>
                  <a:pt x="2680644" y="356325"/>
                  <a:pt x="2707895" y="362082"/>
                  <a:pt x="2732940" y="368224"/>
                </a:cubicBezTo>
                <a:moveTo>
                  <a:pt x="2461865" y="323508"/>
                </a:moveTo>
                <a:cubicBezTo>
                  <a:pt x="2496025" y="327251"/>
                  <a:pt x="2529418" y="331473"/>
                  <a:pt x="2561083" y="335983"/>
                </a:cubicBezTo>
                <a:moveTo>
                  <a:pt x="2244526" y="306524"/>
                </a:moveTo>
                <a:cubicBezTo>
                  <a:pt x="2282236" y="308443"/>
                  <a:pt x="2319659" y="310842"/>
                  <a:pt x="2355834" y="313625"/>
                </a:cubicBezTo>
                <a:moveTo>
                  <a:pt x="2013273" y="300863"/>
                </a:moveTo>
                <a:lnTo>
                  <a:pt x="2014712" y="300863"/>
                </a:lnTo>
                <a:cubicBezTo>
                  <a:pt x="2053191" y="300863"/>
                  <a:pt x="2091861" y="301343"/>
                  <a:pt x="2129763" y="302206"/>
                </a:cubicBezTo>
                <a:moveTo>
                  <a:pt x="1779333" y="295009"/>
                </a:moveTo>
                <a:cubicBezTo>
                  <a:pt x="1817044" y="296929"/>
                  <a:pt x="1855906" y="298368"/>
                  <a:pt x="1894960" y="299423"/>
                </a:cubicBezTo>
                <a:moveTo>
                  <a:pt x="1565640" y="278025"/>
                </a:moveTo>
                <a:cubicBezTo>
                  <a:pt x="1598553" y="281672"/>
                  <a:pt x="1633193" y="285030"/>
                  <a:pt x="1668793" y="287813"/>
                </a:cubicBezTo>
                <a:moveTo>
                  <a:pt x="1389274" y="251446"/>
                </a:moveTo>
                <a:cubicBezTo>
                  <a:pt x="1414798" y="256531"/>
                  <a:pt x="1442530" y="261329"/>
                  <a:pt x="1471892" y="265743"/>
                </a:cubicBezTo>
                <a:moveTo>
                  <a:pt x="1262901" y="217861"/>
                </a:moveTo>
                <a:cubicBezTo>
                  <a:pt x="1279213" y="223906"/>
                  <a:pt x="1298212" y="229760"/>
                  <a:pt x="1319227" y="235325"/>
                </a:cubicBezTo>
                <a:moveTo>
                  <a:pt x="1194772" y="180055"/>
                </a:moveTo>
                <a:cubicBezTo>
                  <a:pt x="1201009" y="186580"/>
                  <a:pt x="1209933" y="193009"/>
                  <a:pt x="1221256" y="199342"/>
                </a:cubicBezTo>
                <a:moveTo>
                  <a:pt x="1187576" y="140905"/>
                </a:moveTo>
                <a:cubicBezTo>
                  <a:pt x="1186616" y="142536"/>
                  <a:pt x="1185848" y="144167"/>
                  <a:pt x="1185177" y="145895"/>
                </a:cubicBezTo>
                <a:cubicBezTo>
                  <a:pt x="1183354" y="150692"/>
                  <a:pt x="1182778" y="155586"/>
                  <a:pt x="1183641" y="160480"/>
                </a:cubicBezTo>
                <a:moveTo>
                  <a:pt x="1341680" y="69898"/>
                </a:moveTo>
                <a:cubicBezTo>
                  <a:pt x="1320474" y="75079"/>
                  <a:pt x="1301091" y="80453"/>
                  <a:pt x="1283915" y="86018"/>
                </a:cubicBezTo>
                <a:moveTo>
                  <a:pt x="1488684" y="42359"/>
                </a:moveTo>
                <a:cubicBezTo>
                  <a:pt x="1461241" y="46389"/>
                  <a:pt x="1434853" y="50707"/>
                  <a:pt x="1410384" y="55217"/>
                </a:cubicBezTo>
                <a:moveTo>
                  <a:pt x="1668505" y="22400"/>
                </a:moveTo>
                <a:cubicBezTo>
                  <a:pt x="1636552" y="24991"/>
                  <a:pt x="1605078" y="28061"/>
                  <a:pt x="1575140" y="31420"/>
                </a:cubicBezTo>
                <a:moveTo>
                  <a:pt x="3687409" y="4152323"/>
                </a:moveTo>
                <a:cubicBezTo>
                  <a:pt x="3653892" y="4182184"/>
                  <a:pt x="3616018" y="4211566"/>
                  <a:pt x="3574508" y="4239883"/>
                </a:cubicBezTo>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5" name="Freeform 24">
            <a:extLst>
              <a:ext uri="{FF2B5EF4-FFF2-40B4-BE49-F238E27FC236}">
                <a16:creationId xmlns:a16="http://schemas.microsoft.com/office/drawing/2014/main" id="{9769DC28-FE93-C1C6-F532-F8E38A682D5D}"/>
              </a:ext>
            </a:extLst>
          </p:cNvPr>
          <p:cNvSpPr/>
          <p:nvPr/>
        </p:nvSpPr>
        <p:spPr>
          <a:xfrm>
            <a:off x="7652859" y="4404750"/>
            <a:ext cx="938799" cy="1139970"/>
          </a:xfrm>
          <a:custGeom>
            <a:avLst/>
            <a:gdLst>
              <a:gd name="connsiteX0" fmla="*/ 586 w 806026"/>
              <a:gd name="connsiteY0" fmla="*/ 403887 h 978746"/>
              <a:gd name="connsiteX1" fmla="*/ 402986 w 806026"/>
              <a:gd name="connsiteY1" fmla="*/ 452 h 978746"/>
              <a:gd name="connsiteX2" fmla="*/ 404189 w 806026"/>
              <a:gd name="connsiteY2" fmla="*/ 452 h 978746"/>
              <a:gd name="connsiteX3" fmla="*/ 806589 w 806026"/>
              <a:gd name="connsiteY3" fmla="*/ 403887 h 978746"/>
              <a:gd name="connsiteX4" fmla="*/ 806601 w 806026"/>
              <a:gd name="connsiteY4" fmla="*/ 403887 h 978746"/>
              <a:gd name="connsiteX5" fmla="*/ 403587 w 806026"/>
              <a:gd name="connsiteY5" fmla="*/ 979199 h 978746"/>
              <a:gd name="connsiteX6" fmla="*/ 574 w 806026"/>
              <a:gd name="connsiteY6" fmla="*/ 403887 h 978746"/>
              <a:gd name="connsiteX7" fmla="*/ 586 w 806026"/>
              <a:gd name="connsiteY7" fmla="*/ 403887 h 97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6026" h="978746">
                <a:moveTo>
                  <a:pt x="586" y="403887"/>
                </a:moveTo>
                <a:cubicBezTo>
                  <a:pt x="586" y="181074"/>
                  <a:pt x="180744" y="452"/>
                  <a:pt x="402986" y="452"/>
                </a:cubicBezTo>
                <a:lnTo>
                  <a:pt x="404189" y="452"/>
                </a:lnTo>
                <a:cubicBezTo>
                  <a:pt x="626431" y="452"/>
                  <a:pt x="806589" y="181074"/>
                  <a:pt x="806589" y="403887"/>
                </a:cubicBezTo>
                <a:lnTo>
                  <a:pt x="806601" y="403887"/>
                </a:lnTo>
                <a:cubicBezTo>
                  <a:pt x="806601" y="699064"/>
                  <a:pt x="403587" y="979199"/>
                  <a:pt x="403587" y="979199"/>
                </a:cubicBezTo>
                <a:cubicBezTo>
                  <a:pt x="403587" y="979199"/>
                  <a:pt x="574" y="699064"/>
                  <a:pt x="574" y="403887"/>
                </a:cubicBezTo>
                <a:lnTo>
                  <a:pt x="586" y="403887"/>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6" name="Freeform 25">
            <a:extLst>
              <a:ext uri="{FF2B5EF4-FFF2-40B4-BE49-F238E27FC236}">
                <a16:creationId xmlns:a16="http://schemas.microsoft.com/office/drawing/2014/main" id="{850DAB53-0D15-D88C-59EB-551C109E1A85}"/>
              </a:ext>
            </a:extLst>
          </p:cNvPr>
          <p:cNvSpPr/>
          <p:nvPr/>
        </p:nvSpPr>
        <p:spPr>
          <a:xfrm>
            <a:off x="3584728" y="3398894"/>
            <a:ext cx="804684" cy="983503"/>
          </a:xfrm>
          <a:custGeom>
            <a:avLst/>
            <a:gdLst>
              <a:gd name="connsiteX0" fmla="*/ 221 w 690879"/>
              <a:gd name="connsiteY0" fmla="*/ 348424 h 844408"/>
              <a:gd name="connsiteX1" fmla="*/ 345135 w 690879"/>
              <a:gd name="connsiteY1" fmla="*/ 362 h 844408"/>
              <a:gd name="connsiteX2" fmla="*/ 346165 w 690879"/>
              <a:gd name="connsiteY2" fmla="*/ 362 h 844408"/>
              <a:gd name="connsiteX3" fmla="*/ 691079 w 690879"/>
              <a:gd name="connsiteY3" fmla="*/ 348424 h 844408"/>
              <a:gd name="connsiteX4" fmla="*/ 691090 w 690879"/>
              <a:gd name="connsiteY4" fmla="*/ 348424 h 844408"/>
              <a:gd name="connsiteX5" fmla="*/ 345650 w 690879"/>
              <a:gd name="connsiteY5" fmla="*/ 844771 h 844408"/>
              <a:gd name="connsiteX6" fmla="*/ 210 w 690879"/>
              <a:gd name="connsiteY6" fmla="*/ 348424 h 844408"/>
              <a:gd name="connsiteX7" fmla="*/ 221 w 690879"/>
              <a:gd name="connsiteY7" fmla="*/ 348424 h 84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879" h="844408">
                <a:moveTo>
                  <a:pt x="221" y="348424"/>
                </a:moveTo>
                <a:cubicBezTo>
                  <a:pt x="221" y="156193"/>
                  <a:pt x="154642" y="362"/>
                  <a:pt x="345135" y="362"/>
                </a:cubicBezTo>
                <a:lnTo>
                  <a:pt x="346165" y="362"/>
                </a:lnTo>
                <a:cubicBezTo>
                  <a:pt x="536658" y="362"/>
                  <a:pt x="691079" y="156193"/>
                  <a:pt x="691079" y="348424"/>
                </a:cubicBezTo>
                <a:lnTo>
                  <a:pt x="691090" y="348424"/>
                </a:lnTo>
                <a:cubicBezTo>
                  <a:pt x="691090" y="603087"/>
                  <a:pt x="345650" y="844771"/>
                  <a:pt x="345650" y="844771"/>
                </a:cubicBezTo>
                <a:cubicBezTo>
                  <a:pt x="345650" y="844771"/>
                  <a:pt x="210" y="603087"/>
                  <a:pt x="210" y="348424"/>
                </a:cubicBezTo>
                <a:lnTo>
                  <a:pt x="221" y="348424"/>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7" name="Freeform 26">
            <a:extLst>
              <a:ext uri="{FF2B5EF4-FFF2-40B4-BE49-F238E27FC236}">
                <a16:creationId xmlns:a16="http://schemas.microsoft.com/office/drawing/2014/main" id="{3F75E7CE-DA97-C9EB-6583-9116EB72A71E}"/>
              </a:ext>
            </a:extLst>
          </p:cNvPr>
          <p:cNvSpPr/>
          <p:nvPr/>
        </p:nvSpPr>
        <p:spPr>
          <a:xfrm>
            <a:off x="7026993" y="2258924"/>
            <a:ext cx="670571" cy="827037"/>
          </a:xfrm>
          <a:custGeom>
            <a:avLst/>
            <a:gdLst>
              <a:gd name="connsiteX0" fmla="*/ 527 w 575733"/>
              <a:gd name="connsiteY0" fmla="*/ 292947 h 710071"/>
              <a:gd name="connsiteX1" fmla="*/ 287955 w 575733"/>
              <a:gd name="connsiteY1" fmla="*/ 260 h 710071"/>
              <a:gd name="connsiteX2" fmla="*/ 288815 w 575733"/>
              <a:gd name="connsiteY2" fmla="*/ 260 h 710071"/>
              <a:gd name="connsiteX3" fmla="*/ 576243 w 575733"/>
              <a:gd name="connsiteY3" fmla="*/ 292947 h 710071"/>
              <a:gd name="connsiteX4" fmla="*/ 576251 w 575733"/>
              <a:gd name="connsiteY4" fmla="*/ 292947 h 710071"/>
              <a:gd name="connsiteX5" fmla="*/ 288385 w 575733"/>
              <a:gd name="connsiteY5" fmla="*/ 710331 h 710071"/>
              <a:gd name="connsiteX6" fmla="*/ 518 w 575733"/>
              <a:gd name="connsiteY6" fmla="*/ 292947 h 710071"/>
              <a:gd name="connsiteX7" fmla="*/ 527 w 575733"/>
              <a:gd name="connsiteY7" fmla="*/ 292947 h 7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33" h="710071">
                <a:moveTo>
                  <a:pt x="527" y="292947"/>
                </a:moveTo>
                <a:cubicBezTo>
                  <a:pt x="527" y="131299"/>
                  <a:pt x="129211" y="260"/>
                  <a:pt x="287955" y="260"/>
                </a:cubicBezTo>
                <a:lnTo>
                  <a:pt x="288815" y="260"/>
                </a:lnTo>
                <a:cubicBezTo>
                  <a:pt x="447559" y="260"/>
                  <a:pt x="576243" y="131299"/>
                  <a:pt x="576243" y="292947"/>
                </a:cubicBezTo>
                <a:lnTo>
                  <a:pt x="576251" y="292947"/>
                </a:lnTo>
                <a:cubicBezTo>
                  <a:pt x="576251" y="507096"/>
                  <a:pt x="288385" y="710331"/>
                  <a:pt x="288385" y="710331"/>
                </a:cubicBezTo>
                <a:cubicBezTo>
                  <a:pt x="288385" y="710331"/>
                  <a:pt x="518" y="507096"/>
                  <a:pt x="518" y="292947"/>
                </a:cubicBezTo>
                <a:lnTo>
                  <a:pt x="527" y="292947"/>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8" name="Freeform 27">
            <a:extLst>
              <a:ext uri="{FF2B5EF4-FFF2-40B4-BE49-F238E27FC236}">
                <a16:creationId xmlns:a16="http://schemas.microsoft.com/office/drawing/2014/main" id="{6068C16F-4F42-4318-17DB-E44DD568D9A1}"/>
              </a:ext>
            </a:extLst>
          </p:cNvPr>
          <p:cNvSpPr/>
          <p:nvPr/>
        </p:nvSpPr>
        <p:spPr>
          <a:xfrm>
            <a:off x="4411766" y="1789523"/>
            <a:ext cx="536456" cy="659394"/>
          </a:xfrm>
          <a:custGeom>
            <a:avLst/>
            <a:gdLst>
              <a:gd name="connsiteX0" fmla="*/ 291 w 460586"/>
              <a:gd name="connsiteY0" fmla="*/ 233577 h 566137"/>
              <a:gd name="connsiteX1" fmla="*/ 230234 w 460586"/>
              <a:gd name="connsiteY1" fmla="*/ 218 h 566137"/>
              <a:gd name="connsiteX2" fmla="*/ 230921 w 460586"/>
              <a:gd name="connsiteY2" fmla="*/ 218 h 566137"/>
              <a:gd name="connsiteX3" fmla="*/ 460864 w 460586"/>
              <a:gd name="connsiteY3" fmla="*/ 233577 h 566137"/>
              <a:gd name="connsiteX4" fmla="*/ 460871 w 460586"/>
              <a:gd name="connsiteY4" fmla="*/ 233577 h 566137"/>
              <a:gd name="connsiteX5" fmla="*/ 230577 w 460586"/>
              <a:gd name="connsiteY5" fmla="*/ 566356 h 566137"/>
              <a:gd name="connsiteX6" fmla="*/ 284 w 460586"/>
              <a:gd name="connsiteY6" fmla="*/ 233577 h 566137"/>
              <a:gd name="connsiteX7" fmla="*/ 291 w 460586"/>
              <a:gd name="connsiteY7" fmla="*/ 233577 h 566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586" h="566137">
                <a:moveTo>
                  <a:pt x="291" y="233577"/>
                </a:moveTo>
                <a:cubicBezTo>
                  <a:pt x="291" y="104695"/>
                  <a:pt x="103239" y="218"/>
                  <a:pt x="230234" y="218"/>
                </a:cubicBezTo>
                <a:lnTo>
                  <a:pt x="230921" y="218"/>
                </a:lnTo>
                <a:cubicBezTo>
                  <a:pt x="357916" y="218"/>
                  <a:pt x="460864" y="104695"/>
                  <a:pt x="460864" y="233577"/>
                </a:cubicBezTo>
                <a:lnTo>
                  <a:pt x="460871" y="233577"/>
                </a:lnTo>
                <a:cubicBezTo>
                  <a:pt x="460871" y="404318"/>
                  <a:pt x="230577" y="566356"/>
                  <a:pt x="230577" y="566356"/>
                </a:cubicBezTo>
                <a:cubicBezTo>
                  <a:pt x="230577" y="566356"/>
                  <a:pt x="284" y="404318"/>
                  <a:pt x="284" y="233577"/>
                </a:cubicBezTo>
                <a:lnTo>
                  <a:pt x="291" y="233577"/>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 name="Freeform 28">
            <a:extLst>
              <a:ext uri="{FF2B5EF4-FFF2-40B4-BE49-F238E27FC236}">
                <a16:creationId xmlns:a16="http://schemas.microsoft.com/office/drawing/2014/main" id="{6E49198B-3FC1-A431-CC96-A687B7E7FE95}"/>
              </a:ext>
            </a:extLst>
          </p:cNvPr>
          <p:cNvSpPr/>
          <p:nvPr/>
        </p:nvSpPr>
        <p:spPr>
          <a:xfrm>
            <a:off x="6825822" y="1454239"/>
            <a:ext cx="402341" cy="494546"/>
          </a:xfrm>
          <a:custGeom>
            <a:avLst/>
            <a:gdLst>
              <a:gd name="connsiteX0" fmla="*/ 505 w 345439"/>
              <a:gd name="connsiteY0" fmla="*/ 175207 h 424603"/>
              <a:gd name="connsiteX1" fmla="*/ 172962 w 345439"/>
              <a:gd name="connsiteY1" fmla="*/ 188 h 424603"/>
              <a:gd name="connsiteX2" fmla="*/ 173478 w 345439"/>
              <a:gd name="connsiteY2" fmla="*/ 188 h 424603"/>
              <a:gd name="connsiteX3" fmla="*/ 345935 w 345439"/>
              <a:gd name="connsiteY3" fmla="*/ 175207 h 424603"/>
              <a:gd name="connsiteX4" fmla="*/ 345940 w 345439"/>
              <a:gd name="connsiteY4" fmla="*/ 175207 h 424603"/>
              <a:gd name="connsiteX5" fmla="*/ 173220 w 345439"/>
              <a:gd name="connsiteY5" fmla="*/ 424791 h 424603"/>
              <a:gd name="connsiteX6" fmla="*/ 500 w 345439"/>
              <a:gd name="connsiteY6" fmla="*/ 175207 h 424603"/>
              <a:gd name="connsiteX7" fmla="*/ 505 w 345439"/>
              <a:gd name="connsiteY7" fmla="*/ 175207 h 42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39" h="424603">
                <a:moveTo>
                  <a:pt x="505" y="175207"/>
                </a:moveTo>
                <a:cubicBezTo>
                  <a:pt x="505" y="78546"/>
                  <a:pt x="77715" y="188"/>
                  <a:pt x="172962" y="188"/>
                </a:cubicBezTo>
                <a:lnTo>
                  <a:pt x="173478" y="188"/>
                </a:lnTo>
                <a:cubicBezTo>
                  <a:pt x="268725" y="188"/>
                  <a:pt x="345935" y="78546"/>
                  <a:pt x="345935" y="175207"/>
                </a:cubicBezTo>
                <a:lnTo>
                  <a:pt x="345940" y="175207"/>
                </a:lnTo>
                <a:cubicBezTo>
                  <a:pt x="345940" y="303263"/>
                  <a:pt x="173220" y="424791"/>
                  <a:pt x="173220" y="424791"/>
                </a:cubicBezTo>
                <a:cubicBezTo>
                  <a:pt x="173220" y="424791"/>
                  <a:pt x="500" y="303263"/>
                  <a:pt x="500" y="175207"/>
                </a:cubicBezTo>
                <a:lnTo>
                  <a:pt x="505" y="175207"/>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0" name="Freeform 29">
            <a:extLst>
              <a:ext uri="{FF2B5EF4-FFF2-40B4-BE49-F238E27FC236}">
                <a16:creationId xmlns:a16="http://schemas.microsoft.com/office/drawing/2014/main" id="{800C4ACA-5E29-1040-FB6B-E7AF96266735}"/>
              </a:ext>
            </a:extLst>
          </p:cNvPr>
          <p:cNvSpPr/>
          <p:nvPr/>
        </p:nvSpPr>
        <p:spPr>
          <a:xfrm>
            <a:off x="4814108" y="1051895"/>
            <a:ext cx="402341" cy="494546"/>
          </a:xfrm>
          <a:custGeom>
            <a:avLst/>
            <a:gdLst>
              <a:gd name="connsiteX0" fmla="*/ 325 w 345439"/>
              <a:gd name="connsiteY0" fmla="*/ 175171 h 424603"/>
              <a:gd name="connsiteX1" fmla="*/ 172782 w 345439"/>
              <a:gd name="connsiteY1" fmla="*/ 152 h 424603"/>
              <a:gd name="connsiteX2" fmla="*/ 173298 w 345439"/>
              <a:gd name="connsiteY2" fmla="*/ 152 h 424603"/>
              <a:gd name="connsiteX3" fmla="*/ 345755 w 345439"/>
              <a:gd name="connsiteY3" fmla="*/ 175171 h 424603"/>
              <a:gd name="connsiteX4" fmla="*/ 345760 w 345439"/>
              <a:gd name="connsiteY4" fmla="*/ 175171 h 424603"/>
              <a:gd name="connsiteX5" fmla="*/ 173040 w 345439"/>
              <a:gd name="connsiteY5" fmla="*/ 424755 h 424603"/>
              <a:gd name="connsiteX6" fmla="*/ 320 w 345439"/>
              <a:gd name="connsiteY6" fmla="*/ 175171 h 424603"/>
              <a:gd name="connsiteX7" fmla="*/ 325 w 345439"/>
              <a:gd name="connsiteY7" fmla="*/ 175171 h 42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39" h="424603">
                <a:moveTo>
                  <a:pt x="325" y="175171"/>
                </a:moveTo>
                <a:cubicBezTo>
                  <a:pt x="325" y="78510"/>
                  <a:pt x="77535" y="152"/>
                  <a:pt x="172782" y="152"/>
                </a:cubicBezTo>
                <a:lnTo>
                  <a:pt x="173298" y="152"/>
                </a:lnTo>
                <a:cubicBezTo>
                  <a:pt x="268545" y="152"/>
                  <a:pt x="345755" y="78510"/>
                  <a:pt x="345755" y="175171"/>
                </a:cubicBezTo>
                <a:lnTo>
                  <a:pt x="345760" y="175171"/>
                </a:lnTo>
                <a:cubicBezTo>
                  <a:pt x="345760" y="303227"/>
                  <a:pt x="173040" y="424755"/>
                  <a:pt x="173040" y="424755"/>
                </a:cubicBezTo>
                <a:cubicBezTo>
                  <a:pt x="173040" y="424755"/>
                  <a:pt x="320" y="303227"/>
                  <a:pt x="320" y="175171"/>
                </a:cubicBezTo>
                <a:lnTo>
                  <a:pt x="325" y="175171"/>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6" name="Freeform 35">
            <a:extLst>
              <a:ext uri="{FF2B5EF4-FFF2-40B4-BE49-F238E27FC236}">
                <a16:creationId xmlns:a16="http://schemas.microsoft.com/office/drawing/2014/main" id="{9C8B5C75-604A-9EB2-02E7-C70266234783}"/>
              </a:ext>
            </a:extLst>
          </p:cNvPr>
          <p:cNvSpPr/>
          <p:nvPr/>
        </p:nvSpPr>
        <p:spPr>
          <a:xfrm>
            <a:off x="7869398" y="4618495"/>
            <a:ext cx="528074" cy="578366"/>
          </a:xfrm>
          <a:custGeom>
            <a:avLst/>
            <a:gdLst>
              <a:gd name="connsiteX0" fmla="*/ 205695 w 453389"/>
              <a:gd name="connsiteY0" fmla="*/ 259550 h 496569"/>
              <a:gd name="connsiteX1" fmla="*/ 76155 w 453389"/>
              <a:gd name="connsiteY1" fmla="*/ 130010 h 496569"/>
              <a:gd name="connsiteX2" fmla="*/ 205695 w 453389"/>
              <a:gd name="connsiteY2" fmla="*/ 470 h 496569"/>
              <a:gd name="connsiteX3" fmla="*/ 590 w 453389"/>
              <a:gd name="connsiteY3" fmla="*/ 497040 h 496569"/>
              <a:gd name="connsiteX4" fmla="*/ 205695 w 453389"/>
              <a:gd name="connsiteY4" fmla="*/ 291935 h 496569"/>
              <a:gd name="connsiteX5" fmla="*/ 205695 w 453389"/>
              <a:gd name="connsiteY5" fmla="*/ 497040 h 496569"/>
              <a:gd name="connsiteX6" fmla="*/ 248875 w 453389"/>
              <a:gd name="connsiteY6" fmla="*/ 259550 h 496569"/>
              <a:gd name="connsiteX7" fmla="*/ 270465 w 453389"/>
              <a:gd name="connsiteY7" fmla="*/ 257607 h 496569"/>
              <a:gd name="connsiteX8" fmla="*/ 270465 w 453389"/>
              <a:gd name="connsiteY8" fmla="*/ 224574 h 496569"/>
              <a:gd name="connsiteX9" fmla="*/ 300410 w 453389"/>
              <a:gd name="connsiteY9" fmla="*/ 212073 h 496569"/>
              <a:gd name="connsiteX10" fmla="*/ 323857 w 453389"/>
              <a:gd name="connsiteY10" fmla="*/ 235521 h 496569"/>
              <a:gd name="connsiteX11" fmla="*/ 354385 w 453389"/>
              <a:gd name="connsiteY11" fmla="*/ 204992 h 496569"/>
              <a:gd name="connsiteX12" fmla="*/ 330917 w 453389"/>
              <a:gd name="connsiteY12" fmla="*/ 181546 h 496569"/>
              <a:gd name="connsiteX13" fmla="*/ 343439 w 453389"/>
              <a:gd name="connsiteY13" fmla="*/ 151600 h 496569"/>
              <a:gd name="connsiteX14" fmla="*/ 376472 w 453389"/>
              <a:gd name="connsiteY14" fmla="*/ 151600 h 496569"/>
              <a:gd name="connsiteX15" fmla="*/ 378415 w 453389"/>
              <a:gd name="connsiteY15" fmla="*/ 130010 h 496569"/>
              <a:gd name="connsiteX16" fmla="*/ 376472 w 453389"/>
              <a:gd name="connsiteY16" fmla="*/ 108420 h 496569"/>
              <a:gd name="connsiteX17" fmla="*/ 343439 w 453389"/>
              <a:gd name="connsiteY17" fmla="*/ 108420 h 496569"/>
              <a:gd name="connsiteX18" fmla="*/ 330917 w 453389"/>
              <a:gd name="connsiteY18" fmla="*/ 78474 h 496569"/>
              <a:gd name="connsiteX19" fmla="*/ 354364 w 453389"/>
              <a:gd name="connsiteY19" fmla="*/ 55027 h 496569"/>
              <a:gd name="connsiteX20" fmla="*/ 323835 w 453389"/>
              <a:gd name="connsiteY20" fmla="*/ 24500 h 496569"/>
              <a:gd name="connsiteX21" fmla="*/ 300411 w 453389"/>
              <a:gd name="connsiteY21" fmla="*/ 47968 h 496569"/>
              <a:gd name="connsiteX22" fmla="*/ 270465 w 453389"/>
              <a:gd name="connsiteY22" fmla="*/ 35446 h 496569"/>
              <a:gd name="connsiteX23" fmla="*/ 270465 w 453389"/>
              <a:gd name="connsiteY23" fmla="*/ 2413 h 496569"/>
              <a:gd name="connsiteX24" fmla="*/ 248875 w 453389"/>
              <a:gd name="connsiteY24" fmla="*/ 470 h 496569"/>
              <a:gd name="connsiteX25" fmla="*/ 248875 w 453389"/>
              <a:gd name="connsiteY25" fmla="*/ 86830 h 496569"/>
              <a:gd name="connsiteX26" fmla="*/ 292055 w 453389"/>
              <a:gd name="connsiteY26" fmla="*/ 130010 h 496569"/>
              <a:gd name="connsiteX27" fmla="*/ 248875 w 453389"/>
              <a:gd name="connsiteY27" fmla="*/ 173190 h 496569"/>
              <a:gd name="connsiteX28" fmla="*/ 453980 w 453389"/>
              <a:gd name="connsiteY28" fmla="*/ 497040 h 496569"/>
              <a:gd name="connsiteX29" fmla="*/ 451173 w 453389"/>
              <a:gd name="connsiteY29" fmla="*/ 464655 h 496569"/>
              <a:gd name="connsiteX30" fmla="*/ 407540 w 453389"/>
              <a:gd name="connsiteY30" fmla="*/ 464655 h 496569"/>
              <a:gd name="connsiteX31" fmla="*/ 393420 w 453389"/>
              <a:gd name="connsiteY31" fmla="*/ 424347 h 496569"/>
              <a:gd name="connsiteX32" fmla="*/ 425179 w 453389"/>
              <a:gd name="connsiteY32" fmla="*/ 392609 h 496569"/>
              <a:gd name="connsiteX33" fmla="*/ 366476 w 453389"/>
              <a:gd name="connsiteY33" fmla="*/ 329156 h 496569"/>
              <a:gd name="connsiteX34" fmla="*/ 335342 w 453389"/>
              <a:gd name="connsiteY34" fmla="*/ 360310 h 496569"/>
              <a:gd name="connsiteX35" fmla="*/ 292162 w 453389"/>
              <a:gd name="connsiteY35" fmla="*/ 341117 h 496569"/>
              <a:gd name="connsiteX36" fmla="*/ 292162 w 453389"/>
              <a:gd name="connsiteY36" fmla="*/ 296576 h 496569"/>
              <a:gd name="connsiteX37" fmla="*/ 248875 w 453389"/>
              <a:gd name="connsiteY37" fmla="*/ 291935 h 496569"/>
              <a:gd name="connsiteX38" fmla="*/ 248875 w 453389"/>
              <a:gd name="connsiteY38" fmla="*/ 410680 h 496569"/>
              <a:gd name="connsiteX39" fmla="*/ 335235 w 453389"/>
              <a:gd name="connsiteY39" fmla="*/ 497040 h 496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53389" h="496569">
                <a:moveTo>
                  <a:pt x="205695" y="259550"/>
                </a:moveTo>
                <a:cubicBezTo>
                  <a:pt x="134152" y="259550"/>
                  <a:pt x="76155" y="201553"/>
                  <a:pt x="76155" y="130010"/>
                </a:cubicBezTo>
                <a:cubicBezTo>
                  <a:pt x="76155" y="58467"/>
                  <a:pt x="134152" y="470"/>
                  <a:pt x="205695" y="470"/>
                </a:cubicBezTo>
                <a:close/>
                <a:moveTo>
                  <a:pt x="590" y="497040"/>
                </a:moveTo>
                <a:cubicBezTo>
                  <a:pt x="590" y="383764"/>
                  <a:pt x="92418" y="291935"/>
                  <a:pt x="205695" y="291935"/>
                </a:cubicBezTo>
                <a:lnTo>
                  <a:pt x="205695" y="497040"/>
                </a:lnTo>
                <a:close/>
                <a:moveTo>
                  <a:pt x="248875" y="259550"/>
                </a:moveTo>
                <a:cubicBezTo>
                  <a:pt x="256113" y="259507"/>
                  <a:pt x="263335" y="258856"/>
                  <a:pt x="270465" y="257607"/>
                </a:cubicBezTo>
                <a:lnTo>
                  <a:pt x="270465" y="224574"/>
                </a:lnTo>
                <a:cubicBezTo>
                  <a:pt x="281084" y="222138"/>
                  <a:pt x="291211" y="217911"/>
                  <a:pt x="300410" y="212073"/>
                </a:cubicBezTo>
                <a:lnTo>
                  <a:pt x="323857" y="235521"/>
                </a:lnTo>
                <a:cubicBezTo>
                  <a:pt x="335668" y="227122"/>
                  <a:pt x="345987" y="216803"/>
                  <a:pt x="354385" y="204992"/>
                </a:cubicBezTo>
                <a:lnTo>
                  <a:pt x="330917" y="181546"/>
                </a:lnTo>
                <a:cubicBezTo>
                  <a:pt x="336762" y="172348"/>
                  <a:pt x="340996" y="162220"/>
                  <a:pt x="343439" y="151600"/>
                </a:cubicBezTo>
                <a:lnTo>
                  <a:pt x="376472" y="151600"/>
                </a:lnTo>
                <a:cubicBezTo>
                  <a:pt x="377721" y="144471"/>
                  <a:pt x="378372" y="137248"/>
                  <a:pt x="378415" y="130010"/>
                </a:cubicBezTo>
                <a:cubicBezTo>
                  <a:pt x="378372" y="122772"/>
                  <a:pt x="377721" y="115550"/>
                  <a:pt x="376472" y="108420"/>
                </a:cubicBezTo>
                <a:lnTo>
                  <a:pt x="343439" y="108420"/>
                </a:lnTo>
                <a:cubicBezTo>
                  <a:pt x="340996" y="97800"/>
                  <a:pt x="336762" y="87672"/>
                  <a:pt x="330917" y="78474"/>
                </a:cubicBezTo>
                <a:lnTo>
                  <a:pt x="354364" y="55027"/>
                </a:lnTo>
                <a:cubicBezTo>
                  <a:pt x="345965" y="43217"/>
                  <a:pt x="335646" y="32898"/>
                  <a:pt x="323835" y="24500"/>
                </a:cubicBezTo>
                <a:lnTo>
                  <a:pt x="300411" y="47968"/>
                </a:lnTo>
                <a:cubicBezTo>
                  <a:pt x="291212" y="42123"/>
                  <a:pt x="281085" y="37889"/>
                  <a:pt x="270465" y="35446"/>
                </a:cubicBezTo>
                <a:lnTo>
                  <a:pt x="270465" y="2413"/>
                </a:lnTo>
                <a:cubicBezTo>
                  <a:pt x="263335" y="1164"/>
                  <a:pt x="256113" y="513"/>
                  <a:pt x="248875" y="470"/>
                </a:cubicBezTo>
                <a:moveTo>
                  <a:pt x="248875" y="86830"/>
                </a:moveTo>
                <a:cubicBezTo>
                  <a:pt x="272723" y="86830"/>
                  <a:pt x="292055" y="106162"/>
                  <a:pt x="292055" y="130010"/>
                </a:cubicBezTo>
                <a:cubicBezTo>
                  <a:pt x="292055" y="153858"/>
                  <a:pt x="272723" y="173190"/>
                  <a:pt x="248875" y="173190"/>
                </a:cubicBezTo>
                <a:moveTo>
                  <a:pt x="453980" y="497040"/>
                </a:moveTo>
                <a:cubicBezTo>
                  <a:pt x="453902" y="486187"/>
                  <a:pt x="452964" y="475359"/>
                  <a:pt x="451173" y="464655"/>
                </a:cubicBezTo>
                <a:lnTo>
                  <a:pt x="407540" y="464655"/>
                </a:lnTo>
                <a:cubicBezTo>
                  <a:pt x="404655" y="450648"/>
                  <a:pt x="399906" y="437092"/>
                  <a:pt x="393420" y="424347"/>
                </a:cubicBezTo>
                <a:lnTo>
                  <a:pt x="425179" y="392609"/>
                </a:lnTo>
                <a:cubicBezTo>
                  <a:pt x="410322" y="367542"/>
                  <a:pt x="390313" y="345915"/>
                  <a:pt x="366476" y="329156"/>
                </a:cubicBezTo>
                <a:lnTo>
                  <a:pt x="335342" y="360310"/>
                </a:lnTo>
                <a:cubicBezTo>
                  <a:pt x="321980" y="351809"/>
                  <a:pt x="307427" y="345341"/>
                  <a:pt x="292162" y="341117"/>
                </a:cubicBezTo>
                <a:lnTo>
                  <a:pt x="292162" y="296576"/>
                </a:lnTo>
                <a:cubicBezTo>
                  <a:pt x="277938" y="293505"/>
                  <a:pt x="263428" y="291949"/>
                  <a:pt x="248875" y="291935"/>
                </a:cubicBezTo>
                <a:moveTo>
                  <a:pt x="248875" y="410680"/>
                </a:moveTo>
                <a:cubicBezTo>
                  <a:pt x="296571" y="410680"/>
                  <a:pt x="335235" y="449344"/>
                  <a:pt x="335235" y="497040"/>
                </a:cubicBezTo>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38" name="Graphic 37" descr="Flag with solid fill">
            <a:extLst>
              <a:ext uri="{FF2B5EF4-FFF2-40B4-BE49-F238E27FC236}">
                <a16:creationId xmlns:a16="http://schemas.microsoft.com/office/drawing/2014/main" id="{54166B26-4DBE-803C-8547-299886CBAC7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37407" y="3032115"/>
            <a:ext cx="1555739" cy="1555739"/>
          </a:xfrm>
          <a:prstGeom prst="rect">
            <a:avLst/>
          </a:prstGeom>
        </p:spPr>
      </p:pic>
      <p:sp>
        <p:nvSpPr>
          <p:cNvPr id="39" name="TextBox 38">
            <a:extLst>
              <a:ext uri="{FF2B5EF4-FFF2-40B4-BE49-F238E27FC236}">
                <a16:creationId xmlns:a16="http://schemas.microsoft.com/office/drawing/2014/main" id="{C464E1CB-FCF5-8007-EBDD-7C1456EB640B}"/>
              </a:ext>
            </a:extLst>
          </p:cNvPr>
          <p:cNvSpPr txBox="1"/>
          <p:nvPr/>
        </p:nvSpPr>
        <p:spPr>
          <a:xfrm>
            <a:off x="4680746" y="4178845"/>
            <a:ext cx="1514197" cy="369332"/>
          </a:xfrm>
          <a:prstGeom prst="rect">
            <a:avLst/>
          </a:prstGeom>
          <a:noFill/>
        </p:spPr>
        <p:txBody>
          <a:bodyPr wrap="square" rtlCol="0">
            <a:spAutoFit/>
          </a:bodyPr>
          <a:lstStyle/>
          <a:p>
            <a:r>
              <a:rPr lang="en-US" dirty="0"/>
              <a:t>We are here!</a:t>
            </a:r>
          </a:p>
        </p:txBody>
      </p:sp>
      <p:pic>
        <p:nvPicPr>
          <p:cNvPr id="41" name="Graphic 40" descr="Hammer with solid fill">
            <a:extLst>
              <a:ext uri="{FF2B5EF4-FFF2-40B4-BE49-F238E27FC236}">
                <a16:creationId xmlns:a16="http://schemas.microsoft.com/office/drawing/2014/main" id="{33C750CD-3F7D-B76E-6DCB-0D5E11CCFB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39636" y="3522634"/>
            <a:ext cx="574702" cy="574702"/>
          </a:xfrm>
          <a:prstGeom prst="rect">
            <a:avLst/>
          </a:prstGeom>
        </p:spPr>
      </p:pic>
      <p:pic>
        <p:nvPicPr>
          <p:cNvPr id="43" name="Graphic 42" descr="Polaroid Pictures with solid fill">
            <a:extLst>
              <a:ext uri="{FF2B5EF4-FFF2-40B4-BE49-F238E27FC236}">
                <a16:creationId xmlns:a16="http://schemas.microsoft.com/office/drawing/2014/main" id="{37C4E2EE-823A-3A8B-C8DE-EA1981FA7A8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20685" y="2386007"/>
            <a:ext cx="492920" cy="492920"/>
          </a:xfrm>
          <a:prstGeom prst="rect">
            <a:avLst/>
          </a:prstGeom>
        </p:spPr>
      </p:pic>
      <p:pic>
        <p:nvPicPr>
          <p:cNvPr id="45" name="Graphic 44" descr="Decision chart with solid fill">
            <a:extLst>
              <a:ext uri="{FF2B5EF4-FFF2-40B4-BE49-F238E27FC236}">
                <a16:creationId xmlns:a16="http://schemas.microsoft.com/office/drawing/2014/main" id="{EC7AD18D-EFB5-12F1-3AD6-00DF166A787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02645" y="1874270"/>
            <a:ext cx="354698" cy="354698"/>
          </a:xfrm>
          <a:prstGeom prst="rect">
            <a:avLst/>
          </a:prstGeom>
        </p:spPr>
      </p:pic>
      <p:pic>
        <p:nvPicPr>
          <p:cNvPr id="47" name="Graphic 46" descr="Checklist with solid fill">
            <a:extLst>
              <a:ext uri="{FF2B5EF4-FFF2-40B4-BE49-F238E27FC236}">
                <a16:creationId xmlns:a16="http://schemas.microsoft.com/office/drawing/2014/main" id="{96FE3F80-69BD-999F-807F-4BAAF1E5CCE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889237" y="1535739"/>
            <a:ext cx="275510" cy="275510"/>
          </a:xfrm>
          <a:prstGeom prst="rect">
            <a:avLst/>
          </a:prstGeom>
        </p:spPr>
      </p:pic>
      <p:pic>
        <p:nvPicPr>
          <p:cNvPr id="50" name="Graphic 49" descr="Spinning Plates with solid fill">
            <a:extLst>
              <a:ext uri="{FF2B5EF4-FFF2-40B4-BE49-F238E27FC236}">
                <a16:creationId xmlns:a16="http://schemas.microsoft.com/office/drawing/2014/main" id="{AD60C147-5528-9491-2A15-35162CA89BB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854940" y="1140669"/>
            <a:ext cx="320675" cy="320675"/>
          </a:xfrm>
          <a:prstGeom prst="rect">
            <a:avLst/>
          </a:prstGeom>
        </p:spPr>
      </p:pic>
    </p:spTree>
    <p:extLst>
      <p:ext uri="{BB962C8B-B14F-4D97-AF65-F5344CB8AC3E}">
        <p14:creationId xmlns:p14="http://schemas.microsoft.com/office/powerpoint/2010/main" val="23098069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8AD04B-ECC6-AC48-3DFA-4742C73FFD7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CFF3CAED-B751-10C6-858F-FEDF19AB8F71}"/>
              </a:ext>
            </a:extLst>
          </p:cNvPr>
          <p:cNvSpPr/>
          <p:nvPr/>
        </p:nvSpPr>
        <p:spPr>
          <a:xfrm>
            <a:off x="5623904" y="2744059"/>
            <a:ext cx="6070790" cy="13698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6600" b="1" dirty="0">
                <a:latin typeface="Graphik" panose="020B0503030202060203" pitchFamily="34" charset="0"/>
              </a:rPr>
              <a:t>Reasoning with Agents</a:t>
            </a:r>
          </a:p>
        </p:txBody>
      </p:sp>
    </p:spTree>
    <p:extLst>
      <p:ext uri="{BB962C8B-B14F-4D97-AF65-F5344CB8AC3E}">
        <p14:creationId xmlns:p14="http://schemas.microsoft.com/office/powerpoint/2010/main" val="33106683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A0FD5C-8CF7-6FDF-24E3-ED5AABE49C27}"/>
            </a:ext>
          </a:extLst>
        </p:cNvPr>
        <p:cNvGrpSpPr/>
        <p:nvPr/>
      </p:nvGrpSpPr>
      <p:grpSpPr>
        <a:xfrm>
          <a:off x="0" y="0"/>
          <a:ext cx="0" cy="0"/>
          <a:chOff x="0" y="0"/>
          <a:chExt cx="0" cy="0"/>
        </a:xfrm>
      </p:grpSpPr>
      <p:sp>
        <p:nvSpPr>
          <p:cNvPr id="142" name="Title 1">
            <a:extLst>
              <a:ext uri="{FF2B5EF4-FFF2-40B4-BE49-F238E27FC236}">
                <a16:creationId xmlns:a16="http://schemas.microsoft.com/office/drawing/2014/main" id="{1D403D42-A218-A56F-C1F4-5E4428A57B58}"/>
              </a:ext>
            </a:extLst>
          </p:cNvPr>
          <p:cNvSpPr>
            <a:spLocks noGrp="1"/>
          </p:cNvSpPr>
          <p:nvPr>
            <p:ph type="title"/>
          </p:nvPr>
        </p:nvSpPr>
        <p:spPr>
          <a:xfrm>
            <a:off x="384048" y="384048"/>
            <a:ext cx="10346475" cy="320040"/>
          </a:xfrm>
          <a:prstGeom prst="rect">
            <a:avLst/>
          </a:prstGeom>
        </p:spPr>
        <p:txBody>
          <a:bodyPr vert="horz" wrap="square" lIns="0" tIns="0" rIns="0" bIns="0" rtlCol="0" anchor="t" anchorCtr="0">
            <a:noAutofit/>
          </a:bodyPr>
          <a:lstStyle/>
          <a:p>
            <a:pPr>
              <a:lnSpc>
                <a:spcPct val="80000"/>
              </a:lnSpc>
            </a:pPr>
            <a:r>
              <a:rPr lang="en-GB" sz="2800" b="0" dirty="0">
                <a:solidFill>
                  <a:srgbClr val="231F20"/>
                </a:solidFill>
                <a:latin typeface="Graphik-Light" panose="020B0403030202060203"/>
                <a:ea typeface="+mj-ea"/>
                <a:cs typeface="+mj-cs"/>
              </a:rPr>
              <a:t>Agenda and Learning Objectives</a:t>
            </a:r>
            <a:endParaRPr lang="en-GB" sz="2800" b="0" i="1" dirty="0">
              <a:solidFill>
                <a:schemeClr val="accent1"/>
              </a:solidFill>
              <a:latin typeface="Graphik-Light" panose="020B0403030202060203"/>
              <a:ea typeface="+mj-ea"/>
              <a:cs typeface="+mj-cs"/>
            </a:endParaRPr>
          </a:p>
        </p:txBody>
      </p:sp>
      <p:sp>
        <p:nvSpPr>
          <p:cNvPr id="2" name="Rectangle 1">
            <a:extLst>
              <a:ext uri="{FF2B5EF4-FFF2-40B4-BE49-F238E27FC236}">
                <a16:creationId xmlns:a16="http://schemas.microsoft.com/office/drawing/2014/main" id="{92D5F4FD-5A21-0BAA-4573-F92FCAE66715}"/>
              </a:ext>
            </a:extLst>
          </p:cNvPr>
          <p:cNvSpPr/>
          <p:nvPr/>
        </p:nvSpPr>
        <p:spPr>
          <a:xfrm>
            <a:off x="267327" y="2037376"/>
            <a:ext cx="4790136" cy="2912335"/>
          </a:xfrm>
          <a:prstGeom prst="rect">
            <a:avLst/>
          </a:prstGeom>
          <a:solidFill>
            <a:schemeClr val="tx2"/>
          </a:solidFill>
          <a:ln w="38100">
            <a:solidFill>
              <a:schemeClr val="bg1">
                <a:lumMod val="85000"/>
              </a:schemeClr>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200" dirty="0">
                <a:solidFill>
                  <a:srgbClr val="FFFFFF"/>
                </a:solidFill>
                <a:latin typeface="Graphik" panose="020B0503030202060203" pitchFamily="34" charset="0"/>
              </a:rPr>
              <a:t>Differentiate fast vs. wise reasoning</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200" dirty="0">
                <a:solidFill>
                  <a:srgbClr val="FFFFFF"/>
                </a:solidFill>
                <a:latin typeface="Graphik" panose="020B0503030202060203" pitchFamily="34" charset="0"/>
              </a:rPr>
              <a:t>Evaluate reasoning strategies in AI agents</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200" dirty="0">
                <a:solidFill>
                  <a:srgbClr val="FFFFFF"/>
                </a:solidFill>
                <a:latin typeface="Graphik" panose="020B0503030202060203" pitchFamily="34" charset="0"/>
              </a:rPr>
              <a:t>Analyze reasoning limitations</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200" dirty="0">
                <a:solidFill>
                  <a:srgbClr val="FFFFFF"/>
                </a:solidFill>
                <a:latin typeface="Graphik" panose="020B0503030202060203" pitchFamily="34" charset="0"/>
              </a:rPr>
              <a:t>Apply reasoning frameworks to problem-solving</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200" dirty="0">
                <a:solidFill>
                  <a:srgbClr val="FFFFFF"/>
                </a:solidFill>
                <a:latin typeface="Graphik" panose="020B0503030202060203" pitchFamily="34" charset="0"/>
              </a:rPr>
              <a:t>Understand collective reasoning approaches</a:t>
            </a: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sz="1200" dirty="0">
                <a:solidFill>
                  <a:srgbClr val="FFFFFF"/>
                </a:solidFill>
                <a:latin typeface="Graphik" panose="020B0503030202060203" pitchFamily="34" charset="0"/>
              </a:rPr>
              <a:t>Anticipate future implications of reasoning in agents</a:t>
            </a:r>
          </a:p>
        </p:txBody>
      </p:sp>
      <p:sp>
        <p:nvSpPr>
          <p:cNvPr id="3" name="Trapezoid 2">
            <a:extLst>
              <a:ext uri="{FF2B5EF4-FFF2-40B4-BE49-F238E27FC236}">
                <a16:creationId xmlns:a16="http://schemas.microsoft.com/office/drawing/2014/main" id="{BF1C4328-5FB1-B3AD-CD9A-60741DE2A3EE}"/>
              </a:ext>
            </a:extLst>
          </p:cNvPr>
          <p:cNvSpPr/>
          <p:nvPr/>
        </p:nvSpPr>
        <p:spPr>
          <a:xfrm rot="16200000">
            <a:off x="3120691" y="2777057"/>
            <a:ext cx="5459562" cy="1615998"/>
          </a:xfrm>
          <a:prstGeom prst="trapezoid">
            <a:avLst>
              <a:gd name="adj" fmla="val 82092"/>
            </a:avLst>
          </a:prstGeom>
          <a:gradFill>
            <a:gsLst>
              <a:gs pos="54000">
                <a:srgbClr val="E5E5E5"/>
              </a:gs>
              <a:gs pos="0">
                <a:schemeClr val="bg1">
                  <a:lumMod val="75000"/>
                </a:schemeClr>
              </a:gs>
              <a:gs pos="85000">
                <a:schemeClr val="bg1"/>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Rectangle 3">
            <a:extLst>
              <a:ext uri="{FF2B5EF4-FFF2-40B4-BE49-F238E27FC236}">
                <a16:creationId xmlns:a16="http://schemas.microsoft.com/office/drawing/2014/main" id="{DE3D238F-633E-29CC-FB47-62C47F87D098}"/>
              </a:ext>
            </a:extLst>
          </p:cNvPr>
          <p:cNvSpPr/>
          <p:nvPr/>
        </p:nvSpPr>
        <p:spPr>
          <a:xfrm>
            <a:off x="5887844" y="1243202"/>
            <a:ext cx="6036829" cy="5276536"/>
          </a:xfrm>
          <a:prstGeom prst="rect">
            <a:avLst/>
          </a:prstGeom>
          <a:noFill/>
          <a:ln w="19050">
            <a:solidFill>
              <a:srgbClr val="00645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b="1" dirty="0">
                <a:solidFill>
                  <a:srgbClr val="231F20"/>
                </a:solidFill>
                <a:latin typeface="Graphik" panose="020B0503030202060203" pitchFamily="34" charset="0"/>
              </a:rPr>
              <a:t>Fast to Wise </a:t>
            </a:r>
            <a:r>
              <a:rPr lang="en-US" dirty="0">
                <a:solidFill>
                  <a:srgbClr val="231F20"/>
                </a:solidFill>
                <a:latin typeface="Graphik" panose="020B0503030202060203" pitchFamily="34" charset="0"/>
              </a:rPr>
              <a:t>– System 1 vs. System 2 thinking, Project Strawberry, and test-time compute</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b="1" dirty="0">
                <a:solidFill>
                  <a:srgbClr val="231F20"/>
                </a:solidFill>
                <a:latin typeface="Graphik" panose="020B0503030202060203" pitchFamily="34" charset="0"/>
              </a:rPr>
              <a:t>The Experiment </a:t>
            </a:r>
            <a:r>
              <a:rPr lang="en-US" dirty="0">
                <a:solidFill>
                  <a:srgbClr val="231F20"/>
                </a:solidFill>
                <a:latin typeface="Graphik" panose="020B0503030202060203" pitchFamily="34" charset="0"/>
              </a:rPr>
              <a:t>– LLM reasoning limitations, step by step reasoning with explainability</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b="1" dirty="0">
                <a:solidFill>
                  <a:srgbClr val="231F20"/>
                </a:solidFill>
                <a:latin typeface="Graphik" panose="020B0503030202060203" pitchFamily="34" charset="0"/>
              </a:rPr>
              <a:t>Strategic Reasoning Frameworks – </a:t>
            </a:r>
            <a:r>
              <a:rPr lang="en-US" dirty="0">
                <a:solidFill>
                  <a:srgbClr val="231F20"/>
                </a:solidFill>
                <a:latin typeface="Graphik" panose="020B0503030202060203" pitchFamily="34" charset="0"/>
              </a:rPr>
              <a:t>Chain-of-thought and reasoning checkpoints, decision maps, and uncertainty</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b="1" dirty="0">
                <a:solidFill>
                  <a:srgbClr val="231F20"/>
                </a:solidFill>
                <a:latin typeface="Graphik" panose="020B0503030202060203" pitchFamily="34" charset="0"/>
              </a:rPr>
              <a:t>Collective Reasoning – </a:t>
            </a:r>
            <a:r>
              <a:rPr lang="en-US" dirty="0">
                <a:solidFill>
                  <a:srgbClr val="231F20"/>
                </a:solidFill>
                <a:latin typeface="Graphik" panose="020B0503030202060203" pitchFamily="34" charset="0"/>
              </a:rPr>
              <a:t>Multi-agent debate frameworks, emergence of collective intelligence, benefits and pitfalls of distributed reasoning</a:t>
            </a: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b="1" dirty="0">
                <a:solidFill>
                  <a:srgbClr val="231F20"/>
                </a:solidFill>
                <a:latin typeface="Graphik" panose="020B0503030202060203" pitchFamily="34" charset="0"/>
              </a:rPr>
              <a:t>Implications and the Future – </a:t>
            </a:r>
            <a:r>
              <a:rPr lang="en-US" dirty="0">
                <a:solidFill>
                  <a:srgbClr val="231F20"/>
                </a:solidFill>
                <a:latin typeface="Graphik" panose="020B0503030202060203" pitchFamily="34" charset="0"/>
              </a:rPr>
              <a:t>Error multiplication, invalid reasoning chains, best practices, next evolution of reasoning.</a:t>
            </a:r>
            <a:endParaRPr lang="en-US" b="1" dirty="0">
              <a:solidFill>
                <a:srgbClr val="231F20"/>
              </a:solidFill>
              <a:latin typeface="Graphik" panose="020B0503030202060203" pitchFamily="34" charset="0"/>
            </a:endParaRPr>
          </a:p>
        </p:txBody>
      </p:sp>
      <p:sp>
        <p:nvSpPr>
          <p:cNvPr id="5" name="Title 1">
            <a:extLst>
              <a:ext uri="{FF2B5EF4-FFF2-40B4-BE49-F238E27FC236}">
                <a16:creationId xmlns:a16="http://schemas.microsoft.com/office/drawing/2014/main" id="{0AD2F60E-4FCC-340B-89AB-9135D592814D}"/>
              </a:ext>
            </a:extLst>
          </p:cNvPr>
          <p:cNvSpPr txBox="1">
            <a:spLocks/>
          </p:cNvSpPr>
          <p:nvPr/>
        </p:nvSpPr>
        <p:spPr>
          <a:xfrm>
            <a:off x="796858" y="1370875"/>
            <a:ext cx="3716085" cy="666501"/>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Light" panose="020B0403030202060203" pitchFamily="34" charset="77"/>
                <a:ea typeface="+mj-ea"/>
                <a:cs typeface="Arial"/>
              </a:defRPr>
            </a:lvl1pPr>
          </a:lstStyle>
          <a:p>
            <a:pPr marL="0" marR="0" lvl="0" indent="0" algn="ctr" defTabSz="457192" rtl="0" eaLnBrk="1" fontAlgn="auto" latinLnBrk="0" hangingPunct="1">
              <a:lnSpc>
                <a:spcPct val="80000"/>
              </a:lnSpc>
              <a:spcBef>
                <a:spcPct val="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006450"/>
                </a:solidFill>
                <a:effectLst/>
                <a:uLnTx/>
                <a:uFillTx/>
                <a:latin typeface="Graphik" panose="020B0503030202060203" pitchFamily="34" charset="0"/>
                <a:ea typeface="+mj-ea"/>
                <a:cs typeface="Arial"/>
              </a:rPr>
              <a:t>Learning Objectives</a:t>
            </a:r>
          </a:p>
        </p:txBody>
      </p:sp>
      <p:sp>
        <p:nvSpPr>
          <p:cNvPr id="6" name="Title 1">
            <a:extLst>
              <a:ext uri="{FF2B5EF4-FFF2-40B4-BE49-F238E27FC236}">
                <a16:creationId xmlns:a16="http://schemas.microsoft.com/office/drawing/2014/main" id="{D1018883-E84B-B6A6-FF79-C014A7CD60FC}"/>
              </a:ext>
            </a:extLst>
          </p:cNvPr>
          <p:cNvSpPr txBox="1">
            <a:spLocks/>
          </p:cNvSpPr>
          <p:nvPr/>
        </p:nvSpPr>
        <p:spPr>
          <a:xfrm>
            <a:off x="6523661" y="844337"/>
            <a:ext cx="1615998" cy="387927"/>
          </a:xfrm>
          <a:prstGeom prst="rect">
            <a:avLst/>
          </a:prstGeom>
          <a:solidFill>
            <a:schemeClr val="bg1"/>
          </a:solidFill>
        </p:spPr>
        <p:txBody>
          <a:bodyPr vert="horz" wrap="square" lIns="0" tIns="0" rIns="0" bIns="0" anchor="ctr" anchorCtr="0">
            <a:noAutofit/>
          </a:bodyPr>
          <a:lstStyle>
            <a:lvl1pPr marL="0" indent="0" algn="l" defTabSz="457192" rtl="0" eaLnBrk="1" latinLnBrk="0" hangingPunct="1">
              <a:lnSpc>
                <a:spcPct val="80000"/>
              </a:lnSpc>
              <a:spcBef>
                <a:spcPct val="0"/>
              </a:spcBef>
              <a:spcAft>
                <a:spcPts val="0"/>
              </a:spcAft>
              <a:buFontTx/>
              <a:buNone/>
              <a:defRPr lang="en-US" sz="2800" b="0" i="0" kern="1200" cap="none">
                <a:solidFill>
                  <a:srgbClr val="231F20"/>
                </a:solidFill>
                <a:latin typeface="Graphik-Light" panose="020B0403030202060203"/>
                <a:ea typeface="+mj-ea"/>
                <a:cs typeface="Arial"/>
              </a:defRPr>
            </a:lvl1pPr>
          </a:lstStyle>
          <a:p>
            <a:pPr algn="ctr"/>
            <a:r>
              <a:rPr lang="en-US" b="1">
                <a:solidFill>
                  <a:schemeClr val="tx2"/>
                </a:solidFill>
                <a:latin typeface="Graphik" panose="020B0503030202060203" pitchFamily="34" charset="0"/>
              </a:rPr>
              <a:t>Agenda</a:t>
            </a:r>
          </a:p>
        </p:txBody>
      </p:sp>
    </p:spTree>
    <p:extLst>
      <p:ext uri="{BB962C8B-B14F-4D97-AF65-F5344CB8AC3E}">
        <p14:creationId xmlns:p14="http://schemas.microsoft.com/office/powerpoint/2010/main" val="30770503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DE94C0-4413-0DA6-0615-2BE43EE83A7F}"/>
            </a:ext>
          </a:extLst>
        </p:cNvPr>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C2A1E5A2-B2FC-54DB-CA4E-528A8217FC16}"/>
              </a:ext>
            </a:extLst>
          </p:cNvPr>
          <p:cNvGraphicFramePr/>
          <p:nvPr>
            <p:extLst>
              <p:ext uri="{D42A27DB-BD31-4B8C-83A1-F6EECF244321}">
                <p14:modId xmlns:p14="http://schemas.microsoft.com/office/powerpoint/2010/main" val="2555047993"/>
              </p:ext>
            </p:extLst>
          </p:nvPr>
        </p:nvGraphicFramePr>
        <p:xfrm>
          <a:off x="1983139" y="782488"/>
          <a:ext cx="8128000" cy="541866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Chart 3">
            <a:extLst>
              <a:ext uri="{FF2B5EF4-FFF2-40B4-BE49-F238E27FC236}">
                <a16:creationId xmlns:a16="http://schemas.microsoft.com/office/drawing/2014/main" id="{1B84DC62-F8CE-84FF-98FB-5542A0E8B1EB}"/>
              </a:ext>
            </a:extLst>
          </p:cNvPr>
          <p:cNvGraphicFramePr/>
          <p:nvPr/>
        </p:nvGraphicFramePr>
        <p:xfrm>
          <a:off x="2080861" y="7503328"/>
          <a:ext cx="8128000" cy="541866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02201035"/>
      </p:ext>
    </p:extLst>
  </p:cSld>
  <p:clrMapOvr>
    <a:masterClrMapping/>
  </p:clrMapOvr>
  <p:extLst>
    <p:ext uri="{6950BFC3-D8DA-4A85-94F7-54DA5524770B}">
      <p188:commentRel xmlns:p188="http://schemas.microsoft.com/office/powerpoint/2018/8/main" r:id="rId3"/>
    </p:ext>
  </p:extLs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1493D6-C779-1B17-2601-4287C5C98B31}"/>
              </a:ext>
            </a:extLst>
          </p:cNvPr>
          <p:cNvSpPr>
            <a:spLocks noGrp="1"/>
          </p:cNvSpPr>
          <p:nvPr>
            <p:ph type="title"/>
          </p:nvPr>
        </p:nvSpPr>
        <p:spPr/>
        <p:txBody>
          <a:bodyPr/>
          <a:lstStyle/>
          <a:p>
            <a:r>
              <a:rPr lang="en-US" dirty="0"/>
              <a:t>Reasoning From Fast to Wise</a:t>
            </a:r>
          </a:p>
        </p:txBody>
      </p:sp>
      <p:sp>
        <p:nvSpPr>
          <p:cNvPr id="4" name="Text Placeholder 3">
            <a:extLst>
              <a:ext uri="{FF2B5EF4-FFF2-40B4-BE49-F238E27FC236}">
                <a16:creationId xmlns:a16="http://schemas.microsoft.com/office/drawing/2014/main" id="{753C1094-3D35-517C-C1B3-65FFF9C7714B}"/>
              </a:ext>
            </a:extLst>
          </p:cNvPr>
          <p:cNvSpPr>
            <a:spLocks noGrp="1"/>
          </p:cNvSpPr>
          <p:nvPr>
            <p:ph type="body" sz="quarter" idx="10"/>
          </p:nvPr>
        </p:nvSpPr>
        <p:spPr>
          <a:xfrm>
            <a:off x="361447" y="950118"/>
            <a:ext cx="4515377" cy="4957763"/>
          </a:xfrm>
        </p:spPr>
        <p:txBody>
          <a:bodyPr/>
          <a:lstStyle/>
          <a:p>
            <a:r>
              <a:rPr lang="en-US" dirty="0"/>
              <a:t>Mistakes by traditional LLMs can often be fixed with subsequent generations where conflicts are exposed.</a:t>
            </a:r>
            <a:br>
              <a:rPr lang="en-US" dirty="0"/>
            </a:br>
            <a:endParaRPr lang="en-US" dirty="0"/>
          </a:p>
          <a:p>
            <a:r>
              <a:rPr lang="en-US" dirty="0"/>
              <a:t>Imagine rerouting a $1.2M pharmaceutical shipment to avoid a storm only to cross routes that violate international pharmaceutical transport regulations!</a:t>
            </a:r>
          </a:p>
        </p:txBody>
      </p:sp>
      <p:grpSp>
        <p:nvGrpSpPr>
          <p:cNvPr id="5" name="Group 4">
            <a:extLst>
              <a:ext uri="{FF2B5EF4-FFF2-40B4-BE49-F238E27FC236}">
                <a16:creationId xmlns:a16="http://schemas.microsoft.com/office/drawing/2014/main" id="{DC27199C-411F-4661-D667-7FB440C4AFAC}"/>
              </a:ext>
            </a:extLst>
          </p:cNvPr>
          <p:cNvGrpSpPr/>
          <p:nvPr/>
        </p:nvGrpSpPr>
        <p:grpSpPr>
          <a:xfrm>
            <a:off x="5147583" y="1923825"/>
            <a:ext cx="3668025" cy="3679572"/>
            <a:chOff x="5147583" y="5997090"/>
            <a:chExt cx="3668025" cy="3679572"/>
          </a:xfrm>
        </p:grpSpPr>
        <p:sp>
          <p:nvSpPr>
            <p:cNvPr id="6" name="Shape">
              <a:extLst>
                <a:ext uri="{FF2B5EF4-FFF2-40B4-BE49-F238E27FC236}">
                  <a16:creationId xmlns:a16="http://schemas.microsoft.com/office/drawing/2014/main" id="{313F479F-0AA2-1223-6263-9AEF86CF5924}"/>
                </a:ext>
              </a:extLst>
            </p:cNvPr>
            <p:cNvSpPr/>
            <p:nvPr/>
          </p:nvSpPr>
          <p:spPr>
            <a:xfrm>
              <a:off x="6375857" y="5997090"/>
              <a:ext cx="1206240" cy="1204133"/>
            </a:xfrm>
            <a:custGeom>
              <a:avLst/>
              <a:gdLst/>
              <a:ahLst/>
              <a:cxnLst>
                <a:cxn ang="0">
                  <a:pos x="wd2" y="hd2"/>
                </a:cxn>
                <a:cxn ang="5400000">
                  <a:pos x="wd2" y="hd2"/>
                </a:cxn>
                <a:cxn ang="10800000">
                  <a:pos x="wd2" y="hd2"/>
                </a:cxn>
                <a:cxn ang="16200000">
                  <a:pos x="wd2" y="hd2"/>
                </a:cxn>
              </a:cxnLst>
              <a:rect l="0" t="0" r="r" b="b"/>
              <a:pathLst>
                <a:path w="21600" h="21600" extrusionOk="0">
                  <a:moveTo>
                    <a:pt x="75" y="14030"/>
                  </a:moveTo>
                  <a:lnTo>
                    <a:pt x="75" y="21600"/>
                  </a:lnTo>
                  <a:lnTo>
                    <a:pt x="7651" y="21600"/>
                  </a:lnTo>
                  <a:cubicBezTo>
                    <a:pt x="7839" y="21600"/>
                    <a:pt x="8009" y="21506"/>
                    <a:pt x="8159" y="21355"/>
                  </a:cubicBezTo>
                  <a:cubicBezTo>
                    <a:pt x="8234" y="21280"/>
                    <a:pt x="8291" y="21186"/>
                    <a:pt x="8347" y="21073"/>
                  </a:cubicBezTo>
                  <a:cubicBezTo>
                    <a:pt x="8497" y="20696"/>
                    <a:pt x="8422" y="20282"/>
                    <a:pt x="8140" y="19962"/>
                  </a:cubicBezTo>
                  <a:cubicBezTo>
                    <a:pt x="7689" y="19510"/>
                    <a:pt x="7369" y="18964"/>
                    <a:pt x="7181" y="18361"/>
                  </a:cubicBezTo>
                  <a:cubicBezTo>
                    <a:pt x="7069" y="18003"/>
                    <a:pt x="7012" y="17627"/>
                    <a:pt x="7012" y="17231"/>
                  </a:cubicBezTo>
                  <a:cubicBezTo>
                    <a:pt x="7012" y="15103"/>
                    <a:pt x="8742" y="13389"/>
                    <a:pt x="10847" y="13389"/>
                  </a:cubicBezTo>
                  <a:cubicBezTo>
                    <a:pt x="12971" y="13389"/>
                    <a:pt x="14682" y="15122"/>
                    <a:pt x="14682" y="17231"/>
                  </a:cubicBezTo>
                  <a:cubicBezTo>
                    <a:pt x="14682" y="17495"/>
                    <a:pt x="14663" y="17740"/>
                    <a:pt x="14607" y="17984"/>
                  </a:cubicBezTo>
                  <a:cubicBezTo>
                    <a:pt x="14457" y="18719"/>
                    <a:pt x="14099" y="19416"/>
                    <a:pt x="13554" y="19962"/>
                  </a:cubicBezTo>
                  <a:cubicBezTo>
                    <a:pt x="13385" y="20150"/>
                    <a:pt x="13291" y="20395"/>
                    <a:pt x="13272" y="20621"/>
                  </a:cubicBezTo>
                  <a:cubicBezTo>
                    <a:pt x="13272" y="20771"/>
                    <a:pt x="13291" y="20903"/>
                    <a:pt x="13347" y="21054"/>
                  </a:cubicBezTo>
                  <a:cubicBezTo>
                    <a:pt x="13479" y="21355"/>
                    <a:pt x="13742" y="21562"/>
                    <a:pt x="14043" y="21581"/>
                  </a:cubicBezTo>
                  <a:lnTo>
                    <a:pt x="21600" y="21581"/>
                  </a:lnTo>
                  <a:lnTo>
                    <a:pt x="21600" y="13992"/>
                  </a:lnTo>
                  <a:cubicBezTo>
                    <a:pt x="21581" y="13710"/>
                    <a:pt x="21393" y="13427"/>
                    <a:pt x="21074" y="13314"/>
                  </a:cubicBezTo>
                  <a:cubicBezTo>
                    <a:pt x="21036" y="13295"/>
                    <a:pt x="20980" y="13276"/>
                    <a:pt x="20923" y="13258"/>
                  </a:cubicBezTo>
                  <a:cubicBezTo>
                    <a:pt x="20886" y="13258"/>
                    <a:pt x="20848" y="13239"/>
                    <a:pt x="20829" y="13239"/>
                  </a:cubicBezTo>
                  <a:cubicBezTo>
                    <a:pt x="20810" y="13239"/>
                    <a:pt x="20792" y="13239"/>
                    <a:pt x="20792" y="13239"/>
                  </a:cubicBezTo>
                  <a:cubicBezTo>
                    <a:pt x="20510" y="13201"/>
                    <a:pt x="20209" y="13314"/>
                    <a:pt x="19965" y="13521"/>
                  </a:cubicBezTo>
                  <a:cubicBezTo>
                    <a:pt x="19965" y="13521"/>
                    <a:pt x="19965" y="13521"/>
                    <a:pt x="19965" y="13521"/>
                  </a:cubicBezTo>
                  <a:cubicBezTo>
                    <a:pt x="19889" y="13596"/>
                    <a:pt x="19814" y="13672"/>
                    <a:pt x="19720" y="13747"/>
                  </a:cubicBezTo>
                  <a:cubicBezTo>
                    <a:pt x="19701" y="13766"/>
                    <a:pt x="19683" y="13785"/>
                    <a:pt x="19664" y="13785"/>
                  </a:cubicBezTo>
                  <a:cubicBezTo>
                    <a:pt x="19589" y="13841"/>
                    <a:pt x="19513" y="13898"/>
                    <a:pt x="19419" y="13954"/>
                  </a:cubicBezTo>
                  <a:cubicBezTo>
                    <a:pt x="19382" y="13973"/>
                    <a:pt x="19363" y="13992"/>
                    <a:pt x="19325" y="14011"/>
                  </a:cubicBezTo>
                  <a:cubicBezTo>
                    <a:pt x="19250" y="14067"/>
                    <a:pt x="19175" y="14105"/>
                    <a:pt x="19081" y="14161"/>
                  </a:cubicBezTo>
                  <a:cubicBezTo>
                    <a:pt x="19043" y="14180"/>
                    <a:pt x="19006" y="14199"/>
                    <a:pt x="18968" y="14218"/>
                  </a:cubicBezTo>
                  <a:cubicBezTo>
                    <a:pt x="18912" y="14256"/>
                    <a:pt x="18837" y="14274"/>
                    <a:pt x="18761" y="14312"/>
                  </a:cubicBezTo>
                  <a:cubicBezTo>
                    <a:pt x="18705" y="14331"/>
                    <a:pt x="18649" y="14350"/>
                    <a:pt x="18611" y="14369"/>
                  </a:cubicBezTo>
                  <a:cubicBezTo>
                    <a:pt x="18555" y="14387"/>
                    <a:pt x="18498" y="14406"/>
                    <a:pt x="18423" y="14425"/>
                  </a:cubicBezTo>
                  <a:cubicBezTo>
                    <a:pt x="18367" y="14444"/>
                    <a:pt x="18329" y="14463"/>
                    <a:pt x="18273" y="14482"/>
                  </a:cubicBezTo>
                  <a:cubicBezTo>
                    <a:pt x="18197" y="14500"/>
                    <a:pt x="18122" y="14519"/>
                    <a:pt x="18047" y="14538"/>
                  </a:cubicBezTo>
                  <a:cubicBezTo>
                    <a:pt x="18009" y="14538"/>
                    <a:pt x="17972" y="14557"/>
                    <a:pt x="17934" y="14557"/>
                  </a:cubicBezTo>
                  <a:cubicBezTo>
                    <a:pt x="17840" y="14576"/>
                    <a:pt x="17746" y="14595"/>
                    <a:pt x="17652" y="14595"/>
                  </a:cubicBezTo>
                  <a:cubicBezTo>
                    <a:pt x="17615" y="14595"/>
                    <a:pt x="17596" y="14595"/>
                    <a:pt x="17558" y="14613"/>
                  </a:cubicBezTo>
                  <a:cubicBezTo>
                    <a:pt x="17464" y="14613"/>
                    <a:pt x="17351" y="14632"/>
                    <a:pt x="17239" y="14632"/>
                  </a:cubicBezTo>
                  <a:cubicBezTo>
                    <a:pt x="17239" y="14632"/>
                    <a:pt x="17220" y="14632"/>
                    <a:pt x="17220" y="14632"/>
                  </a:cubicBezTo>
                  <a:cubicBezTo>
                    <a:pt x="17201" y="14632"/>
                    <a:pt x="17201" y="14632"/>
                    <a:pt x="17182" y="14632"/>
                  </a:cubicBezTo>
                  <a:cubicBezTo>
                    <a:pt x="17069" y="14632"/>
                    <a:pt x="16957" y="14632"/>
                    <a:pt x="16844" y="14613"/>
                  </a:cubicBezTo>
                  <a:cubicBezTo>
                    <a:pt x="16844" y="14613"/>
                    <a:pt x="16844" y="14613"/>
                    <a:pt x="16825" y="14613"/>
                  </a:cubicBezTo>
                  <a:cubicBezTo>
                    <a:pt x="16825" y="14613"/>
                    <a:pt x="16806" y="14613"/>
                    <a:pt x="16806" y="14613"/>
                  </a:cubicBezTo>
                  <a:cubicBezTo>
                    <a:pt x="16693" y="14595"/>
                    <a:pt x="16562" y="14576"/>
                    <a:pt x="16449" y="14557"/>
                  </a:cubicBezTo>
                  <a:cubicBezTo>
                    <a:pt x="16430" y="14557"/>
                    <a:pt x="16411" y="14538"/>
                    <a:pt x="16393" y="14538"/>
                  </a:cubicBezTo>
                  <a:cubicBezTo>
                    <a:pt x="16299" y="14519"/>
                    <a:pt x="16186" y="14500"/>
                    <a:pt x="16092" y="14463"/>
                  </a:cubicBezTo>
                  <a:cubicBezTo>
                    <a:pt x="16073" y="14463"/>
                    <a:pt x="16054" y="14444"/>
                    <a:pt x="16017" y="14444"/>
                  </a:cubicBezTo>
                  <a:cubicBezTo>
                    <a:pt x="15923" y="14406"/>
                    <a:pt x="15829" y="14387"/>
                    <a:pt x="15735" y="14350"/>
                  </a:cubicBezTo>
                  <a:cubicBezTo>
                    <a:pt x="15716" y="14350"/>
                    <a:pt x="15697" y="14331"/>
                    <a:pt x="15678" y="14331"/>
                  </a:cubicBezTo>
                  <a:cubicBezTo>
                    <a:pt x="15584" y="14293"/>
                    <a:pt x="15490" y="14256"/>
                    <a:pt x="15396" y="14199"/>
                  </a:cubicBezTo>
                  <a:cubicBezTo>
                    <a:pt x="15377" y="14199"/>
                    <a:pt x="15359" y="14180"/>
                    <a:pt x="15340" y="14180"/>
                  </a:cubicBezTo>
                  <a:cubicBezTo>
                    <a:pt x="15246" y="14124"/>
                    <a:pt x="15133" y="14067"/>
                    <a:pt x="15039" y="14011"/>
                  </a:cubicBezTo>
                  <a:cubicBezTo>
                    <a:pt x="15039" y="14011"/>
                    <a:pt x="15039" y="14011"/>
                    <a:pt x="15039" y="14011"/>
                  </a:cubicBezTo>
                  <a:cubicBezTo>
                    <a:pt x="14738" y="13804"/>
                    <a:pt x="14456" y="13559"/>
                    <a:pt x="14231" y="13276"/>
                  </a:cubicBezTo>
                  <a:cubicBezTo>
                    <a:pt x="14231" y="13276"/>
                    <a:pt x="14231" y="13276"/>
                    <a:pt x="14231" y="13276"/>
                  </a:cubicBezTo>
                  <a:cubicBezTo>
                    <a:pt x="14156" y="13182"/>
                    <a:pt x="14080" y="13088"/>
                    <a:pt x="14024" y="12994"/>
                  </a:cubicBezTo>
                  <a:cubicBezTo>
                    <a:pt x="14024" y="12994"/>
                    <a:pt x="14005" y="12975"/>
                    <a:pt x="14005" y="12975"/>
                  </a:cubicBezTo>
                  <a:cubicBezTo>
                    <a:pt x="13949" y="12881"/>
                    <a:pt x="13892" y="12787"/>
                    <a:pt x="13836" y="12693"/>
                  </a:cubicBezTo>
                  <a:cubicBezTo>
                    <a:pt x="13836" y="12693"/>
                    <a:pt x="13836" y="12674"/>
                    <a:pt x="13817" y="12674"/>
                  </a:cubicBezTo>
                  <a:cubicBezTo>
                    <a:pt x="13761" y="12580"/>
                    <a:pt x="13704" y="12467"/>
                    <a:pt x="13667" y="12354"/>
                  </a:cubicBezTo>
                  <a:cubicBezTo>
                    <a:pt x="13667" y="12354"/>
                    <a:pt x="13667" y="12354"/>
                    <a:pt x="13667" y="12335"/>
                  </a:cubicBezTo>
                  <a:cubicBezTo>
                    <a:pt x="13535" y="12015"/>
                    <a:pt x="13441" y="11657"/>
                    <a:pt x="13385" y="11280"/>
                  </a:cubicBezTo>
                  <a:cubicBezTo>
                    <a:pt x="13385" y="11261"/>
                    <a:pt x="13385" y="11243"/>
                    <a:pt x="13385" y="11224"/>
                  </a:cubicBezTo>
                  <a:cubicBezTo>
                    <a:pt x="13385" y="11224"/>
                    <a:pt x="13385" y="11224"/>
                    <a:pt x="13385" y="11205"/>
                  </a:cubicBezTo>
                  <a:cubicBezTo>
                    <a:pt x="13366" y="11073"/>
                    <a:pt x="13366" y="10960"/>
                    <a:pt x="13366" y="10828"/>
                  </a:cubicBezTo>
                  <a:cubicBezTo>
                    <a:pt x="13366" y="10828"/>
                    <a:pt x="13366" y="10828"/>
                    <a:pt x="13366" y="10809"/>
                  </a:cubicBezTo>
                  <a:cubicBezTo>
                    <a:pt x="13366" y="10791"/>
                    <a:pt x="13366" y="10791"/>
                    <a:pt x="13366" y="10772"/>
                  </a:cubicBezTo>
                  <a:cubicBezTo>
                    <a:pt x="13366" y="10659"/>
                    <a:pt x="13366" y="10546"/>
                    <a:pt x="13385" y="10433"/>
                  </a:cubicBezTo>
                  <a:cubicBezTo>
                    <a:pt x="13385" y="10414"/>
                    <a:pt x="13385" y="10376"/>
                    <a:pt x="13404" y="10357"/>
                  </a:cubicBezTo>
                  <a:cubicBezTo>
                    <a:pt x="13422" y="10263"/>
                    <a:pt x="13422" y="10188"/>
                    <a:pt x="13441" y="10094"/>
                  </a:cubicBezTo>
                  <a:cubicBezTo>
                    <a:pt x="13441" y="10056"/>
                    <a:pt x="13460" y="10018"/>
                    <a:pt x="13460" y="9962"/>
                  </a:cubicBezTo>
                  <a:cubicBezTo>
                    <a:pt x="13479" y="9887"/>
                    <a:pt x="13498" y="9811"/>
                    <a:pt x="13516" y="9717"/>
                  </a:cubicBezTo>
                  <a:cubicBezTo>
                    <a:pt x="13535" y="9680"/>
                    <a:pt x="13535" y="9642"/>
                    <a:pt x="13554" y="9604"/>
                  </a:cubicBezTo>
                  <a:cubicBezTo>
                    <a:pt x="13592" y="9510"/>
                    <a:pt x="13610" y="9416"/>
                    <a:pt x="13648" y="9341"/>
                  </a:cubicBezTo>
                  <a:cubicBezTo>
                    <a:pt x="13667" y="9322"/>
                    <a:pt x="13667" y="9303"/>
                    <a:pt x="13686" y="9265"/>
                  </a:cubicBezTo>
                  <a:cubicBezTo>
                    <a:pt x="13723" y="9171"/>
                    <a:pt x="13780" y="9077"/>
                    <a:pt x="13817" y="8964"/>
                  </a:cubicBezTo>
                  <a:cubicBezTo>
                    <a:pt x="13817" y="8945"/>
                    <a:pt x="13836" y="8945"/>
                    <a:pt x="13836" y="8926"/>
                  </a:cubicBezTo>
                  <a:cubicBezTo>
                    <a:pt x="13967" y="8663"/>
                    <a:pt x="14137" y="8437"/>
                    <a:pt x="14343" y="8211"/>
                  </a:cubicBezTo>
                  <a:cubicBezTo>
                    <a:pt x="14550" y="7966"/>
                    <a:pt x="14795" y="7759"/>
                    <a:pt x="15058" y="7589"/>
                  </a:cubicBezTo>
                  <a:cubicBezTo>
                    <a:pt x="15058" y="7589"/>
                    <a:pt x="15058" y="7589"/>
                    <a:pt x="15058" y="7589"/>
                  </a:cubicBezTo>
                  <a:cubicBezTo>
                    <a:pt x="15152" y="7533"/>
                    <a:pt x="15246" y="7457"/>
                    <a:pt x="15359" y="7420"/>
                  </a:cubicBezTo>
                  <a:cubicBezTo>
                    <a:pt x="15377" y="7420"/>
                    <a:pt x="15396" y="7401"/>
                    <a:pt x="15396" y="7401"/>
                  </a:cubicBezTo>
                  <a:cubicBezTo>
                    <a:pt x="15490" y="7344"/>
                    <a:pt x="15584" y="7307"/>
                    <a:pt x="15678" y="7269"/>
                  </a:cubicBezTo>
                  <a:cubicBezTo>
                    <a:pt x="15697" y="7250"/>
                    <a:pt x="15716" y="7250"/>
                    <a:pt x="15753" y="7231"/>
                  </a:cubicBezTo>
                  <a:cubicBezTo>
                    <a:pt x="15847" y="7194"/>
                    <a:pt x="15941" y="7156"/>
                    <a:pt x="16035" y="7118"/>
                  </a:cubicBezTo>
                  <a:cubicBezTo>
                    <a:pt x="16054" y="7118"/>
                    <a:pt x="16092" y="7100"/>
                    <a:pt x="16111" y="7100"/>
                  </a:cubicBezTo>
                  <a:cubicBezTo>
                    <a:pt x="16205" y="7062"/>
                    <a:pt x="16317" y="7043"/>
                    <a:pt x="16411" y="7024"/>
                  </a:cubicBezTo>
                  <a:cubicBezTo>
                    <a:pt x="16430" y="7024"/>
                    <a:pt x="16449" y="7024"/>
                    <a:pt x="16468" y="7005"/>
                  </a:cubicBezTo>
                  <a:cubicBezTo>
                    <a:pt x="16581" y="6987"/>
                    <a:pt x="16693" y="6968"/>
                    <a:pt x="16787" y="6949"/>
                  </a:cubicBezTo>
                  <a:cubicBezTo>
                    <a:pt x="16806" y="6949"/>
                    <a:pt x="16806" y="6949"/>
                    <a:pt x="16825" y="6949"/>
                  </a:cubicBezTo>
                  <a:cubicBezTo>
                    <a:pt x="16938" y="6930"/>
                    <a:pt x="17069" y="6930"/>
                    <a:pt x="17182" y="6930"/>
                  </a:cubicBezTo>
                  <a:cubicBezTo>
                    <a:pt x="17182" y="6930"/>
                    <a:pt x="17182" y="6930"/>
                    <a:pt x="17182" y="6930"/>
                  </a:cubicBezTo>
                  <a:cubicBezTo>
                    <a:pt x="18216" y="6930"/>
                    <a:pt x="19175" y="7325"/>
                    <a:pt x="19908" y="8060"/>
                  </a:cubicBezTo>
                  <a:cubicBezTo>
                    <a:pt x="20209" y="8342"/>
                    <a:pt x="20622" y="8418"/>
                    <a:pt x="20998" y="8267"/>
                  </a:cubicBezTo>
                  <a:cubicBezTo>
                    <a:pt x="21036" y="8248"/>
                    <a:pt x="21073" y="8229"/>
                    <a:pt x="21111" y="8211"/>
                  </a:cubicBezTo>
                  <a:cubicBezTo>
                    <a:pt x="21355" y="8060"/>
                    <a:pt x="21506" y="7834"/>
                    <a:pt x="21525" y="7570"/>
                  </a:cubicBezTo>
                  <a:lnTo>
                    <a:pt x="21525" y="0"/>
                  </a:lnTo>
                  <a:lnTo>
                    <a:pt x="0" y="0"/>
                  </a:lnTo>
                  <a:lnTo>
                    <a:pt x="0" y="7589"/>
                  </a:lnTo>
                  <a:cubicBezTo>
                    <a:pt x="19" y="7872"/>
                    <a:pt x="207" y="8154"/>
                    <a:pt x="526" y="8267"/>
                  </a:cubicBezTo>
                  <a:cubicBezTo>
                    <a:pt x="902" y="8418"/>
                    <a:pt x="1316" y="8342"/>
                    <a:pt x="1635" y="8060"/>
                  </a:cubicBezTo>
                  <a:cubicBezTo>
                    <a:pt x="2350" y="7344"/>
                    <a:pt x="3327" y="6930"/>
                    <a:pt x="4342" y="6930"/>
                  </a:cubicBezTo>
                  <a:cubicBezTo>
                    <a:pt x="4342" y="6930"/>
                    <a:pt x="4342" y="6930"/>
                    <a:pt x="4342" y="6930"/>
                  </a:cubicBezTo>
                  <a:cubicBezTo>
                    <a:pt x="4455" y="6930"/>
                    <a:pt x="4587" y="6930"/>
                    <a:pt x="4700" y="6949"/>
                  </a:cubicBezTo>
                  <a:cubicBezTo>
                    <a:pt x="4718" y="6949"/>
                    <a:pt x="4718" y="6949"/>
                    <a:pt x="4737" y="6949"/>
                  </a:cubicBezTo>
                  <a:cubicBezTo>
                    <a:pt x="4850" y="6968"/>
                    <a:pt x="4963" y="6987"/>
                    <a:pt x="5057" y="7005"/>
                  </a:cubicBezTo>
                  <a:cubicBezTo>
                    <a:pt x="5076" y="7005"/>
                    <a:pt x="5094" y="7005"/>
                    <a:pt x="5113" y="7024"/>
                  </a:cubicBezTo>
                  <a:cubicBezTo>
                    <a:pt x="5207" y="7043"/>
                    <a:pt x="5320" y="7081"/>
                    <a:pt x="5414" y="7100"/>
                  </a:cubicBezTo>
                  <a:cubicBezTo>
                    <a:pt x="5433" y="7100"/>
                    <a:pt x="5470" y="7118"/>
                    <a:pt x="5489" y="7118"/>
                  </a:cubicBezTo>
                  <a:cubicBezTo>
                    <a:pt x="5583" y="7156"/>
                    <a:pt x="5677" y="7175"/>
                    <a:pt x="5771" y="7231"/>
                  </a:cubicBezTo>
                  <a:cubicBezTo>
                    <a:pt x="5790" y="7250"/>
                    <a:pt x="5828" y="7250"/>
                    <a:pt x="5846" y="7269"/>
                  </a:cubicBezTo>
                  <a:cubicBezTo>
                    <a:pt x="5940" y="7307"/>
                    <a:pt x="6034" y="7363"/>
                    <a:pt x="6128" y="7401"/>
                  </a:cubicBezTo>
                  <a:cubicBezTo>
                    <a:pt x="6147" y="7401"/>
                    <a:pt x="6166" y="7420"/>
                    <a:pt x="6185" y="7420"/>
                  </a:cubicBezTo>
                  <a:cubicBezTo>
                    <a:pt x="6279" y="7476"/>
                    <a:pt x="6373" y="7533"/>
                    <a:pt x="6467" y="7589"/>
                  </a:cubicBezTo>
                  <a:cubicBezTo>
                    <a:pt x="6467" y="7589"/>
                    <a:pt x="6467" y="7589"/>
                    <a:pt x="6486" y="7608"/>
                  </a:cubicBezTo>
                  <a:cubicBezTo>
                    <a:pt x="6749" y="7778"/>
                    <a:pt x="6993" y="7985"/>
                    <a:pt x="7200" y="8230"/>
                  </a:cubicBezTo>
                  <a:cubicBezTo>
                    <a:pt x="7313" y="8361"/>
                    <a:pt x="7425" y="8493"/>
                    <a:pt x="7519" y="8644"/>
                  </a:cubicBezTo>
                  <a:cubicBezTo>
                    <a:pt x="7519" y="8644"/>
                    <a:pt x="7519" y="8644"/>
                    <a:pt x="7519" y="8663"/>
                  </a:cubicBezTo>
                  <a:cubicBezTo>
                    <a:pt x="7576" y="8757"/>
                    <a:pt x="7632" y="8851"/>
                    <a:pt x="7689" y="8945"/>
                  </a:cubicBezTo>
                  <a:cubicBezTo>
                    <a:pt x="7689" y="8964"/>
                    <a:pt x="7707" y="8983"/>
                    <a:pt x="7707" y="9002"/>
                  </a:cubicBezTo>
                  <a:cubicBezTo>
                    <a:pt x="7764" y="9096"/>
                    <a:pt x="7801" y="9190"/>
                    <a:pt x="7839" y="9284"/>
                  </a:cubicBezTo>
                  <a:cubicBezTo>
                    <a:pt x="7858" y="9322"/>
                    <a:pt x="7858" y="9341"/>
                    <a:pt x="7877" y="9378"/>
                  </a:cubicBezTo>
                  <a:cubicBezTo>
                    <a:pt x="7914" y="9454"/>
                    <a:pt x="7933" y="9529"/>
                    <a:pt x="7952" y="9604"/>
                  </a:cubicBezTo>
                  <a:cubicBezTo>
                    <a:pt x="7971" y="9661"/>
                    <a:pt x="7989" y="9698"/>
                    <a:pt x="7989" y="9755"/>
                  </a:cubicBezTo>
                  <a:cubicBezTo>
                    <a:pt x="8008" y="9811"/>
                    <a:pt x="8027" y="9887"/>
                    <a:pt x="8046" y="9962"/>
                  </a:cubicBezTo>
                  <a:cubicBezTo>
                    <a:pt x="8065" y="10019"/>
                    <a:pt x="8065" y="10075"/>
                    <a:pt x="8083" y="10132"/>
                  </a:cubicBezTo>
                  <a:cubicBezTo>
                    <a:pt x="8102" y="10207"/>
                    <a:pt x="8102" y="10282"/>
                    <a:pt x="8121" y="10358"/>
                  </a:cubicBezTo>
                  <a:cubicBezTo>
                    <a:pt x="8121" y="10395"/>
                    <a:pt x="8140" y="10433"/>
                    <a:pt x="8140" y="10489"/>
                  </a:cubicBezTo>
                  <a:cubicBezTo>
                    <a:pt x="8140" y="10583"/>
                    <a:pt x="8159" y="10678"/>
                    <a:pt x="8159" y="10791"/>
                  </a:cubicBezTo>
                  <a:cubicBezTo>
                    <a:pt x="8159" y="10809"/>
                    <a:pt x="8159" y="10828"/>
                    <a:pt x="8159" y="10847"/>
                  </a:cubicBezTo>
                  <a:cubicBezTo>
                    <a:pt x="8159" y="10847"/>
                    <a:pt x="8159" y="10866"/>
                    <a:pt x="8159" y="10866"/>
                  </a:cubicBezTo>
                  <a:cubicBezTo>
                    <a:pt x="8159" y="10979"/>
                    <a:pt x="8159" y="11092"/>
                    <a:pt x="8140" y="11224"/>
                  </a:cubicBezTo>
                  <a:cubicBezTo>
                    <a:pt x="8140" y="11243"/>
                    <a:pt x="8140" y="11243"/>
                    <a:pt x="8140" y="11261"/>
                  </a:cubicBezTo>
                  <a:cubicBezTo>
                    <a:pt x="8140" y="11280"/>
                    <a:pt x="8140" y="11280"/>
                    <a:pt x="8140" y="11299"/>
                  </a:cubicBezTo>
                  <a:cubicBezTo>
                    <a:pt x="8102" y="11657"/>
                    <a:pt x="8008" y="12015"/>
                    <a:pt x="7858" y="12335"/>
                  </a:cubicBezTo>
                  <a:cubicBezTo>
                    <a:pt x="7858" y="12354"/>
                    <a:pt x="7858" y="12354"/>
                    <a:pt x="7839" y="12372"/>
                  </a:cubicBezTo>
                  <a:cubicBezTo>
                    <a:pt x="7801" y="12467"/>
                    <a:pt x="7745" y="12580"/>
                    <a:pt x="7689" y="12674"/>
                  </a:cubicBezTo>
                  <a:cubicBezTo>
                    <a:pt x="7689" y="12693"/>
                    <a:pt x="7670" y="12693"/>
                    <a:pt x="7670" y="12711"/>
                  </a:cubicBezTo>
                  <a:cubicBezTo>
                    <a:pt x="7613" y="12806"/>
                    <a:pt x="7557" y="12900"/>
                    <a:pt x="7501" y="12994"/>
                  </a:cubicBezTo>
                  <a:cubicBezTo>
                    <a:pt x="7501" y="13013"/>
                    <a:pt x="7482" y="13013"/>
                    <a:pt x="7482" y="13032"/>
                  </a:cubicBezTo>
                  <a:cubicBezTo>
                    <a:pt x="7425" y="13126"/>
                    <a:pt x="7350" y="13220"/>
                    <a:pt x="7275" y="13295"/>
                  </a:cubicBezTo>
                  <a:cubicBezTo>
                    <a:pt x="7275" y="13295"/>
                    <a:pt x="7275" y="13314"/>
                    <a:pt x="7256" y="13314"/>
                  </a:cubicBezTo>
                  <a:cubicBezTo>
                    <a:pt x="7031" y="13597"/>
                    <a:pt x="6749" y="13841"/>
                    <a:pt x="6448" y="14048"/>
                  </a:cubicBezTo>
                  <a:cubicBezTo>
                    <a:pt x="6448" y="14048"/>
                    <a:pt x="6429" y="14048"/>
                    <a:pt x="6429" y="14067"/>
                  </a:cubicBezTo>
                  <a:cubicBezTo>
                    <a:pt x="6335" y="14124"/>
                    <a:pt x="6241" y="14180"/>
                    <a:pt x="6147" y="14237"/>
                  </a:cubicBezTo>
                  <a:cubicBezTo>
                    <a:pt x="6128" y="14256"/>
                    <a:pt x="6109" y="14256"/>
                    <a:pt x="6091" y="14256"/>
                  </a:cubicBezTo>
                  <a:cubicBezTo>
                    <a:pt x="5997" y="14293"/>
                    <a:pt x="5921" y="14350"/>
                    <a:pt x="5827" y="14387"/>
                  </a:cubicBezTo>
                  <a:cubicBezTo>
                    <a:pt x="5809" y="14406"/>
                    <a:pt x="5790" y="14406"/>
                    <a:pt x="5752" y="14425"/>
                  </a:cubicBezTo>
                  <a:cubicBezTo>
                    <a:pt x="5658" y="14463"/>
                    <a:pt x="5564" y="14500"/>
                    <a:pt x="5470" y="14519"/>
                  </a:cubicBezTo>
                  <a:cubicBezTo>
                    <a:pt x="5451" y="14519"/>
                    <a:pt x="5414" y="14538"/>
                    <a:pt x="5395" y="14538"/>
                  </a:cubicBezTo>
                  <a:cubicBezTo>
                    <a:pt x="5301" y="14576"/>
                    <a:pt x="5207" y="14595"/>
                    <a:pt x="5094" y="14613"/>
                  </a:cubicBezTo>
                  <a:cubicBezTo>
                    <a:pt x="5075" y="14613"/>
                    <a:pt x="5057" y="14632"/>
                    <a:pt x="5038" y="14632"/>
                  </a:cubicBezTo>
                  <a:cubicBezTo>
                    <a:pt x="4925" y="14651"/>
                    <a:pt x="4812" y="14670"/>
                    <a:pt x="4681" y="14689"/>
                  </a:cubicBezTo>
                  <a:cubicBezTo>
                    <a:pt x="4681" y="14689"/>
                    <a:pt x="4662" y="14689"/>
                    <a:pt x="4662" y="14689"/>
                  </a:cubicBezTo>
                  <a:cubicBezTo>
                    <a:pt x="4662" y="14689"/>
                    <a:pt x="4662" y="14689"/>
                    <a:pt x="4643" y="14689"/>
                  </a:cubicBezTo>
                  <a:cubicBezTo>
                    <a:pt x="4530" y="14708"/>
                    <a:pt x="4418" y="14708"/>
                    <a:pt x="4305" y="14708"/>
                  </a:cubicBezTo>
                  <a:cubicBezTo>
                    <a:pt x="4286" y="14708"/>
                    <a:pt x="4286" y="14708"/>
                    <a:pt x="4267" y="14708"/>
                  </a:cubicBezTo>
                  <a:cubicBezTo>
                    <a:pt x="4267" y="14708"/>
                    <a:pt x="4248" y="14708"/>
                    <a:pt x="4248" y="14708"/>
                  </a:cubicBezTo>
                  <a:cubicBezTo>
                    <a:pt x="4135" y="14708"/>
                    <a:pt x="4042" y="14708"/>
                    <a:pt x="3929" y="14689"/>
                  </a:cubicBezTo>
                  <a:cubicBezTo>
                    <a:pt x="3891" y="14689"/>
                    <a:pt x="3872" y="14689"/>
                    <a:pt x="3835" y="14689"/>
                  </a:cubicBezTo>
                  <a:cubicBezTo>
                    <a:pt x="3741" y="14670"/>
                    <a:pt x="3647" y="14670"/>
                    <a:pt x="3553" y="14651"/>
                  </a:cubicBezTo>
                  <a:cubicBezTo>
                    <a:pt x="3515" y="14651"/>
                    <a:pt x="3478" y="14632"/>
                    <a:pt x="3440" y="14632"/>
                  </a:cubicBezTo>
                  <a:cubicBezTo>
                    <a:pt x="3365" y="14613"/>
                    <a:pt x="3290" y="14595"/>
                    <a:pt x="3196" y="14576"/>
                  </a:cubicBezTo>
                  <a:cubicBezTo>
                    <a:pt x="3139" y="14557"/>
                    <a:pt x="3102" y="14538"/>
                    <a:pt x="3045" y="14538"/>
                  </a:cubicBezTo>
                  <a:cubicBezTo>
                    <a:pt x="2989" y="14519"/>
                    <a:pt x="2914" y="14500"/>
                    <a:pt x="2857" y="14463"/>
                  </a:cubicBezTo>
                  <a:cubicBezTo>
                    <a:pt x="2820" y="14444"/>
                    <a:pt x="2763" y="14425"/>
                    <a:pt x="2726" y="14406"/>
                  </a:cubicBezTo>
                  <a:cubicBezTo>
                    <a:pt x="2650" y="14369"/>
                    <a:pt x="2575" y="14331"/>
                    <a:pt x="2500" y="14293"/>
                  </a:cubicBezTo>
                  <a:cubicBezTo>
                    <a:pt x="2462" y="14274"/>
                    <a:pt x="2425" y="14256"/>
                    <a:pt x="2406" y="14237"/>
                  </a:cubicBezTo>
                  <a:cubicBezTo>
                    <a:pt x="2331" y="14199"/>
                    <a:pt x="2237" y="14143"/>
                    <a:pt x="2162" y="14086"/>
                  </a:cubicBezTo>
                  <a:cubicBezTo>
                    <a:pt x="2143" y="14067"/>
                    <a:pt x="2105" y="14048"/>
                    <a:pt x="2086" y="14030"/>
                  </a:cubicBezTo>
                  <a:cubicBezTo>
                    <a:pt x="1992" y="13973"/>
                    <a:pt x="1917" y="13917"/>
                    <a:pt x="1842" y="13841"/>
                  </a:cubicBezTo>
                  <a:cubicBezTo>
                    <a:pt x="1823" y="13822"/>
                    <a:pt x="1823" y="13822"/>
                    <a:pt x="1804" y="13804"/>
                  </a:cubicBezTo>
                  <a:cubicBezTo>
                    <a:pt x="1710" y="13728"/>
                    <a:pt x="1635" y="13653"/>
                    <a:pt x="1541" y="13559"/>
                  </a:cubicBezTo>
                  <a:cubicBezTo>
                    <a:pt x="1335" y="13371"/>
                    <a:pt x="1053" y="13276"/>
                    <a:pt x="789" y="13276"/>
                  </a:cubicBezTo>
                  <a:cubicBezTo>
                    <a:pt x="677" y="13276"/>
                    <a:pt x="564" y="13314"/>
                    <a:pt x="451" y="13352"/>
                  </a:cubicBezTo>
                  <a:cubicBezTo>
                    <a:pt x="282" y="13465"/>
                    <a:pt x="94" y="13728"/>
                    <a:pt x="75" y="14030"/>
                  </a:cubicBezTo>
                  <a:close/>
                </a:path>
              </a:pathLst>
            </a:custGeom>
            <a:solidFill>
              <a:schemeClr val="bg1">
                <a:lumMod val="65000"/>
              </a:schemeClr>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3000">
                <a:solidFill>
                  <a:srgbClr val="FFFFFF"/>
                </a:solidFill>
              </a:endParaRPr>
            </a:p>
          </p:txBody>
        </p:sp>
        <p:sp>
          <p:nvSpPr>
            <p:cNvPr id="7" name="Shape">
              <a:extLst>
                <a:ext uri="{FF2B5EF4-FFF2-40B4-BE49-F238E27FC236}">
                  <a16:creationId xmlns:a16="http://schemas.microsoft.com/office/drawing/2014/main" id="{6E03B7F3-A420-2957-6FA1-EA4DEBDF9448}"/>
                </a:ext>
              </a:extLst>
            </p:cNvPr>
            <p:cNvSpPr/>
            <p:nvPr/>
          </p:nvSpPr>
          <p:spPr>
            <a:xfrm>
              <a:off x="7614629" y="6773947"/>
              <a:ext cx="1200979" cy="2116422"/>
            </a:xfrm>
            <a:custGeom>
              <a:avLst/>
              <a:gdLst/>
              <a:ahLst/>
              <a:cxnLst>
                <a:cxn ang="0">
                  <a:pos x="wd2" y="hd2"/>
                </a:cxn>
                <a:cxn ang="5400000">
                  <a:pos x="wd2" y="hd2"/>
                </a:cxn>
                <a:cxn ang="10800000">
                  <a:pos x="wd2" y="hd2"/>
                </a:cxn>
                <a:cxn ang="16200000">
                  <a:pos x="wd2" y="hd2"/>
                </a:cxn>
              </a:cxnLst>
              <a:rect l="0" t="0" r="r" b="b"/>
              <a:pathLst>
                <a:path w="21600" h="21600" extrusionOk="0">
                  <a:moveTo>
                    <a:pt x="8515" y="3204"/>
                  </a:moveTo>
                  <a:cubicBezTo>
                    <a:pt x="8969" y="3482"/>
                    <a:pt x="9082" y="3857"/>
                    <a:pt x="8836" y="4179"/>
                  </a:cubicBezTo>
                  <a:cubicBezTo>
                    <a:pt x="8629" y="4468"/>
                    <a:pt x="8157" y="4661"/>
                    <a:pt x="7628" y="4671"/>
                  </a:cubicBezTo>
                  <a:lnTo>
                    <a:pt x="0" y="4671"/>
                  </a:lnTo>
                  <a:lnTo>
                    <a:pt x="0" y="8989"/>
                  </a:lnTo>
                  <a:cubicBezTo>
                    <a:pt x="19" y="9150"/>
                    <a:pt x="208" y="9311"/>
                    <a:pt x="529" y="9375"/>
                  </a:cubicBezTo>
                  <a:cubicBezTo>
                    <a:pt x="906" y="9461"/>
                    <a:pt x="1322" y="9418"/>
                    <a:pt x="1643" y="9257"/>
                  </a:cubicBezTo>
                  <a:cubicBezTo>
                    <a:pt x="2360" y="8850"/>
                    <a:pt x="3342" y="8614"/>
                    <a:pt x="4362" y="8614"/>
                  </a:cubicBezTo>
                  <a:cubicBezTo>
                    <a:pt x="5022" y="8614"/>
                    <a:pt x="5645" y="8711"/>
                    <a:pt x="6193" y="8882"/>
                  </a:cubicBezTo>
                  <a:cubicBezTo>
                    <a:pt x="7401" y="9257"/>
                    <a:pt x="8213" y="9975"/>
                    <a:pt x="8213" y="10811"/>
                  </a:cubicBezTo>
                  <a:cubicBezTo>
                    <a:pt x="8213" y="10811"/>
                    <a:pt x="8213" y="10811"/>
                    <a:pt x="8213" y="10811"/>
                  </a:cubicBezTo>
                  <a:cubicBezTo>
                    <a:pt x="8213" y="10811"/>
                    <a:pt x="8213" y="10811"/>
                    <a:pt x="8213" y="10811"/>
                  </a:cubicBezTo>
                  <a:cubicBezTo>
                    <a:pt x="8213" y="11561"/>
                    <a:pt x="7534" y="12236"/>
                    <a:pt x="6514" y="12621"/>
                  </a:cubicBezTo>
                  <a:cubicBezTo>
                    <a:pt x="5891" y="12857"/>
                    <a:pt x="5155" y="12996"/>
                    <a:pt x="4362" y="12996"/>
                  </a:cubicBezTo>
                  <a:cubicBezTo>
                    <a:pt x="4229" y="12996"/>
                    <a:pt x="4097" y="12996"/>
                    <a:pt x="3984" y="12986"/>
                  </a:cubicBezTo>
                  <a:cubicBezTo>
                    <a:pt x="3097" y="12932"/>
                    <a:pt x="2266" y="12718"/>
                    <a:pt x="1624" y="12354"/>
                  </a:cubicBezTo>
                  <a:cubicBezTo>
                    <a:pt x="1322" y="12193"/>
                    <a:pt x="906" y="12150"/>
                    <a:pt x="529" y="12236"/>
                  </a:cubicBezTo>
                  <a:cubicBezTo>
                    <a:pt x="453" y="12257"/>
                    <a:pt x="378" y="12279"/>
                    <a:pt x="321" y="12300"/>
                  </a:cubicBezTo>
                  <a:cubicBezTo>
                    <a:pt x="132" y="12386"/>
                    <a:pt x="19" y="12504"/>
                    <a:pt x="0" y="12632"/>
                  </a:cubicBezTo>
                  <a:lnTo>
                    <a:pt x="0" y="12632"/>
                  </a:lnTo>
                  <a:lnTo>
                    <a:pt x="0" y="16939"/>
                  </a:lnTo>
                  <a:lnTo>
                    <a:pt x="7609" y="16939"/>
                  </a:lnTo>
                  <a:cubicBezTo>
                    <a:pt x="8138" y="16950"/>
                    <a:pt x="8610" y="17143"/>
                    <a:pt x="8817" y="17432"/>
                  </a:cubicBezTo>
                  <a:cubicBezTo>
                    <a:pt x="8912" y="17561"/>
                    <a:pt x="8950" y="17689"/>
                    <a:pt x="8931" y="17818"/>
                  </a:cubicBezTo>
                  <a:cubicBezTo>
                    <a:pt x="8912" y="18032"/>
                    <a:pt x="8780" y="18246"/>
                    <a:pt x="8497" y="18418"/>
                  </a:cubicBezTo>
                  <a:cubicBezTo>
                    <a:pt x="7855" y="18771"/>
                    <a:pt x="7515" y="19243"/>
                    <a:pt x="7515" y="19736"/>
                  </a:cubicBezTo>
                  <a:cubicBezTo>
                    <a:pt x="7515" y="20764"/>
                    <a:pt x="8987" y="21600"/>
                    <a:pt x="10800" y="21600"/>
                  </a:cubicBezTo>
                  <a:cubicBezTo>
                    <a:pt x="12556" y="21600"/>
                    <a:pt x="14010" y="20807"/>
                    <a:pt x="14085" y="19821"/>
                  </a:cubicBezTo>
                  <a:cubicBezTo>
                    <a:pt x="14085" y="19789"/>
                    <a:pt x="14085" y="19757"/>
                    <a:pt x="14085" y="19725"/>
                  </a:cubicBezTo>
                  <a:cubicBezTo>
                    <a:pt x="14085" y="19725"/>
                    <a:pt x="14085" y="19725"/>
                    <a:pt x="14085" y="19725"/>
                  </a:cubicBezTo>
                  <a:cubicBezTo>
                    <a:pt x="14066" y="19232"/>
                    <a:pt x="13727" y="18771"/>
                    <a:pt x="13103" y="18429"/>
                  </a:cubicBezTo>
                  <a:cubicBezTo>
                    <a:pt x="12820" y="18246"/>
                    <a:pt x="12669" y="18032"/>
                    <a:pt x="12669" y="17818"/>
                  </a:cubicBezTo>
                  <a:cubicBezTo>
                    <a:pt x="12650" y="17689"/>
                    <a:pt x="12707" y="17561"/>
                    <a:pt x="12783" y="17432"/>
                  </a:cubicBezTo>
                  <a:cubicBezTo>
                    <a:pt x="12990" y="17143"/>
                    <a:pt x="13462" y="16950"/>
                    <a:pt x="13972" y="16939"/>
                  </a:cubicBezTo>
                  <a:lnTo>
                    <a:pt x="21600" y="16939"/>
                  </a:lnTo>
                  <a:lnTo>
                    <a:pt x="21600" y="4671"/>
                  </a:lnTo>
                  <a:lnTo>
                    <a:pt x="13991" y="4671"/>
                  </a:lnTo>
                  <a:cubicBezTo>
                    <a:pt x="13462" y="4661"/>
                    <a:pt x="12990" y="4468"/>
                    <a:pt x="12783" y="4179"/>
                  </a:cubicBezTo>
                  <a:cubicBezTo>
                    <a:pt x="12537" y="3846"/>
                    <a:pt x="12669" y="3482"/>
                    <a:pt x="13103" y="3204"/>
                  </a:cubicBezTo>
                  <a:cubicBezTo>
                    <a:pt x="13198" y="3150"/>
                    <a:pt x="13273" y="3107"/>
                    <a:pt x="13349" y="3054"/>
                  </a:cubicBezTo>
                  <a:cubicBezTo>
                    <a:pt x="13368" y="3043"/>
                    <a:pt x="13368" y="3032"/>
                    <a:pt x="13387" y="3021"/>
                  </a:cubicBezTo>
                  <a:cubicBezTo>
                    <a:pt x="13443" y="2979"/>
                    <a:pt x="13500" y="2936"/>
                    <a:pt x="13557" y="2882"/>
                  </a:cubicBezTo>
                  <a:cubicBezTo>
                    <a:pt x="13576" y="2871"/>
                    <a:pt x="13576" y="2861"/>
                    <a:pt x="13594" y="2850"/>
                  </a:cubicBezTo>
                  <a:cubicBezTo>
                    <a:pt x="13651" y="2807"/>
                    <a:pt x="13689" y="2754"/>
                    <a:pt x="13745" y="2700"/>
                  </a:cubicBezTo>
                  <a:cubicBezTo>
                    <a:pt x="13745" y="2689"/>
                    <a:pt x="13764" y="2679"/>
                    <a:pt x="13764" y="2668"/>
                  </a:cubicBezTo>
                  <a:cubicBezTo>
                    <a:pt x="13802" y="2614"/>
                    <a:pt x="13840" y="2561"/>
                    <a:pt x="13878" y="2507"/>
                  </a:cubicBezTo>
                  <a:cubicBezTo>
                    <a:pt x="13878" y="2496"/>
                    <a:pt x="13897" y="2486"/>
                    <a:pt x="13897" y="2475"/>
                  </a:cubicBezTo>
                  <a:cubicBezTo>
                    <a:pt x="13934" y="2421"/>
                    <a:pt x="13953" y="2368"/>
                    <a:pt x="13991" y="2314"/>
                  </a:cubicBezTo>
                  <a:cubicBezTo>
                    <a:pt x="13991" y="2304"/>
                    <a:pt x="14010" y="2293"/>
                    <a:pt x="14010" y="2282"/>
                  </a:cubicBezTo>
                  <a:cubicBezTo>
                    <a:pt x="14029" y="2229"/>
                    <a:pt x="14048" y="2175"/>
                    <a:pt x="14066" y="2121"/>
                  </a:cubicBezTo>
                  <a:cubicBezTo>
                    <a:pt x="14066" y="2111"/>
                    <a:pt x="14066" y="2100"/>
                    <a:pt x="14085" y="2089"/>
                  </a:cubicBezTo>
                  <a:cubicBezTo>
                    <a:pt x="14104" y="2036"/>
                    <a:pt x="14104" y="1982"/>
                    <a:pt x="14104" y="1918"/>
                  </a:cubicBezTo>
                  <a:cubicBezTo>
                    <a:pt x="14104" y="1907"/>
                    <a:pt x="14104" y="1896"/>
                    <a:pt x="14104" y="1886"/>
                  </a:cubicBezTo>
                  <a:cubicBezTo>
                    <a:pt x="14104" y="1821"/>
                    <a:pt x="14104" y="1757"/>
                    <a:pt x="14085" y="1693"/>
                  </a:cubicBezTo>
                  <a:cubicBezTo>
                    <a:pt x="14085" y="1693"/>
                    <a:pt x="14085" y="1682"/>
                    <a:pt x="14085" y="1682"/>
                  </a:cubicBezTo>
                  <a:cubicBezTo>
                    <a:pt x="14085" y="1671"/>
                    <a:pt x="14085" y="1661"/>
                    <a:pt x="14085" y="1661"/>
                  </a:cubicBezTo>
                  <a:cubicBezTo>
                    <a:pt x="14066" y="1607"/>
                    <a:pt x="14066" y="1554"/>
                    <a:pt x="14048" y="1511"/>
                  </a:cubicBezTo>
                  <a:cubicBezTo>
                    <a:pt x="14048" y="1500"/>
                    <a:pt x="14029" y="1489"/>
                    <a:pt x="14029" y="1479"/>
                  </a:cubicBezTo>
                  <a:cubicBezTo>
                    <a:pt x="14010" y="1436"/>
                    <a:pt x="13991" y="1382"/>
                    <a:pt x="13972" y="1339"/>
                  </a:cubicBezTo>
                  <a:cubicBezTo>
                    <a:pt x="13972" y="1329"/>
                    <a:pt x="13953" y="1318"/>
                    <a:pt x="13953" y="1307"/>
                  </a:cubicBezTo>
                  <a:cubicBezTo>
                    <a:pt x="13934" y="1264"/>
                    <a:pt x="13897" y="1221"/>
                    <a:pt x="13859" y="1168"/>
                  </a:cubicBezTo>
                  <a:cubicBezTo>
                    <a:pt x="13859" y="1157"/>
                    <a:pt x="13840" y="1146"/>
                    <a:pt x="13840" y="1136"/>
                  </a:cubicBezTo>
                  <a:cubicBezTo>
                    <a:pt x="13802" y="1093"/>
                    <a:pt x="13764" y="1039"/>
                    <a:pt x="13727" y="996"/>
                  </a:cubicBezTo>
                  <a:cubicBezTo>
                    <a:pt x="13727" y="986"/>
                    <a:pt x="13708" y="986"/>
                    <a:pt x="13708" y="975"/>
                  </a:cubicBezTo>
                  <a:cubicBezTo>
                    <a:pt x="13462" y="718"/>
                    <a:pt x="13103" y="493"/>
                    <a:pt x="12669" y="321"/>
                  </a:cubicBezTo>
                  <a:cubicBezTo>
                    <a:pt x="12669" y="321"/>
                    <a:pt x="12669" y="321"/>
                    <a:pt x="12669" y="321"/>
                  </a:cubicBezTo>
                  <a:cubicBezTo>
                    <a:pt x="12575" y="289"/>
                    <a:pt x="12499" y="257"/>
                    <a:pt x="12405" y="225"/>
                  </a:cubicBezTo>
                  <a:cubicBezTo>
                    <a:pt x="12405" y="225"/>
                    <a:pt x="12405" y="225"/>
                    <a:pt x="12405" y="225"/>
                  </a:cubicBezTo>
                  <a:cubicBezTo>
                    <a:pt x="12046" y="107"/>
                    <a:pt x="11631" y="43"/>
                    <a:pt x="11197" y="11"/>
                  </a:cubicBezTo>
                  <a:cubicBezTo>
                    <a:pt x="11140" y="11"/>
                    <a:pt x="11083" y="11"/>
                    <a:pt x="11027" y="0"/>
                  </a:cubicBezTo>
                  <a:cubicBezTo>
                    <a:pt x="10970" y="0"/>
                    <a:pt x="10913" y="0"/>
                    <a:pt x="10857" y="0"/>
                  </a:cubicBezTo>
                  <a:cubicBezTo>
                    <a:pt x="10819" y="0"/>
                    <a:pt x="10781" y="0"/>
                    <a:pt x="10743" y="0"/>
                  </a:cubicBezTo>
                  <a:cubicBezTo>
                    <a:pt x="10120" y="11"/>
                    <a:pt x="9554" y="118"/>
                    <a:pt x="9063" y="300"/>
                  </a:cubicBezTo>
                  <a:cubicBezTo>
                    <a:pt x="9044" y="311"/>
                    <a:pt x="9025" y="311"/>
                    <a:pt x="9006" y="321"/>
                  </a:cubicBezTo>
                  <a:cubicBezTo>
                    <a:pt x="8950" y="343"/>
                    <a:pt x="8874" y="375"/>
                    <a:pt x="8818" y="396"/>
                  </a:cubicBezTo>
                  <a:cubicBezTo>
                    <a:pt x="8799" y="407"/>
                    <a:pt x="8761" y="418"/>
                    <a:pt x="8742" y="429"/>
                  </a:cubicBezTo>
                  <a:cubicBezTo>
                    <a:pt x="8685" y="450"/>
                    <a:pt x="8629" y="482"/>
                    <a:pt x="8572" y="514"/>
                  </a:cubicBezTo>
                  <a:cubicBezTo>
                    <a:pt x="8553" y="525"/>
                    <a:pt x="8515" y="546"/>
                    <a:pt x="8497" y="557"/>
                  </a:cubicBezTo>
                  <a:cubicBezTo>
                    <a:pt x="8440" y="589"/>
                    <a:pt x="8402" y="611"/>
                    <a:pt x="8346" y="643"/>
                  </a:cubicBezTo>
                  <a:cubicBezTo>
                    <a:pt x="8327" y="664"/>
                    <a:pt x="8289" y="675"/>
                    <a:pt x="8270" y="696"/>
                  </a:cubicBezTo>
                  <a:cubicBezTo>
                    <a:pt x="8232" y="729"/>
                    <a:pt x="8195" y="761"/>
                    <a:pt x="8157" y="782"/>
                  </a:cubicBezTo>
                  <a:cubicBezTo>
                    <a:pt x="8138" y="804"/>
                    <a:pt x="8100" y="825"/>
                    <a:pt x="8081" y="846"/>
                  </a:cubicBezTo>
                  <a:cubicBezTo>
                    <a:pt x="8043" y="879"/>
                    <a:pt x="8025" y="900"/>
                    <a:pt x="7987" y="932"/>
                  </a:cubicBezTo>
                  <a:cubicBezTo>
                    <a:pt x="7968" y="964"/>
                    <a:pt x="7930" y="986"/>
                    <a:pt x="7911" y="1018"/>
                  </a:cubicBezTo>
                  <a:cubicBezTo>
                    <a:pt x="7892" y="1039"/>
                    <a:pt x="7874" y="1071"/>
                    <a:pt x="7836" y="1093"/>
                  </a:cubicBezTo>
                  <a:cubicBezTo>
                    <a:pt x="7817" y="1125"/>
                    <a:pt x="7779" y="1168"/>
                    <a:pt x="7760" y="1200"/>
                  </a:cubicBezTo>
                  <a:cubicBezTo>
                    <a:pt x="7741" y="1221"/>
                    <a:pt x="7723" y="1243"/>
                    <a:pt x="7723" y="1264"/>
                  </a:cubicBezTo>
                  <a:cubicBezTo>
                    <a:pt x="7704" y="1307"/>
                    <a:pt x="7685" y="1339"/>
                    <a:pt x="7666" y="1382"/>
                  </a:cubicBezTo>
                  <a:cubicBezTo>
                    <a:pt x="7666" y="1404"/>
                    <a:pt x="7647" y="1425"/>
                    <a:pt x="7628" y="1446"/>
                  </a:cubicBezTo>
                  <a:cubicBezTo>
                    <a:pt x="7609" y="1489"/>
                    <a:pt x="7609" y="1521"/>
                    <a:pt x="7590" y="1564"/>
                  </a:cubicBezTo>
                  <a:cubicBezTo>
                    <a:pt x="7590" y="1586"/>
                    <a:pt x="7571" y="1618"/>
                    <a:pt x="7571" y="1639"/>
                  </a:cubicBezTo>
                  <a:cubicBezTo>
                    <a:pt x="7571" y="1661"/>
                    <a:pt x="7571" y="1693"/>
                    <a:pt x="7571" y="1714"/>
                  </a:cubicBezTo>
                  <a:cubicBezTo>
                    <a:pt x="7571" y="1757"/>
                    <a:pt x="7553" y="1789"/>
                    <a:pt x="7553" y="1832"/>
                  </a:cubicBezTo>
                  <a:cubicBezTo>
                    <a:pt x="7552" y="2389"/>
                    <a:pt x="7892" y="2861"/>
                    <a:pt x="8515" y="3204"/>
                  </a:cubicBezTo>
                  <a:close/>
                </a:path>
              </a:pathLst>
            </a:custGeom>
            <a:solidFill>
              <a:schemeClr val="bg1">
                <a:lumMod val="65000"/>
              </a:schemeClr>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3000">
                <a:solidFill>
                  <a:srgbClr val="FFFFFF"/>
                </a:solidFill>
              </a:endParaRPr>
            </a:p>
          </p:txBody>
        </p:sp>
        <p:sp>
          <p:nvSpPr>
            <p:cNvPr id="8" name="Shape">
              <a:extLst>
                <a:ext uri="{FF2B5EF4-FFF2-40B4-BE49-F238E27FC236}">
                  <a16:creationId xmlns:a16="http://schemas.microsoft.com/office/drawing/2014/main" id="{69A5901C-72C1-5E96-9F07-7A7AF1D447DA}"/>
                </a:ext>
              </a:extLst>
            </p:cNvPr>
            <p:cNvSpPr/>
            <p:nvPr/>
          </p:nvSpPr>
          <p:spPr>
            <a:xfrm>
              <a:off x="5147583" y="6784445"/>
              <a:ext cx="1204124" cy="2115360"/>
            </a:xfrm>
            <a:custGeom>
              <a:avLst/>
              <a:gdLst/>
              <a:ahLst/>
              <a:cxnLst>
                <a:cxn ang="0">
                  <a:pos x="wd2" y="hd2"/>
                </a:cxn>
                <a:cxn ang="5400000">
                  <a:pos x="wd2" y="hd2"/>
                </a:cxn>
                <a:cxn ang="10800000">
                  <a:pos x="wd2" y="hd2"/>
                </a:cxn>
                <a:cxn ang="16200000">
                  <a:pos x="wd2" y="hd2"/>
                </a:cxn>
              </a:cxnLst>
              <a:rect l="0" t="0" r="r" b="b"/>
              <a:pathLst>
                <a:path w="21600" h="21600" extrusionOk="0">
                  <a:moveTo>
                    <a:pt x="12787" y="17398"/>
                  </a:moveTo>
                  <a:cubicBezTo>
                    <a:pt x="12994" y="17109"/>
                    <a:pt x="13465" y="16916"/>
                    <a:pt x="13992" y="16905"/>
                  </a:cubicBezTo>
                  <a:lnTo>
                    <a:pt x="21600" y="16905"/>
                  </a:lnTo>
                  <a:lnTo>
                    <a:pt x="21600" y="12585"/>
                  </a:lnTo>
                  <a:cubicBezTo>
                    <a:pt x="21581" y="12424"/>
                    <a:pt x="21393" y="12263"/>
                    <a:pt x="21073" y="12199"/>
                  </a:cubicBezTo>
                  <a:cubicBezTo>
                    <a:pt x="20696" y="12113"/>
                    <a:pt x="20282" y="12156"/>
                    <a:pt x="19962" y="12317"/>
                  </a:cubicBezTo>
                  <a:cubicBezTo>
                    <a:pt x="19246" y="12724"/>
                    <a:pt x="18267" y="12960"/>
                    <a:pt x="17250" y="12960"/>
                  </a:cubicBezTo>
                  <a:cubicBezTo>
                    <a:pt x="15122" y="12960"/>
                    <a:pt x="13408" y="11974"/>
                    <a:pt x="13408" y="10773"/>
                  </a:cubicBezTo>
                  <a:cubicBezTo>
                    <a:pt x="13408" y="9562"/>
                    <a:pt x="15141" y="8586"/>
                    <a:pt x="17250" y="8586"/>
                  </a:cubicBezTo>
                  <a:cubicBezTo>
                    <a:pt x="18286" y="8586"/>
                    <a:pt x="19246" y="8812"/>
                    <a:pt x="19980" y="9230"/>
                  </a:cubicBezTo>
                  <a:cubicBezTo>
                    <a:pt x="20169" y="9326"/>
                    <a:pt x="20414" y="9380"/>
                    <a:pt x="20640" y="9390"/>
                  </a:cubicBezTo>
                  <a:cubicBezTo>
                    <a:pt x="20734" y="9390"/>
                    <a:pt x="20828" y="9390"/>
                    <a:pt x="20922" y="9369"/>
                  </a:cubicBezTo>
                  <a:cubicBezTo>
                    <a:pt x="20979" y="9358"/>
                    <a:pt x="21016" y="9348"/>
                    <a:pt x="21073" y="9337"/>
                  </a:cubicBezTo>
                  <a:cubicBezTo>
                    <a:pt x="21374" y="9262"/>
                    <a:pt x="21581" y="9112"/>
                    <a:pt x="21600" y="8940"/>
                  </a:cubicBezTo>
                  <a:lnTo>
                    <a:pt x="21600" y="7214"/>
                  </a:lnTo>
                  <a:lnTo>
                    <a:pt x="21600" y="6175"/>
                  </a:lnTo>
                  <a:lnTo>
                    <a:pt x="21600" y="4631"/>
                  </a:lnTo>
                  <a:lnTo>
                    <a:pt x="14011" y="4631"/>
                  </a:lnTo>
                  <a:cubicBezTo>
                    <a:pt x="13822" y="4631"/>
                    <a:pt x="13653" y="4599"/>
                    <a:pt x="13483" y="4556"/>
                  </a:cubicBezTo>
                  <a:cubicBezTo>
                    <a:pt x="13182" y="4470"/>
                    <a:pt x="12937" y="4331"/>
                    <a:pt x="12787" y="4138"/>
                  </a:cubicBezTo>
                  <a:cubicBezTo>
                    <a:pt x="12542" y="3806"/>
                    <a:pt x="12674" y="3441"/>
                    <a:pt x="13107" y="3162"/>
                  </a:cubicBezTo>
                  <a:cubicBezTo>
                    <a:pt x="13747" y="2798"/>
                    <a:pt x="14086" y="2337"/>
                    <a:pt x="14086" y="1833"/>
                  </a:cubicBezTo>
                  <a:cubicBezTo>
                    <a:pt x="14086" y="1790"/>
                    <a:pt x="14086" y="1758"/>
                    <a:pt x="14067" y="1715"/>
                  </a:cubicBezTo>
                  <a:cubicBezTo>
                    <a:pt x="14067" y="1694"/>
                    <a:pt x="14067" y="1662"/>
                    <a:pt x="14067" y="1640"/>
                  </a:cubicBezTo>
                  <a:cubicBezTo>
                    <a:pt x="14067" y="1619"/>
                    <a:pt x="14048" y="1587"/>
                    <a:pt x="14048" y="1565"/>
                  </a:cubicBezTo>
                  <a:cubicBezTo>
                    <a:pt x="14030" y="1522"/>
                    <a:pt x="14030" y="1490"/>
                    <a:pt x="14011" y="1447"/>
                  </a:cubicBezTo>
                  <a:cubicBezTo>
                    <a:pt x="14011" y="1426"/>
                    <a:pt x="13992" y="1404"/>
                    <a:pt x="13973" y="1383"/>
                  </a:cubicBezTo>
                  <a:cubicBezTo>
                    <a:pt x="13954" y="1340"/>
                    <a:pt x="13935" y="1297"/>
                    <a:pt x="13917" y="1265"/>
                  </a:cubicBezTo>
                  <a:cubicBezTo>
                    <a:pt x="13898" y="1244"/>
                    <a:pt x="13879" y="1222"/>
                    <a:pt x="13879" y="1201"/>
                  </a:cubicBezTo>
                  <a:cubicBezTo>
                    <a:pt x="13860" y="1168"/>
                    <a:pt x="13841" y="1126"/>
                    <a:pt x="13804" y="1093"/>
                  </a:cubicBezTo>
                  <a:cubicBezTo>
                    <a:pt x="13785" y="1072"/>
                    <a:pt x="13766" y="1040"/>
                    <a:pt x="13728" y="1018"/>
                  </a:cubicBezTo>
                  <a:cubicBezTo>
                    <a:pt x="13709" y="986"/>
                    <a:pt x="13672" y="965"/>
                    <a:pt x="13653" y="933"/>
                  </a:cubicBezTo>
                  <a:cubicBezTo>
                    <a:pt x="13615" y="900"/>
                    <a:pt x="13596" y="879"/>
                    <a:pt x="13559" y="847"/>
                  </a:cubicBezTo>
                  <a:cubicBezTo>
                    <a:pt x="13540" y="825"/>
                    <a:pt x="13502" y="804"/>
                    <a:pt x="13484" y="783"/>
                  </a:cubicBezTo>
                  <a:cubicBezTo>
                    <a:pt x="13446" y="750"/>
                    <a:pt x="13408" y="718"/>
                    <a:pt x="13371" y="697"/>
                  </a:cubicBezTo>
                  <a:cubicBezTo>
                    <a:pt x="13352" y="675"/>
                    <a:pt x="13314" y="665"/>
                    <a:pt x="13295" y="643"/>
                  </a:cubicBezTo>
                  <a:cubicBezTo>
                    <a:pt x="13258" y="611"/>
                    <a:pt x="13201" y="579"/>
                    <a:pt x="13145" y="557"/>
                  </a:cubicBezTo>
                  <a:cubicBezTo>
                    <a:pt x="13126" y="547"/>
                    <a:pt x="13088" y="525"/>
                    <a:pt x="13069" y="515"/>
                  </a:cubicBezTo>
                  <a:cubicBezTo>
                    <a:pt x="13013" y="482"/>
                    <a:pt x="12956" y="461"/>
                    <a:pt x="12900" y="429"/>
                  </a:cubicBezTo>
                  <a:cubicBezTo>
                    <a:pt x="12881" y="418"/>
                    <a:pt x="12843" y="407"/>
                    <a:pt x="12824" y="397"/>
                  </a:cubicBezTo>
                  <a:cubicBezTo>
                    <a:pt x="12768" y="364"/>
                    <a:pt x="12711" y="343"/>
                    <a:pt x="12636" y="322"/>
                  </a:cubicBezTo>
                  <a:cubicBezTo>
                    <a:pt x="12617" y="311"/>
                    <a:pt x="12598" y="311"/>
                    <a:pt x="12580" y="300"/>
                  </a:cubicBezTo>
                  <a:cubicBezTo>
                    <a:pt x="12090" y="118"/>
                    <a:pt x="11506" y="11"/>
                    <a:pt x="10885" y="0"/>
                  </a:cubicBezTo>
                  <a:cubicBezTo>
                    <a:pt x="10847" y="0"/>
                    <a:pt x="10809" y="0"/>
                    <a:pt x="10772" y="0"/>
                  </a:cubicBezTo>
                  <a:cubicBezTo>
                    <a:pt x="10715" y="0"/>
                    <a:pt x="10659" y="0"/>
                    <a:pt x="10602" y="0"/>
                  </a:cubicBezTo>
                  <a:cubicBezTo>
                    <a:pt x="10546" y="0"/>
                    <a:pt x="10489" y="0"/>
                    <a:pt x="10433" y="11"/>
                  </a:cubicBezTo>
                  <a:cubicBezTo>
                    <a:pt x="10000" y="32"/>
                    <a:pt x="9585" y="107"/>
                    <a:pt x="9228" y="225"/>
                  </a:cubicBezTo>
                  <a:cubicBezTo>
                    <a:pt x="9228" y="225"/>
                    <a:pt x="9228" y="225"/>
                    <a:pt x="9228" y="225"/>
                  </a:cubicBezTo>
                  <a:cubicBezTo>
                    <a:pt x="9133" y="257"/>
                    <a:pt x="9058" y="279"/>
                    <a:pt x="8964" y="322"/>
                  </a:cubicBezTo>
                  <a:cubicBezTo>
                    <a:pt x="8964" y="322"/>
                    <a:pt x="8964" y="322"/>
                    <a:pt x="8964" y="322"/>
                  </a:cubicBezTo>
                  <a:cubicBezTo>
                    <a:pt x="8531" y="493"/>
                    <a:pt x="8173" y="708"/>
                    <a:pt x="7928" y="975"/>
                  </a:cubicBezTo>
                  <a:cubicBezTo>
                    <a:pt x="7928" y="975"/>
                    <a:pt x="7909" y="986"/>
                    <a:pt x="7909" y="986"/>
                  </a:cubicBezTo>
                  <a:cubicBezTo>
                    <a:pt x="7872" y="1029"/>
                    <a:pt x="7834" y="1083"/>
                    <a:pt x="7796" y="1126"/>
                  </a:cubicBezTo>
                  <a:cubicBezTo>
                    <a:pt x="7796" y="1136"/>
                    <a:pt x="7778" y="1147"/>
                    <a:pt x="7778" y="1147"/>
                  </a:cubicBezTo>
                  <a:cubicBezTo>
                    <a:pt x="7740" y="1190"/>
                    <a:pt x="7721" y="1243"/>
                    <a:pt x="7683" y="1286"/>
                  </a:cubicBezTo>
                  <a:cubicBezTo>
                    <a:pt x="7683" y="1297"/>
                    <a:pt x="7664" y="1308"/>
                    <a:pt x="7664" y="1319"/>
                  </a:cubicBezTo>
                  <a:cubicBezTo>
                    <a:pt x="7646" y="1372"/>
                    <a:pt x="7608" y="1415"/>
                    <a:pt x="7589" y="1469"/>
                  </a:cubicBezTo>
                  <a:cubicBezTo>
                    <a:pt x="7589" y="1479"/>
                    <a:pt x="7589" y="1490"/>
                    <a:pt x="7570" y="1490"/>
                  </a:cubicBezTo>
                  <a:cubicBezTo>
                    <a:pt x="7551" y="1544"/>
                    <a:pt x="7533" y="1608"/>
                    <a:pt x="7533" y="1662"/>
                  </a:cubicBezTo>
                  <a:cubicBezTo>
                    <a:pt x="7533" y="1662"/>
                    <a:pt x="7533" y="1672"/>
                    <a:pt x="7533" y="1672"/>
                  </a:cubicBezTo>
                  <a:cubicBezTo>
                    <a:pt x="7533" y="1683"/>
                    <a:pt x="7533" y="1694"/>
                    <a:pt x="7533" y="1704"/>
                  </a:cubicBezTo>
                  <a:cubicBezTo>
                    <a:pt x="7533" y="1758"/>
                    <a:pt x="7514" y="1812"/>
                    <a:pt x="7514" y="1876"/>
                  </a:cubicBezTo>
                  <a:cubicBezTo>
                    <a:pt x="7514" y="1887"/>
                    <a:pt x="7514" y="1908"/>
                    <a:pt x="7514" y="1919"/>
                  </a:cubicBezTo>
                  <a:cubicBezTo>
                    <a:pt x="7514" y="1972"/>
                    <a:pt x="7514" y="2026"/>
                    <a:pt x="7533" y="2080"/>
                  </a:cubicBezTo>
                  <a:cubicBezTo>
                    <a:pt x="7533" y="2090"/>
                    <a:pt x="7533" y="2112"/>
                    <a:pt x="7552" y="2123"/>
                  </a:cubicBezTo>
                  <a:cubicBezTo>
                    <a:pt x="7570" y="2176"/>
                    <a:pt x="7589" y="2230"/>
                    <a:pt x="7608" y="2273"/>
                  </a:cubicBezTo>
                  <a:cubicBezTo>
                    <a:pt x="7608" y="2283"/>
                    <a:pt x="7627" y="2305"/>
                    <a:pt x="7627" y="2315"/>
                  </a:cubicBezTo>
                  <a:cubicBezTo>
                    <a:pt x="7646" y="2369"/>
                    <a:pt x="7683" y="2412"/>
                    <a:pt x="7702" y="2466"/>
                  </a:cubicBezTo>
                  <a:cubicBezTo>
                    <a:pt x="7702" y="2476"/>
                    <a:pt x="7721" y="2487"/>
                    <a:pt x="7721" y="2508"/>
                  </a:cubicBezTo>
                  <a:cubicBezTo>
                    <a:pt x="7759" y="2562"/>
                    <a:pt x="7796" y="2605"/>
                    <a:pt x="7834" y="2658"/>
                  </a:cubicBezTo>
                  <a:cubicBezTo>
                    <a:pt x="7853" y="2669"/>
                    <a:pt x="7853" y="2680"/>
                    <a:pt x="7872" y="2701"/>
                  </a:cubicBezTo>
                  <a:cubicBezTo>
                    <a:pt x="7909" y="2744"/>
                    <a:pt x="7966" y="2798"/>
                    <a:pt x="8004" y="2841"/>
                  </a:cubicBezTo>
                  <a:cubicBezTo>
                    <a:pt x="8022" y="2851"/>
                    <a:pt x="8022" y="2862"/>
                    <a:pt x="8041" y="2884"/>
                  </a:cubicBezTo>
                  <a:cubicBezTo>
                    <a:pt x="8098" y="2926"/>
                    <a:pt x="8154" y="2969"/>
                    <a:pt x="8211" y="3012"/>
                  </a:cubicBezTo>
                  <a:cubicBezTo>
                    <a:pt x="8229" y="3023"/>
                    <a:pt x="8248" y="3034"/>
                    <a:pt x="8248" y="3044"/>
                  </a:cubicBezTo>
                  <a:cubicBezTo>
                    <a:pt x="8324" y="3098"/>
                    <a:pt x="8399" y="3152"/>
                    <a:pt x="8493" y="3194"/>
                  </a:cubicBezTo>
                  <a:cubicBezTo>
                    <a:pt x="8945" y="3473"/>
                    <a:pt x="9058" y="3848"/>
                    <a:pt x="8813" y="4170"/>
                  </a:cubicBezTo>
                  <a:cubicBezTo>
                    <a:pt x="8606" y="4459"/>
                    <a:pt x="8135" y="4652"/>
                    <a:pt x="7608" y="4663"/>
                  </a:cubicBezTo>
                  <a:lnTo>
                    <a:pt x="0" y="4663"/>
                  </a:lnTo>
                  <a:lnTo>
                    <a:pt x="0" y="16937"/>
                  </a:lnTo>
                  <a:lnTo>
                    <a:pt x="7589" y="16937"/>
                  </a:lnTo>
                  <a:cubicBezTo>
                    <a:pt x="8117" y="16948"/>
                    <a:pt x="8587" y="17141"/>
                    <a:pt x="8794" y="17430"/>
                  </a:cubicBezTo>
                  <a:cubicBezTo>
                    <a:pt x="8889" y="17559"/>
                    <a:pt x="8926" y="17687"/>
                    <a:pt x="8907" y="17816"/>
                  </a:cubicBezTo>
                  <a:cubicBezTo>
                    <a:pt x="8907" y="18030"/>
                    <a:pt x="8757" y="18245"/>
                    <a:pt x="8474" y="18416"/>
                  </a:cubicBezTo>
                  <a:cubicBezTo>
                    <a:pt x="7796" y="18802"/>
                    <a:pt x="7457" y="19306"/>
                    <a:pt x="7495" y="19842"/>
                  </a:cubicBezTo>
                  <a:cubicBezTo>
                    <a:pt x="7589" y="20817"/>
                    <a:pt x="9020" y="21600"/>
                    <a:pt x="10772" y="21600"/>
                  </a:cubicBezTo>
                  <a:cubicBezTo>
                    <a:pt x="12580" y="21600"/>
                    <a:pt x="14049" y="20764"/>
                    <a:pt x="14049" y="19735"/>
                  </a:cubicBezTo>
                  <a:cubicBezTo>
                    <a:pt x="14049" y="19242"/>
                    <a:pt x="13691" y="18770"/>
                    <a:pt x="13069" y="18416"/>
                  </a:cubicBezTo>
                  <a:cubicBezTo>
                    <a:pt x="12787" y="18245"/>
                    <a:pt x="12636" y="18030"/>
                    <a:pt x="12636" y="17805"/>
                  </a:cubicBezTo>
                  <a:cubicBezTo>
                    <a:pt x="12655" y="17655"/>
                    <a:pt x="12693" y="17527"/>
                    <a:pt x="12787" y="17398"/>
                  </a:cubicBezTo>
                  <a:close/>
                </a:path>
              </a:pathLst>
            </a:custGeom>
            <a:solidFill>
              <a:schemeClr val="bg1">
                <a:lumMod val="65000"/>
              </a:schemeClr>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3000">
                <a:solidFill>
                  <a:srgbClr val="FFFFFF"/>
                </a:solidFill>
              </a:endParaRPr>
            </a:p>
          </p:txBody>
        </p:sp>
        <p:sp>
          <p:nvSpPr>
            <p:cNvPr id="9" name="Shape">
              <a:extLst>
                <a:ext uri="{FF2B5EF4-FFF2-40B4-BE49-F238E27FC236}">
                  <a16:creationId xmlns:a16="http://schemas.microsoft.com/office/drawing/2014/main" id="{8509A59B-E421-27D1-5CC7-D6D6D6E58263}"/>
                </a:ext>
              </a:extLst>
            </p:cNvPr>
            <p:cNvSpPr/>
            <p:nvPr/>
          </p:nvSpPr>
          <p:spPr>
            <a:xfrm>
              <a:off x="6386355" y="8012718"/>
              <a:ext cx="1199944" cy="1659752"/>
            </a:xfrm>
            <a:custGeom>
              <a:avLst/>
              <a:gdLst/>
              <a:ahLst/>
              <a:cxnLst>
                <a:cxn ang="0">
                  <a:pos x="wd2" y="hd2"/>
                </a:cxn>
                <a:cxn ang="5400000">
                  <a:pos x="wd2" y="hd2"/>
                </a:cxn>
                <a:cxn ang="10800000">
                  <a:pos x="wd2" y="hd2"/>
                </a:cxn>
                <a:cxn ang="16200000">
                  <a:pos x="wd2" y="hd2"/>
                </a:cxn>
              </a:cxnLst>
              <a:rect l="0" t="0" r="r" b="b"/>
              <a:pathLst>
                <a:path w="21600" h="21600" extrusionOk="0">
                  <a:moveTo>
                    <a:pt x="13984" y="5957"/>
                  </a:moveTo>
                  <a:cubicBezTo>
                    <a:pt x="13587" y="5943"/>
                    <a:pt x="13228" y="5806"/>
                    <a:pt x="12983" y="5574"/>
                  </a:cubicBezTo>
                  <a:cubicBezTo>
                    <a:pt x="12907" y="5492"/>
                    <a:pt x="12831" y="5410"/>
                    <a:pt x="12775" y="5315"/>
                  </a:cubicBezTo>
                  <a:cubicBezTo>
                    <a:pt x="12529" y="4905"/>
                    <a:pt x="12661" y="4427"/>
                    <a:pt x="13096" y="4071"/>
                  </a:cubicBezTo>
                  <a:cubicBezTo>
                    <a:pt x="13739" y="3607"/>
                    <a:pt x="14079" y="3019"/>
                    <a:pt x="14079" y="2377"/>
                  </a:cubicBezTo>
                  <a:cubicBezTo>
                    <a:pt x="14079" y="2295"/>
                    <a:pt x="14079" y="2213"/>
                    <a:pt x="14060" y="2131"/>
                  </a:cubicBezTo>
                  <a:cubicBezTo>
                    <a:pt x="13890" y="929"/>
                    <a:pt x="12491" y="0"/>
                    <a:pt x="10790" y="0"/>
                  </a:cubicBezTo>
                  <a:cubicBezTo>
                    <a:pt x="10790" y="0"/>
                    <a:pt x="10790" y="0"/>
                    <a:pt x="10790" y="0"/>
                  </a:cubicBezTo>
                  <a:cubicBezTo>
                    <a:pt x="10696" y="0"/>
                    <a:pt x="10583" y="0"/>
                    <a:pt x="10488" y="14"/>
                  </a:cubicBezTo>
                  <a:cubicBezTo>
                    <a:pt x="10488" y="14"/>
                    <a:pt x="10488" y="14"/>
                    <a:pt x="10488" y="14"/>
                  </a:cubicBezTo>
                  <a:cubicBezTo>
                    <a:pt x="10469" y="14"/>
                    <a:pt x="10431" y="14"/>
                    <a:pt x="10413" y="14"/>
                  </a:cubicBezTo>
                  <a:lnTo>
                    <a:pt x="10375" y="14"/>
                  </a:lnTo>
                  <a:cubicBezTo>
                    <a:pt x="10337" y="14"/>
                    <a:pt x="10299" y="27"/>
                    <a:pt x="10261" y="27"/>
                  </a:cubicBezTo>
                  <a:cubicBezTo>
                    <a:pt x="10242" y="27"/>
                    <a:pt x="10205" y="27"/>
                    <a:pt x="10186" y="41"/>
                  </a:cubicBezTo>
                  <a:cubicBezTo>
                    <a:pt x="10148" y="41"/>
                    <a:pt x="10110" y="55"/>
                    <a:pt x="10072" y="55"/>
                  </a:cubicBezTo>
                  <a:cubicBezTo>
                    <a:pt x="10016" y="68"/>
                    <a:pt x="9959" y="82"/>
                    <a:pt x="9902" y="82"/>
                  </a:cubicBezTo>
                  <a:lnTo>
                    <a:pt x="9883" y="82"/>
                  </a:lnTo>
                  <a:cubicBezTo>
                    <a:pt x="9846" y="82"/>
                    <a:pt x="9827" y="96"/>
                    <a:pt x="9789" y="109"/>
                  </a:cubicBezTo>
                  <a:cubicBezTo>
                    <a:pt x="9751" y="123"/>
                    <a:pt x="9713" y="137"/>
                    <a:pt x="9676" y="137"/>
                  </a:cubicBezTo>
                  <a:cubicBezTo>
                    <a:pt x="9581" y="164"/>
                    <a:pt x="9487" y="191"/>
                    <a:pt x="9392" y="219"/>
                  </a:cubicBezTo>
                  <a:cubicBezTo>
                    <a:pt x="9373" y="232"/>
                    <a:pt x="9335" y="232"/>
                    <a:pt x="9316" y="246"/>
                  </a:cubicBezTo>
                  <a:cubicBezTo>
                    <a:pt x="9260" y="260"/>
                    <a:pt x="9222" y="287"/>
                    <a:pt x="9165" y="301"/>
                  </a:cubicBezTo>
                  <a:cubicBezTo>
                    <a:pt x="9128" y="314"/>
                    <a:pt x="9090" y="328"/>
                    <a:pt x="9071" y="342"/>
                  </a:cubicBezTo>
                  <a:cubicBezTo>
                    <a:pt x="9014" y="369"/>
                    <a:pt x="8976" y="383"/>
                    <a:pt x="8920" y="410"/>
                  </a:cubicBezTo>
                  <a:cubicBezTo>
                    <a:pt x="8901" y="424"/>
                    <a:pt x="8882" y="424"/>
                    <a:pt x="8863" y="437"/>
                  </a:cubicBezTo>
                  <a:cubicBezTo>
                    <a:pt x="8787" y="478"/>
                    <a:pt x="8731" y="506"/>
                    <a:pt x="8674" y="547"/>
                  </a:cubicBezTo>
                  <a:cubicBezTo>
                    <a:pt x="8655" y="560"/>
                    <a:pt x="8636" y="574"/>
                    <a:pt x="8617" y="588"/>
                  </a:cubicBezTo>
                  <a:cubicBezTo>
                    <a:pt x="8561" y="629"/>
                    <a:pt x="8504" y="656"/>
                    <a:pt x="8466" y="697"/>
                  </a:cubicBezTo>
                  <a:cubicBezTo>
                    <a:pt x="8447" y="724"/>
                    <a:pt x="8409" y="738"/>
                    <a:pt x="8390" y="765"/>
                  </a:cubicBezTo>
                  <a:cubicBezTo>
                    <a:pt x="8353" y="792"/>
                    <a:pt x="8315" y="833"/>
                    <a:pt x="8277" y="861"/>
                  </a:cubicBezTo>
                  <a:cubicBezTo>
                    <a:pt x="8239" y="888"/>
                    <a:pt x="8220" y="915"/>
                    <a:pt x="8183" y="943"/>
                  </a:cubicBezTo>
                  <a:cubicBezTo>
                    <a:pt x="8145" y="970"/>
                    <a:pt x="8126" y="997"/>
                    <a:pt x="8088" y="1038"/>
                  </a:cubicBezTo>
                  <a:cubicBezTo>
                    <a:pt x="8050" y="1066"/>
                    <a:pt x="8031" y="1107"/>
                    <a:pt x="7994" y="1148"/>
                  </a:cubicBezTo>
                  <a:cubicBezTo>
                    <a:pt x="7975" y="1175"/>
                    <a:pt x="7937" y="1202"/>
                    <a:pt x="7918" y="1243"/>
                  </a:cubicBezTo>
                  <a:cubicBezTo>
                    <a:pt x="7899" y="1284"/>
                    <a:pt x="7861" y="1312"/>
                    <a:pt x="7842" y="1353"/>
                  </a:cubicBezTo>
                  <a:cubicBezTo>
                    <a:pt x="7824" y="1380"/>
                    <a:pt x="7805" y="1421"/>
                    <a:pt x="7786" y="1448"/>
                  </a:cubicBezTo>
                  <a:cubicBezTo>
                    <a:pt x="7767" y="1476"/>
                    <a:pt x="7748" y="1517"/>
                    <a:pt x="7729" y="1544"/>
                  </a:cubicBezTo>
                  <a:cubicBezTo>
                    <a:pt x="7710" y="1585"/>
                    <a:pt x="7691" y="1626"/>
                    <a:pt x="7672" y="1667"/>
                  </a:cubicBezTo>
                  <a:cubicBezTo>
                    <a:pt x="7653" y="1694"/>
                    <a:pt x="7653" y="1721"/>
                    <a:pt x="7653" y="1749"/>
                  </a:cubicBezTo>
                  <a:cubicBezTo>
                    <a:pt x="7635" y="1803"/>
                    <a:pt x="7616" y="1844"/>
                    <a:pt x="7597" y="1899"/>
                  </a:cubicBezTo>
                  <a:cubicBezTo>
                    <a:pt x="7597" y="1913"/>
                    <a:pt x="7597" y="1913"/>
                    <a:pt x="7597" y="1926"/>
                  </a:cubicBezTo>
                  <a:cubicBezTo>
                    <a:pt x="7597" y="1926"/>
                    <a:pt x="7597" y="1940"/>
                    <a:pt x="7597" y="1940"/>
                  </a:cubicBezTo>
                  <a:cubicBezTo>
                    <a:pt x="7597" y="1954"/>
                    <a:pt x="7597" y="1967"/>
                    <a:pt x="7597" y="1981"/>
                  </a:cubicBezTo>
                  <a:cubicBezTo>
                    <a:pt x="7578" y="2036"/>
                    <a:pt x="7578" y="2090"/>
                    <a:pt x="7559" y="2131"/>
                  </a:cubicBezTo>
                  <a:cubicBezTo>
                    <a:pt x="7540" y="2213"/>
                    <a:pt x="7540" y="2295"/>
                    <a:pt x="7540" y="2364"/>
                  </a:cubicBezTo>
                  <a:cubicBezTo>
                    <a:pt x="7540" y="3006"/>
                    <a:pt x="7880" y="3607"/>
                    <a:pt x="8523" y="4058"/>
                  </a:cubicBezTo>
                  <a:cubicBezTo>
                    <a:pt x="8976" y="4413"/>
                    <a:pt x="9090" y="4891"/>
                    <a:pt x="8844" y="5301"/>
                  </a:cubicBezTo>
                  <a:cubicBezTo>
                    <a:pt x="8693" y="5574"/>
                    <a:pt x="8390" y="5779"/>
                    <a:pt x="8050" y="5875"/>
                  </a:cubicBezTo>
                  <a:cubicBezTo>
                    <a:pt x="7918" y="5916"/>
                    <a:pt x="7786" y="5929"/>
                    <a:pt x="7635" y="5943"/>
                  </a:cubicBezTo>
                  <a:lnTo>
                    <a:pt x="0" y="5943"/>
                  </a:lnTo>
                  <a:lnTo>
                    <a:pt x="0" y="11449"/>
                  </a:lnTo>
                  <a:cubicBezTo>
                    <a:pt x="19" y="11654"/>
                    <a:pt x="208" y="11859"/>
                    <a:pt x="529" y="11941"/>
                  </a:cubicBezTo>
                  <a:cubicBezTo>
                    <a:pt x="907" y="12050"/>
                    <a:pt x="1323" y="11995"/>
                    <a:pt x="1644" y="11791"/>
                  </a:cubicBezTo>
                  <a:cubicBezTo>
                    <a:pt x="2362" y="11271"/>
                    <a:pt x="3345" y="10971"/>
                    <a:pt x="4365" y="10971"/>
                  </a:cubicBezTo>
                  <a:cubicBezTo>
                    <a:pt x="6387" y="10971"/>
                    <a:pt x="8050" y="12105"/>
                    <a:pt x="8201" y="13539"/>
                  </a:cubicBezTo>
                  <a:cubicBezTo>
                    <a:pt x="8201" y="13608"/>
                    <a:pt x="8220" y="13676"/>
                    <a:pt x="8220" y="13744"/>
                  </a:cubicBezTo>
                  <a:cubicBezTo>
                    <a:pt x="8220" y="13758"/>
                    <a:pt x="8220" y="13758"/>
                    <a:pt x="8220" y="13772"/>
                  </a:cubicBezTo>
                  <a:cubicBezTo>
                    <a:pt x="8220" y="13785"/>
                    <a:pt x="8220" y="13785"/>
                    <a:pt x="8220" y="13799"/>
                  </a:cubicBezTo>
                  <a:cubicBezTo>
                    <a:pt x="8220" y="14482"/>
                    <a:pt x="7880" y="15138"/>
                    <a:pt x="7238" y="15657"/>
                  </a:cubicBezTo>
                  <a:cubicBezTo>
                    <a:pt x="6501" y="16244"/>
                    <a:pt x="5461" y="16586"/>
                    <a:pt x="4365" y="16586"/>
                  </a:cubicBezTo>
                  <a:cubicBezTo>
                    <a:pt x="3326" y="16586"/>
                    <a:pt x="2362" y="16299"/>
                    <a:pt x="1625" y="15766"/>
                  </a:cubicBezTo>
                  <a:cubicBezTo>
                    <a:pt x="1323" y="15561"/>
                    <a:pt x="907" y="15507"/>
                    <a:pt x="529" y="15616"/>
                  </a:cubicBezTo>
                  <a:cubicBezTo>
                    <a:pt x="227" y="15712"/>
                    <a:pt x="19" y="15903"/>
                    <a:pt x="0" y="16121"/>
                  </a:cubicBezTo>
                  <a:lnTo>
                    <a:pt x="0" y="21600"/>
                  </a:lnTo>
                  <a:lnTo>
                    <a:pt x="21600" y="21600"/>
                  </a:lnTo>
                  <a:lnTo>
                    <a:pt x="21600" y="16121"/>
                  </a:lnTo>
                  <a:cubicBezTo>
                    <a:pt x="21581" y="15917"/>
                    <a:pt x="21392" y="15712"/>
                    <a:pt x="21071" y="15630"/>
                  </a:cubicBezTo>
                  <a:cubicBezTo>
                    <a:pt x="20693" y="15520"/>
                    <a:pt x="20277" y="15575"/>
                    <a:pt x="19956" y="15780"/>
                  </a:cubicBezTo>
                  <a:cubicBezTo>
                    <a:pt x="19238" y="16299"/>
                    <a:pt x="18255" y="16600"/>
                    <a:pt x="17235" y="16600"/>
                  </a:cubicBezTo>
                  <a:cubicBezTo>
                    <a:pt x="16139" y="16600"/>
                    <a:pt x="15080" y="16258"/>
                    <a:pt x="14362" y="15671"/>
                  </a:cubicBezTo>
                  <a:cubicBezTo>
                    <a:pt x="13720" y="15151"/>
                    <a:pt x="13380" y="14496"/>
                    <a:pt x="13380" y="13799"/>
                  </a:cubicBezTo>
                  <a:cubicBezTo>
                    <a:pt x="13380" y="13799"/>
                    <a:pt x="13380" y="13799"/>
                    <a:pt x="13380" y="13785"/>
                  </a:cubicBezTo>
                  <a:cubicBezTo>
                    <a:pt x="13380" y="13785"/>
                    <a:pt x="13380" y="13785"/>
                    <a:pt x="13380" y="13785"/>
                  </a:cubicBezTo>
                  <a:cubicBezTo>
                    <a:pt x="13380" y="13703"/>
                    <a:pt x="13380" y="13635"/>
                    <a:pt x="13398" y="13553"/>
                  </a:cubicBezTo>
                  <a:cubicBezTo>
                    <a:pt x="13569" y="12118"/>
                    <a:pt x="15213" y="10998"/>
                    <a:pt x="17235" y="10998"/>
                  </a:cubicBezTo>
                  <a:cubicBezTo>
                    <a:pt x="18274" y="10998"/>
                    <a:pt x="19238" y="11285"/>
                    <a:pt x="19975" y="11818"/>
                  </a:cubicBezTo>
                  <a:cubicBezTo>
                    <a:pt x="20277" y="12023"/>
                    <a:pt x="20693" y="12077"/>
                    <a:pt x="21071" y="11968"/>
                  </a:cubicBezTo>
                  <a:cubicBezTo>
                    <a:pt x="21373" y="11873"/>
                    <a:pt x="21581" y="11681"/>
                    <a:pt x="21600" y="11463"/>
                  </a:cubicBezTo>
                  <a:lnTo>
                    <a:pt x="21600" y="11203"/>
                  </a:lnTo>
                  <a:lnTo>
                    <a:pt x="21600" y="5970"/>
                  </a:lnTo>
                  <a:lnTo>
                    <a:pt x="13984" y="5970"/>
                  </a:lnTo>
                  <a:close/>
                </a:path>
              </a:pathLst>
            </a:custGeom>
            <a:solidFill>
              <a:schemeClr val="bg1">
                <a:lumMod val="65000"/>
              </a:schemeClr>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3000">
                <a:solidFill>
                  <a:srgbClr val="FFFFFF"/>
                </a:solidFill>
              </a:endParaRPr>
            </a:p>
          </p:txBody>
        </p:sp>
        <p:sp>
          <p:nvSpPr>
            <p:cNvPr id="10" name="Shape">
              <a:extLst>
                <a:ext uri="{FF2B5EF4-FFF2-40B4-BE49-F238E27FC236}">
                  <a16:creationId xmlns:a16="http://schemas.microsoft.com/office/drawing/2014/main" id="{71B34FC6-2750-071E-297A-3E5DE756297D}"/>
                </a:ext>
              </a:extLst>
            </p:cNvPr>
            <p:cNvSpPr/>
            <p:nvPr/>
          </p:nvSpPr>
          <p:spPr>
            <a:xfrm>
              <a:off x="5924440" y="6784445"/>
              <a:ext cx="2113265" cy="1659746"/>
            </a:xfrm>
            <a:custGeom>
              <a:avLst/>
              <a:gdLst/>
              <a:ahLst/>
              <a:cxnLst>
                <a:cxn ang="0">
                  <a:pos x="wd2" y="hd2"/>
                </a:cxn>
                <a:cxn ang="5400000">
                  <a:pos x="wd2" y="hd2"/>
                </a:cxn>
                <a:cxn ang="10800000">
                  <a:pos x="wd2" y="hd2"/>
                </a:cxn>
                <a:cxn ang="16200000">
                  <a:pos x="wd2" y="hd2"/>
                </a:cxn>
              </a:cxnLst>
              <a:rect l="0" t="0" r="r" b="b"/>
              <a:pathLst>
                <a:path w="21600" h="21600" extrusionOk="0">
                  <a:moveTo>
                    <a:pt x="12619" y="21600"/>
                  </a:moveTo>
                  <a:lnTo>
                    <a:pt x="16932" y="21600"/>
                  </a:lnTo>
                  <a:lnTo>
                    <a:pt x="16932" y="16094"/>
                  </a:lnTo>
                  <a:lnTo>
                    <a:pt x="16932" y="16094"/>
                  </a:lnTo>
                  <a:cubicBezTo>
                    <a:pt x="16943" y="15712"/>
                    <a:pt x="17136" y="15370"/>
                    <a:pt x="17426" y="15220"/>
                  </a:cubicBezTo>
                  <a:cubicBezTo>
                    <a:pt x="17716" y="15069"/>
                    <a:pt x="18038" y="15110"/>
                    <a:pt x="18295" y="15343"/>
                  </a:cubicBezTo>
                  <a:cubicBezTo>
                    <a:pt x="18295" y="15343"/>
                    <a:pt x="18295" y="15343"/>
                    <a:pt x="18295" y="15343"/>
                  </a:cubicBezTo>
                  <a:cubicBezTo>
                    <a:pt x="18327" y="15370"/>
                    <a:pt x="18370" y="15411"/>
                    <a:pt x="18402" y="15452"/>
                  </a:cubicBezTo>
                  <a:cubicBezTo>
                    <a:pt x="18714" y="15862"/>
                    <a:pt x="19121" y="16094"/>
                    <a:pt x="19551" y="16149"/>
                  </a:cubicBezTo>
                  <a:cubicBezTo>
                    <a:pt x="19615" y="16162"/>
                    <a:pt x="19679" y="16162"/>
                    <a:pt x="19733" y="16162"/>
                  </a:cubicBezTo>
                  <a:cubicBezTo>
                    <a:pt x="19862" y="16162"/>
                    <a:pt x="19990" y="16149"/>
                    <a:pt x="20109" y="16108"/>
                  </a:cubicBezTo>
                  <a:cubicBezTo>
                    <a:pt x="20956" y="15889"/>
                    <a:pt x="21600" y="14919"/>
                    <a:pt x="21600" y="13772"/>
                  </a:cubicBezTo>
                  <a:cubicBezTo>
                    <a:pt x="21600" y="13034"/>
                    <a:pt x="21332" y="12378"/>
                    <a:pt x="20924" y="11941"/>
                  </a:cubicBezTo>
                  <a:cubicBezTo>
                    <a:pt x="20881" y="11886"/>
                    <a:pt x="20827" y="11845"/>
                    <a:pt x="20784" y="11804"/>
                  </a:cubicBezTo>
                  <a:cubicBezTo>
                    <a:pt x="20634" y="11681"/>
                    <a:pt x="20473" y="11572"/>
                    <a:pt x="20291" y="11504"/>
                  </a:cubicBezTo>
                  <a:cubicBezTo>
                    <a:pt x="20108" y="11435"/>
                    <a:pt x="19926" y="11394"/>
                    <a:pt x="19733" y="11394"/>
                  </a:cubicBezTo>
                  <a:cubicBezTo>
                    <a:pt x="19229" y="11394"/>
                    <a:pt x="18756" y="11640"/>
                    <a:pt x="18402" y="12105"/>
                  </a:cubicBezTo>
                  <a:cubicBezTo>
                    <a:pt x="18123" y="12433"/>
                    <a:pt x="17748" y="12515"/>
                    <a:pt x="17426" y="12337"/>
                  </a:cubicBezTo>
                  <a:cubicBezTo>
                    <a:pt x="17136" y="12187"/>
                    <a:pt x="16943" y="11845"/>
                    <a:pt x="16932" y="11463"/>
                  </a:cubicBezTo>
                  <a:lnTo>
                    <a:pt x="16932" y="5943"/>
                  </a:lnTo>
                  <a:lnTo>
                    <a:pt x="12608" y="5943"/>
                  </a:lnTo>
                  <a:lnTo>
                    <a:pt x="12608" y="5943"/>
                  </a:lnTo>
                  <a:cubicBezTo>
                    <a:pt x="12308" y="5929"/>
                    <a:pt x="12039" y="5684"/>
                    <a:pt x="11921" y="5315"/>
                  </a:cubicBezTo>
                  <a:cubicBezTo>
                    <a:pt x="11846" y="5069"/>
                    <a:pt x="11835" y="4809"/>
                    <a:pt x="11889" y="4563"/>
                  </a:cubicBezTo>
                  <a:cubicBezTo>
                    <a:pt x="11932" y="4386"/>
                    <a:pt x="11996" y="4222"/>
                    <a:pt x="12104" y="4071"/>
                  </a:cubicBezTo>
                  <a:cubicBezTo>
                    <a:pt x="12329" y="3784"/>
                    <a:pt x="12490" y="3443"/>
                    <a:pt x="12587" y="3074"/>
                  </a:cubicBezTo>
                  <a:cubicBezTo>
                    <a:pt x="12640" y="2855"/>
                    <a:pt x="12672" y="2623"/>
                    <a:pt x="12672" y="2377"/>
                  </a:cubicBezTo>
                  <a:cubicBezTo>
                    <a:pt x="12672" y="2295"/>
                    <a:pt x="12672" y="2213"/>
                    <a:pt x="12662" y="2131"/>
                  </a:cubicBezTo>
                  <a:cubicBezTo>
                    <a:pt x="12565" y="929"/>
                    <a:pt x="11771" y="0"/>
                    <a:pt x="10805" y="0"/>
                  </a:cubicBezTo>
                  <a:cubicBezTo>
                    <a:pt x="10097" y="0"/>
                    <a:pt x="9475" y="505"/>
                    <a:pt x="9164" y="1243"/>
                  </a:cubicBezTo>
                  <a:cubicBezTo>
                    <a:pt x="9164" y="1243"/>
                    <a:pt x="9164" y="1243"/>
                    <a:pt x="9164" y="1257"/>
                  </a:cubicBezTo>
                  <a:cubicBezTo>
                    <a:pt x="9110" y="1394"/>
                    <a:pt x="9056" y="1530"/>
                    <a:pt x="9024" y="1680"/>
                  </a:cubicBezTo>
                  <a:cubicBezTo>
                    <a:pt x="8970" y="1899"/>
                    <a:pt x="8938" y="2145"/>
                    <a:pt x="8938" y="2391"/>
                  </a:cubicBezTo>
                  <a:cubicBezTo>
                    <a:pt x="8938" y="2787"/>
                    <a:pt x="9013" y="3170"/>
                    <a:pt x="9164" y="3511"/>
                  </a:cubicBezTo>
                  <a:cubicBezTo>
                    <a:pt x="9249" y="3716"/>
                    <a:pt x="9357" y="3907"/>
                    <a:pt x="9496" y="4071"/>
                  </a:cubicBezTo>
                  <a:cubicBezTo>
                    <a:pt x="9722" y="4399"/>
                    <a:pt x="9797" y="4809"/>
                    <a:pt x="9711" y="5205"/>
                  </a:cubicBezTo>
                  <a:cubicBezTo>
                    <a:pt x="9700" y="5246"/>
                    <a:pt x="9689" y="5287"/>
                    <a:pt x="9679" y="5328"/>
                  </a:cubicBezTo>
                  <a:cubicBezTo>
                    <a:pt x="9571" y="5656"/>
                    <a:pt x="9357" y="5875"/>
                    <a:pt x="9110" y="5943"/>
                  </a:cubicBezTo>
                  <a:cubicBezTo>
                    <a:pt x="9078" y="5957"/>
                    <a:pt x="9035" y="5957"/>
                    <a:pt x="9003" y="5957"/>
                  </a:cubicBezTo>
                  <a:lnTo>
                    <a:pt x="4668" y="5957"/>
                  </a:lnTo>
                  <a:lnTo>
                    <a:pt x="4668" y="11463"/>
                  </a:lnTo>
                  <a:cubicBezTo>
                    <a:pt x="4657" y="11845"/>
                    <a:pt x="4464" y="12187"/>
                    <a:pt x="4174" y="12337"/>
                  </a:cubicBezTo>
                  <a:cubicBezTo>
                    <a:pt x="3852" y="12515"/>
                    <a:pt x="3477" y="12419"/>
                    <a:pt x="3198" y="12105"/>
                  </a:cubicBezTo>
                  <a:cubicBezTo>
                    <a:pt x="2833" y="11640"/>
                    <a:pt x="2371" y="11394"/>
                    <a:pt x="1867" y="11394"/>
                  </a:cubicBezTo>
                  <a:cubicBezTo>
                    <a:pt x="837" y="11394"/>
                    <a:pt x="0" y="12460"/>
                    <a:pt x="0" y="13772"/>
                  </a:cubicBezTo>
                  <a:cubicBezTo>
                    <a:pt x="0" y="15083"/>
                    <a:pt x="837" y="16149"/>
                    <a:pt x="1867" y="16149"/>
                  </a:cubicBezTo>
                  <a:cubicBezTo>
                    <a:pt x="2371" y="16149"/>
                    <a:pt x="2844" y="15903"/>
                    <a:pt x="3198" y="15438"/>
                  </a:cubicBezTo>
                  <a:cubicBezTo>
                    <a:pt x="3477" y="15110"/>
                    <a:pt x="3852" y="15028"/>
                    <a:pt x="4174" y="15206"/>
                  </a:cubicBezTo>
                  <a:cubicBezTo>
                    <a:pt x="4464" y="15356"/>
                    <a:pt x="4657" y="15698"/>
                    <a:pt x="4668" y="16080"/>
                  </a:cubicBezTo>
                  <a:lnTo>
                    <a:pt x="4668" y="21600"/>
                  </a:lnTo>
                  <a:lnTo>
                    <a:pt x="8992" y="21600"/>
                  </a:lnTo>
                  <a:cubicBezTo>
                    <a:pt x="9078" y="21600"/>
                    <a:pt x="9153" y="21559"/>
                    <a:pt x="9217" y="21491"/>
                  </a:cubicBezTo>
                  <a:cubicBezTo>
                    <a:pt x="9271" y="21436"/>
                    <a:pt x="9325" y="21368"/>
                    <a:pt x="9357" y="21272"/>
                  </a:cubicBezTo>
                  <a:cubicBezTo>
                    <a:pt x="9368" y="21258"/>
                    <a:pt x="9368" y="21231"/>
                    <a:pt x="9378" y="21217"/>
                  </a:cubicBezTo>
                  <a:cubicBezTo>
                    <a:pt x="9389" y="21204"/>
                    <a:pt x="9389" y="21176"/>
                    <a:pt x="9389" y="21163"/>
                  </a:cubicBezTo>
                  <a:cubicBezTo>
                    <a:pt x="9453" y="20903"/>
                    <a:pt x="9410" y="20630"/>
                    <a:pt x="9260" y="20411"/>
                  </a:cubicBezTo>
                  <a:cubicBezTo>
                    <a:pt x="8895" y="19961"/>
                    <a:pt x="8681" y="19359"/>
                    <a:pt x="8627" y="18717"/>
                  </a:cubicBezTo>
                  <a:cubicBezTo>
                    <a:pt x="8616" y="18622"/>
                    <a:pt x="8616" y="18526"/>
                    <a:pt x="8616" y="18444"/>
                  </a:cubicBezTo>
                  <a:cubicBezTo>
                    <a:pt x="8616" y="18294"/>
                    <a:pt x="8627" y="18157"/>
                    <a:pt x="8649" y="18021"/>
                  </a:cubicBezTo>
                  <a:cubicBezTo>
                    <a:pt x="8649" y="17993"/>
                    <a:pt x="8649" y="17980"/>
                    <a:pt x="8659" y="17952"/>
                  </a:cubicBezTo>
                  <a:cubicBezTo>
                    <a:pt x="8659" y="17925"/>
                    <a:pt x="8659" y="17911"/>
                    <a:pt x="8670" y="17911"/>
                  </a:cubicBezTo>
                  <a:cubicBezTo>
                    <a:pt x="8670" y="17911"/>
                    <a:pt x="8670" y="17911"/>
                    <a:pt x="8670" y="17911"/>
                  </a:cubicBezTo>
                  <a:cubicBezTo>
                    <a:pt x="8681" y="17857"/>
                    <a:pt x="8692" y="17802"/>
                    <a:pt x="8702" y="17734"/>
                  </a:cubicBezTo>
                  <a:cubicBezTo>
                    <a:pt x="8713" y="17706"/>
                    <a:pt x="8713" y="17665"/>
                    <a:pt x="8724" y="17638"/>
                  </a:cubicBezTo>
                  <a:cubicBezTo>
                    <a:pt x="8734" y="17597"/>
                    <a:pt x="8745" y="17542"/>
                    <a:pt x="8767" y="17501"/>
                  </a:cubicBezTo>
                  <a:cubicBezTo>
                    <a:pt x="8777" y="17460"/>
                    <a:pt x="8788" y="17419"/>
                    <a:pt x="8799" y="17378"/>
                  </a:cubicBezTo>
                  <a:cubicBezTo>
                    <a:pt x="8810" y="17337"/>
                    <a:pt x="8831" y="17310"/>
                    <a:pt x="8842" y="17269"/>
                  </a:cubicBezTo>
                  <a:cubicBezTo>
                    <a:pt x="8863" y="17228"/>
                    <a:pt x="8874" y="17187"/>
                    <a:pt x="8895" y="17132"/>
                  </a:cubicBezTo>
                  <a:cubicBezTo>
                    <a:pt x="8906" y="17105"/>
                    <a:pt x="8928" y="17064"/>
                    <a:pt x="8938" y="17037"/>
                  </a:cubicBezTo>
                  <a:cubicBezTo>
                    <a:pt x="8960" y="16996"/>
                    <a:pt x="8981" y="16955"/>
                    <a:pt x="9003" y="16914"/>
                  </a:cubicBezTo>
                  <a:cubicBezTo>
                    <a:pt x="9024" y="16887"/>
                    <a:pt x="9035" y="16846"/>
                    <a:pt x="9056" y="16818"/>
                  </a:cubicBezTo>
                  <a:cubicBezTo>
                    <a:pt x="9078" y="16777"/>
                    <a:pt x="9099" y="16736"/>
                    <a:pt x="9121" y="16709"/>
                  </a:cubicBezTo>
                  <a:cubicBezTo>
                    <a:pt x="9142" y="16668"/>
                    <a:pt x="9164" y="16641"/>
                    <a:pt x="9196" y="16600"/>
                  </a:cubicBezTo>
                  <a:cubicBezTo>
                    <a:pt x="9217" y="16572"/>
                    <a:pt x="9239" y="16545"/>
                    <a:pt x="9260" y="16504"/>
                  </a:cubicBezTo>
                  <a:cubicBezTo>
                    <a:pt x="9292" y="16463"/>
                    <a:pt x="9325" y="16422"/>
                    <a:pt x="9357" y="16395"/>
                  </a:cubicBezTo>
                  <a:cubicBezTo>
                    <a:pt x="9378" y="16367"/>
                    <a:pt x="9389" y="16354"/>
                    <a:pt x="9410" y="16326"/>
                  </a:cubicBezTo>
                  <a:cubicBezTo>
                    <a:pt x="9453" y="16285"/>
                    <a:pt x="9486" y="16244"/>
                    <a:pt x="9529" y="16203"/>
                  </a:cubicBezTo>
                  <a:cubicBezTo>
                    <a:pt x="9539" y="16190"/>
                    <a:pt x="9550" y="16176"/>
                    <a:pt x="9561" y="16176"/>
                  </a:cubicBezTo>
                  <a:cubicBezTo>
                    <a:pt x="9561" y="16176"/>
                    <a:pt x="9571" y="16162"/>
                    <a:pt x="9571" y="16162"/>
                  </a:cubicBezTo>
                  <a:cubicBezTo>
                    <a:pt x="9604" y="16135"/>
                    <a:pt x="9625" y="16108"/>
                    <a:pt x="9657" y="16094"/>
                  </a:cubicBezTo>
                  <a:cubicBezTo>
                    <a:pt x="9668" y="16094"/>
                    <a:pt x="9668" y="16080"/>
                    <a:pt x="9679" y="16080"/>
                  </a:cubicBezTo>
                  <a:lnTo>
                    <a:pt x="9700" y="16067"/>
                  </a:lnTo>
                  <a:cubicBezTo>
                    <a:pt x="9711" y="16067"/>
                    <a:pt x="9711" y="16053"/>
                    <a:pt x="9722" y="16053"/>
                  </a:cubicBezTo>
                  <a:cubicBezTo>
                    <a:pt x="9754" y="16026"/>
                    <a:pt x="9786" y="16012"/>
                    <a:pt x="9818" y="15985"/>
                  </a:cubicBezTo>
                  <a:cubicBezTo>
                    <a:pt x="9818" y="15985"/>
                    <a:pt x="9829" y="15985"/>
                    <a:pt x="9829" y="15971"/>
                  </a:cubicBezTo>
                  <a:lnTo>
                    <a:pt x="9850" y="15957"/>
                  </a:lnTo>
                  <a:cubicBezTo>
                    <a:pt x="9861" y="15944"/>
                    <a:pt x="9883" y="15944"/>
                    <a:pt x="9893" y="15930"/>
                  </a:cubicBezTo>
                  <a:cubicBezTo>
                    <a:pt x="9947" y="15889"/>
                    <a:pt x="10011" y="15862"/>
                    <a:pt x="10065" y="15835"/>
                  </a:cubicBezTo>
                  <a:cubicBezTo>
                    <a:pt x="10076" y="15835"/>
                    <a:pt x="10086" y="15821"/>
                    <a:pt x="10097" y="15821"/>
                  </a:cubicBezTo>
                  <a:lnTo>
                    <a:pt x="10119" y="15807"/>
                  </a:lnTo>
                  <a:cubicBezTo>
                    <a:pt x="10129" y="15807"/>
                    <a:pt x="10140" y="15793"/>
                    <a:pt x="10162" y="15793"/>
                  </a:cubicBezTo>
                  <a:cubicBezTo>
                    <a:pt x="10162" y="15793"/>
                    <a:pt x="10162" y="15793"/>
                    <a:pt x="10172" y="15793"/>
                  </a:cubicBezTo>
                  <a:cubicBezTo>
                    <a:pt x="10194" y="15780"/>
                    <a:pt x="10215" y="15780"/>
                    <a:pt x="10237" y="15766"/>
                  </a:cubicBezTo>
                  <a:cubicBezTo>
                    <a:pt x="10237" y="15766"/>
                    <a:pt x="10237" y="15766"/>
                    <a:pt x="10237" y="15766"/>
                  </a:cubicBezTo>
                  <a:lnTo>
                    <a:pt x="10258" y="15766"/>
                  </a:lnTo>
                  <a:cubicBezTo>
                    <a:pt x="10290" y="15752"/>
                    <a:pt x="10323" y="15739"/>
                    <a:pt x="10365" y="15739"/>
                  </a:cubicBezTo>
                  <a:cubicBezTo>
                    <a:pt x="10365" y="15739"/>
                    <a:pt x="10365" y="15739"/>
                    <a:pt x="10376" y="15739"/>
                  </a:cubicBezTo>
                  <a:cubicBezTo>
                    <a:pt x="10398" y="15739"/>
                    <a:pt x="10419" y="15725"/>
                    <a:pt x="10451" y="15725"/>
                  </a:cubicBezTo>
                  <a:cubicBezTo>
                    <a:pt x="10451" y="15725"/>
                    <a:pt x="10451" y="15725"/>
                    <a:pt x="10451" y="15725"/>
                  </a:cubicBezTo>
                  <a:cubicBezTo>
                    <a:pt x="10494" y="15711"/>
                    <a:pt x="10537" y="15711"/>
                    <a:pt x="10580" y="15698"/>
                  </a:cubicBezTo>
                  <a:lnTo>
                    <a:pt x="10591" y="15698"/>
                  </a:lnTo>
                  <a:cubicBezTo>
                    <a:pt x="10612" y="15698"/>
                    <a:pt x="10634" y="15698"/>
                    <a:pt x="10644" y="15684"/>
                  </a:cubicBezTo>
                  <a:cubicBezTo>
                    <a:pt x="10644" y="15684"/>
                    <a:pt x="10644" y="15684"/>
                    <a:pt x="10644" y="15684"/>
                  </a:cubicBezTo>
                  <a:cubicBezTo>
                    <a:pt x="10720" y="15671"/>
                    <a:pt x="10784" y="15671"/>
                    <a:pt x="10848" y="15671"/>
                  </a:cubicBezTo>
                  <a:cubicBezTo>
                    <a:pt x="10848" y="15671"/>
                    <a:pt x="10848" y="15671"/>
                    <a:pt x="10848" y="15671"/>
                  </a:cubicBezTo>
                  <a:cubicBezTo>
                    <a:pt x="10848" y="15671"/>
                    <a:pt x="10848" y="15671"/>
                    <a:pt x="10848" y="15671"/>
                  </a:cubicBezTo>
                  <a:cubicBezTo>
                    <a:pt x="10848" y="15671"/>
                    <a:pt x="10848" y="15671"/>
                    <a:pt x="10848" y="15671"/>
                  </a:cubicBezTo>
                  <a:cubicBezTo>
                    <a:pt x="12061" y="15671"/>
                    <a:pt x="13037" y="16927"/>
                    <a:pt x="13037" y="18458"/>
                  </a:cubicBezTo>
                  <a:cubicBezTo>
                    <a:pt x="13037" y="19209"/>
                    <a:pt x="12812" y="19906"/>
                    <a:pt x="12393" y="20439"/>
                  </a:cubicBezTo>
                  <a:cubicBezTo>
                    <a:pt x="12329" y="20521"/>
                    <a:pt x="12286" y="20616"/>
                    <a:pt x="12265" y="20712"/>
                  </a:cubicBezTo>
                  <a:cubicBezTo>
                    <a:pt x="12243" y="20780"/>
                    <a:pt x="12233" y="20848"/>
                    <a:pt x="12233" y="20917"/>
                  </a:cubicBezTo>
                  <a:cubicBezTo>
                    <a:pt x="12233" y="21026"/>
                    <a:pt x="12243" y="21122"/>
                    <a:pt x="12275" y="21231"/>
                  </a:cubicBezTo>
                  <a:cubicBezTo>
                    <a:pt x="12297" y="21450"/>
                    <a:pt x="12447" y="21586"/>
                    <a:pt x="12619" y="21600"/>
                  </a:cubicBezTo>
                  <a:close/>
                </a:path>
              </a:pathLst>
            </a:custGeom>
            <a:solidFill>
              <a:schemeClr val="accent5"/>
            </a:solidFill>
            <a:ln w="12700">
              <a:miter lim="400000"/>
            </a:ln>
            <a:effectLst>
              <a:innerShdw blurRad="63500" dist="50800" dir="2700000">
                <a:prstClr val="black">
                  <a:alpha val="50000"/>
                </a:prstClr>
              </a:innerShdw>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3000">
                <a:solidFill>
                  <a:srgbClr val="FFFFFF"/>
                </a:solidFill>
              </a:endParaRPr>
            </a:p>
          </p:txBody>
        </p:sp>
        <p:sp>
          <p:nvSpPr>
            <p:cNvPr id="11" name="Shape">
              <a:extLst>
                <a:ext uri="{FF2B5EF4-FFF2-40B4-BE49-F238E27FC236}">
                  <a16:creationId xmlns:a16="http://schemas.microsoft.com/office/drawing/2014/main" id="{BEE412B2-4C93-FC71-8E2F-E7F32832D7A7}"/>
                </a:ext>
              </a:extLst>
            </p:cNvPr>
            <p:cNvSpPr/>
            <p:nvPr/>
          </p:nvSpPr>
          <p:spPr>
            <a:xfrm>
              <a:off x="5147583" y="8474633"/>
              <a:ext cx="1658696" cy="1202029"/>
            </a:xfrm>
            <a:custGeom>
              <a:avLst/>
              <a:gdLst/>
              <a:ahLst/>
              <a:cxnLst>
                <a:cxn ang="0">
                  <a:pos x="wd2" y="hd2"/>
                </a:cxn>
                <a:cxn ang="5400000">
                  <a:pos x="wd2" y="hd2"/>
                </a:cxn>
                <a:cxn ang="10800000">
                  <a:pos x="wd2" y="hd2"/>
                </a:cxn>
                <a:cxn ang="16200000">
                  <a:pos x="wd2" y="hd2"/>
                </a:cxn>
              </a:cxnLst>
              <a:rect l="0" t="0" r="r" b="b"/>
              <a:pathLst>
                <a:path w="21600" h="21600" extrusionOk="0">
                  <a:moveTo>
                    <a:pt x="19440" y="7565"/>
                  </a:moveTo>
                  <a:cubicBezTo>
                    <a:pt x="18715" y="7470"/>
                    <a:pt x="18018" y="7810"/>
                    <a:pt x="17512" y="8527"/>
                  </a:cubicBezTo>
                  <a:cubicBezTo>
                    <a:pt x="17157" y="8980"/>
                    <a:pt x="16678" y="9093"/>
                    <a:pt x="16268" y="8847"/>
                  </a:cubicBezTo>
                  <a:cubicBezTo>
                    <a:pt x="15899" y="8640"/>
                    <a:pt x="15653" y="8168"/>
                    <a:pt x="15639" y="7640"/>
                  </a:cubicBezTo>
                  <a:lnTo>
                    <a:pt x="15639" y="19"/>
                  </a:lnTo>
                  <a:lnTo>
                    <a:pt x="10130" y="19"/>
                  </a:lnTo>
                  <a:cubicBezTo>
                    <a:pt x="9925" y="38"/>
                    <a:pt x="9720" y="226"/>
                    <a:pt x="9638" y="547"/>
                  </a:cubicBezTo>
                  <a:cubicBezTo>
                    <a:pt x="9597" y="679"/>
                    <a:pt x="9583" y="830"/>
                    <a:pt x="9583" y="962"/>
                  </a:cubicBezTo>
                  <a:cubicBezTo>
                    <a:pt x="9597" y="1207"/>
                    <a:pt x="9665" y="1434"/>
                    <a:pt x="9788" y="1622"/>
                  </a:cubicBezTo>
                  <a:cubicBezTo>
                    <a:pt x="10308" y="2339"/>
                    <a:pt x="10609" y="3320"/>
                    <a:pt x="10609" y="4339"/>
                  </a:cubicBezTo>
                  <a:cubicBezTo>
                    <a:pt x="10609" y="4339"/>
                    <a:pt x="10609" y="4339"/>
                    <a:pt x="10609" y="4339"/>
                  </a:cubicBezTo>
                  <a:cubicBezTo>
                    <a:pt x="10609" y="4339"/>
                    <a:pt x="10609" y="4358"/>
                    <a:pt x="10609" y="4358"/>
                  </a:cubicBezTo>
                  <a:cubicBezTo>
                    <a:pt x="10609" y="5452"/>
                    <a:pt x="10267" y="6508"/>
                    <a:pt x="9679" y="7225"/>
                  </a:cubicBezTo>
                  <a:cubicBezTo>
                    <a:pt x="9091" y="7961"/>
                    <a:pt x="8285" y="8300"/>
                    <a:pt x="7492" y="8187"/>
                  </a:cubicBezTo>
                  <a:cubicBezTo>
                    <a:pt x="6193" y="7980"/>
                    <a:pt x="5168" y="6546"/>
                    <a:pt x="5031" y="4735"/>
                  </a:cubicBezTo>
                  <a:cubicBezTo>
                    <a:pt x="5017" y="4603"/>
                    <a:pt x="5017" y="4490"/>
                    <a:pt x="5017" y="4358"/>
                  </a:cubicBezTo>
                  <a:cubicBezTo>
                    <a:pt x="5017" y="4339"/>
                    <a:pt x="5017" y="4339"/>
                    <a:pt x="5017" y="4320"/>
                  </a:cubicBezTo>
                  <a:cubicBezTo>
                    <a:pt x="5017" y="4320"/>
                    <a:pt x="5017" y="4301"/>
                    <a:pt x="5017" y="4301"/>
                  </a:cubicBezTo>
                  <a:cubicBezTo>
                    <a:pt x="5017" y="4226"/>
                    <a:pt x="5017" y="4131"/>
                    <a:pt x="5031" y="4056"/>
                  </a:cubicBezTo>
                  <a:cubicBezTo>
                    <a:pt x="5072" y="3132"/>
                    <a:pt x="5359" y="2264"/>
                    <a:pt x="5851" y="1603"/>
                  </a:cubicBezTo>
                  <a:cubicBezTo>
                    <a:pt x="5974" y="1415"/>
                    <a:pt x="6042" y="1188"/>
                    <a:pt x="6056" y="943"/>
                  </a:cubicBezTo>
                  <a:cubicBezTo>
                    <a:pt x="6056" y="811"/>
                    <a:pt x="6042" y="660"/>
                    <a:pt x="6002" y="528"/>
                  </a:cubicBezTo>
                  <a:cubicBezTo>
                    <a:pt x="5906" y="226"/>
                    <a:pt x="5714" y="19"/>
                    <a:pt x="5496" y="0"/>
                  </a:cubicBezTo>
                  <a:lnTo>
                    <a:pt x="0" y="0"/>
                  </a:lnTo>
                  <a:lnTo>
                    <a:pt x="0" y="14111"/>
                  </a:lnTo>
                  <a:cubicBezTo>
                    <a:pt x="0" y="18242"/>
                    <a:pt x="2433" y="21600"/>
                    <a:pt x="5427" y="21600"/>
                  </a:cubicBezTo>
                  <a:lnTo>
                    <a:pt x="15653" y="21600"/>
                  </a:lnTo>
                  <a:lnTo>
                    <a:pt x="15653" y="13998"/>
                  </a:lnTo>
                  <a:cubicBezTo>
                    <a:pt x="15653" y="13998"/>
                    <a:pt x="15653" y="13998"/>
                    <a:pt x="15653" y="13998"/>
                  </a:cubicBezTo>
                  <a:lnTo>
                    <a:pt x="15653" y="13979"/>
                  </a:lnTo>
                  <a:cubicBezTo>
                    <a:pt x="15667" y="13450"/>
                    <a:pt x="15913" y="12979"/>
                    <a:pt x="16282" y="12771"/>
                  </a:cubicBezTo>
                  <a:cubicBezTo>
                    <a:pt x="16692" y="12526"/>
                    <a:pt x="17171" y="12658"/>
                    <a:pt x="17526" y="13092"/>
                  </a:cubicBezTo>
                  <a:cubicBezTo>
                    <a:pt x="17991" y="13733"/>
                    <a:pt x="18579" y="14073"/>
                    <a:pt x="19221" y="14073"/>
                  </a:cubicBezTo>
                  <a:cubicBezTo>
                    <a:pt x="20534" y="14073"/>
                    <a:pt x="21600" y="12602"/>
                    <a:pt x="21600" y="10791"/>
                  </a:cubicBezTo>
                  <a:cubicBezTo>
                    <a:pt x="21600" y="10791"/>
                    <a:pt x="21600" y="10772"/>
                    <a:pt x="21600" y="10772"/>
                  </a:cubicBezTo>
                  <a:cubicBezTo>
                    <a:pt x="21600" y="10658"/>
                    <a:pt x="21600" y="10545"/>
                    <a:pt x="21586" y="10432"/>
                  </a:cubicBezTo>
                  <a:cubicBezTo>
                    <a:pt x="21450" y="8923"/>
                    <a:pt x="20547" y="7716"/>
                    <a:pt x="19440" y="7565"/>
                  </a:cubicBezTo>
                  <a:close/>
                </a:path>
              </a:pathLst>
            </a:custGeom>
            <a:solidFill>
              <a:schemeClr val="bg1">
                <a:lumMod val="65000"/>
              </a:schemeClr>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3000">
                <a:solidFill>
                  <a:srgbClr val="FFFFFF"/>
                </a:solidFill>
              </a:endParaRPr>
            </a:p>
          </p:txBody>
        </p:sp>
        <p:sp>
          <p:nvSpPr>
            <p:cNvPr id="12" name="Shape">
              <a:extLst>
                <a:ext uri="{FF2B5EF4-FFF2-40B4-BE49-F238E27FC236}">
                  <a16:creationId xmlns:a16="http://schemas.microsoft.com/office/drawing/2014/main" id="{D72FB7F0-517F-CFD8-DA3C-F101354AB92B}"/>
                </a:ext>
              </a:extLst>
            </p:cNvPr>
            <p:cNvSpPr/>
            <p:nvPr/>
          </p:nvSpPr>
          <p:spPr>
            <a:xfrm>
              <a:off x="7152714" y="8474633"/>
              <a:ext cx="1658696" cy="1202029"/>
            </a:xfrm>
            <a:custGeom>
              <a:avLst/>
              <a:gdLst/>
              <a:ahLst/>
              <a:cxnLst>
                <a:cxn ang="0">
                  <a:pos x="wd2" y="hd2"/>
                </a:cxn>
                <a:cxn ang="5400000">
                  <a:pos x="wd2" y="hd2"/>
                </a:cxn>
                <a:cxn ang="10800000">
                  <a:pos x="wd2" y="hd2"/>
                </a:cxn>
                <a:cxn ang="16200000">
                  <a:pos x="wd2" y="hd2"/>
                </a:cxn>
              </a:cxnLst>
              <a:rect l="0" t="0" r="r" b="b"/>
              <a:pathLst>
                <a:path w="21600" h="21600" extrusionOk="0">
                  <a:moveTo>
                    <a:pt x="11456" y="19"/>
                  </a:moveTo>
                  <a:lnTo>
                    <a:pt x="5961" y="19"/>
                  </a:lnTo>
                  <a:lnTo>
                    <a:pt x="5961" y="7584"/>
                  </a:lnTo>
                  <a:lnTo>
                    <a:pt x="5961" y="7603"/>
                  </a:lnTo>
                  <a:cubicBezTo>
                    <a:pt x="5947" y="8131"/>
                    <a:pt x="5701" y="8602"/>
                    <a:pt x="5332" y="8810"/>
                  </a:cubicBezTo>
                  <a:cubicBezTo>
                    <a:pt x="4922" y="9055"/>
                    <a:pt x="4443" y="8923"/>
                    <a:pt x="4088" y="8489"/>
                  </a:cubicBezTo>
                  <a:cubicBezTo>
                    <a:pt x="3568" y="7772"/>
                    <a:pt x="2871" y="7433"/>
                    <a:pt x="2146" y="7527"/>
                  </a:cubicBezTo>
                  <a:cubicBezTo>
                    <a:pt x="1039" y="7678"/>
                    <a:pt x="137" y="8885"/>
                    <a:pt x="14" y="10413"/>
                  </a:cubicBezTo>
                  <a:cubicBezTo>
                    <a:pt x="0" y="10508"/>
                    <a:pt x="0" y="10602"/>
                    <a:pt x="0" y="10696"/>
                  </a:cubicBezTo>
                  <a:cubicBezTo>
                    <a:pt x="0" y="10715"/>
                    <a:pt x="0" y="10734"/>
                    <a:pt x="0" y="10772"/>
                  </a:cubicBezTo>
                  <a:cubicBezTo>
                    <a:pt x="0" y="12583"/>
                    <a:pt x="1066" y="14054"/>
                    <a:pt x="2379" y="14054"/>
                  </a:cubicBezTo>
                  <a:cubicBezTo>
                    <a:pt x="3021" y="14054"/>
                    <a:pt x="3623" y="13715"/>
                    <a:pt x="4074" y="13073"/>
                  </a:cubicBezTo>
                  <a:cubicBezTo>
                    <a:pt x="4429" y="12620"/>
                    <a:pt x="4908" y="12507"/>
                    <a:pt x="5318" y="12753"/>
                  </a:cubicBezTo>
                  <a:cubicBezTo>
                    <a:pt x="5687" y="12960"/>
                    <a:pt x="5933" y="13432"/>
                    <a:pt x="5947" y="13960"/>
                  </a:cubicBezTo>
                  <a:lnTo>
                    <a:pt x="5947" y="14356"/>
                  </a:lnTo>
                  <a:lnTo>
                    <a:pt x="5947" y="21600"/>
                  </a:lnTo>
                  <a:lnTo>
                    <a:pt x="16173" y="21600"/>
                  </a:lnTo>
                  <a:cubicBezTo>
                    <a:pt x="19167" y="21600"/>
                    <a:pt x="21600" y="18242"/>
                    <a:pt x="21600" y="14111"/>
                  </a:cubicBezTo>
                  <a:lnTo>
                    <a:pt x="21600" y="0"/>
                  </a:lnTo>
                  <a:lnTo>
                    <a:pt x="16091" y="0"/>
                  </a:lnTo>
                  <a:cubicBezTo>
                    <a:pt x="15886" y="19"/>
                    <a:pt x="15680" y="208"/>
                    <a:pt x="15598" y="528"/>
                  </a:cubicBezTo>
                  <a:cubicBezTo>
                    <a:pt x="15557" y="660"/>
                    <a:pt x="15544" y="792"/>
                    <a:pt x="15544" y="943"/>
                  </a:cubicBezTo>
                  <a:cubicBezTo>
                    <a:pt x="15557" y="1188"/>
                    <a:pt x="15626" y="1415"/>
                    <a:pt x="15749" y="1622"/>
                  </a:cubicBezTo>
                  <a:cubicBezTo>
                    <a:pt x="16227" y="2283"/>
                    <a:pt x="16514" y="3132"/>
                    <a:pt x="16555" y="4056"/>
                  </a:cubicBezTo>
                  <a:cubicBezTo>
                    <a:pt x="16555" y="4150"/>
                    <a:pt x="16569" y="4226"/>
                    <a:pt x="16569" y="4320"/>
                  </a:cubicBezTo>
                  <a:cubicBezTo>
                    <a:pt x="16569" y="4320"/>
                    <a:pt x="16569" y="4339"/>
                    <a:pt x="16569" y="4339"/>
                  </a:cubicBezTo>
                  <a:cubicBezTo>
                    <a:pt x="16569" y="4339"/>
                    <a:pt x="16569" y="4358"/>
                    <a:pt x="16569" y="4358"/>
                  </a:cubicBezTo>
                  <a:cubicBezTo>
                    <a:pt x="16569" y="4490"/>
                    <a:pt x="16569" y="4603"/>
                    <a:pt x="16555" y="4735"/>
                  </a:cubicBezTo>
                  <a:cubicBezTo>
                    <a:pt x="16432" y="6527"/>
                    <a:pt x="15393" y="7980"/>
                    <a:pt x="14095" y="8187"/>
                  </a:cubicBezTo>
                  <a:cubicBezTo>
                    <a:pt x="13302" y="8319"/>
                    <a:pt x="12509" y="7961"/>
                    <a:pt x="11907" y="7225"/>
                  </a:cubicBezTo>
                  <a:cubicBezTo>
                    <a:pt x="11319" y="6489"/>
                    <a:pt x="10978" y="5452"/>
                    <a:pt x="10978" y="4358"/>
                  </a:cubicBezTo>
                  <a:cubicBezTo>
                    <a:pt x="10978" y="4358"/>
                    <a:pt x="10978" y="4339"/>
                    <a:pt x="10978" y="4339"/>
                  </a:cubicBezTo>
                  <a:cubicBezTo>
                    <a:pt x="10978" y="4339"/>
                    <a:pt x="10978" y="4339"/>
                    <a:pt x="10978" y="4339"/>
                  </a:cubicBezTo>
                  <a:cubicBezTo>
                    <a:pt x="10978" y="3301"/>
                    <a:pt x="11265" y="2339"/>
                    <a:pt x="11798" y="1603"/>
                  </a:cubicBezTo>
                  <a:cubicBezTo>
                    <a:pt x="11921" y="1415"/>
                    <a:pt x="11989" y="1188"/>
                    <a:pt x="12003" y="943"/>
                  </a:cubicBezTo>
                  <a:cubicBezTo>
                    <a:pt x="12003" y="811"/>
                    <a:pt x="11989" y="660"/>
                    <a:pt x="11948" y="528"/>
                  </a:cubicBezTo>
                  <a:cubicBezTo>
                    <a:pt x="11880" y="245"/>
                    <a:pt x="11675" y="38"/>
                    <a:pt x="11456" y="19"/>
                  </a:cubicBezTo>
                  <a:close/>
                </a:path>
              </a:pathLst>
            </a:custGeom>
            <a:solidFill>
              <a:schemeClr val="bg1">
                <a:lumMod val="65000"/>
              </a:schemeClr>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3000">
                <a:solidFill>
                  <a:srgbClr val="FFFFFF"/>
                </a:solidFill>
              </a:endParaRPr>
            </a:p>
          </p:txBody>
        </p:sp>
        <p:sp>
          <p:nvSpPr>
            <p:cNvPr id="13" name="Shape">
              <a:extLst>
                <a:ext uri="{FF2B5EF4-FFF2-40B4-BE49-F238E27FC236}">
                  <a16:creationId xmlns:a16="http://schemas.microsoft.com/office/drawing/2014/main" id="{2280B70B-E6AB-70D1-CCD4-251E6800C880}"/>
                </a:ext>
              </a:extLst>
            </p:cNvPr>
            <p:cNvSpPr/>
            <p:nvPr/>
          </p:nvSpPr>
          <p:spPr>
            <a:xfrm>
              <a:off x="7152714" y="5997090"/>
              <a:ext cx="1660792" cy="1202029"/>
            </a:xfrm>
            <a:custGeom>
              <a:avLst/>
              <a:gdLst/>
              <a:ahLst/>
              <a:cxnLst>
                <a:cxn ang="0">
                  <a:pos x="wd2" y="hd2"/>
                </a:cxn>
                <a:cxn ang="5400000">
                  <a:pos x="wd2" y="hd2"/>
                </a:cxn>
                <a:cxn ang="10800000">
                  <a:pos x="wd2" y="hd2"/>
                </a:cxn>
                <a:cxn ang="16200000">
                  <a:pos x="wd2" y="hd2"/>
                </a:cxn>
              </a:cxnLst>
              <a:rect l="0" t="0" r="r" b="b"/>
              <a:pathLst>
                <a:path w="21600" h="21600" extrusionOk="0">
                  <a:moveTo>
                    <a:pt x="5939" y="21562"/>
                  </a:moveTo>
                  <a:lnTo>
                    <a:pt x="11442" y="21562"/>
                  </a:lnTo>
                  <a:cubicBezTo>
                    <a:pt x="11647" y="21543"/>
                    <a:pt x="11851" y="21355"/>
                    <a:pt x="11933" y="21034"/>
                  </a:cubicBezTo>
                  <a:cubicBezTo>
                    <a:pt x="12043" y="20657"/>
                    <a:pt x="11988" y="20242"/>
                    <a:pt x="11783" y="19921"/>
                  </a:cubicBezTo>
                  <a:cubicBezTo>
                    <a:pt x="11264" y="19204"/>
                    <a:pt x="10964" y="18223"/>
                    <a:pt x="10964" y="17204"/>
                  </a:cubicBezTo>
                  <a:cubicBezTo>
                    <a:pt x="10964" y="17072"/>
                    <a:pt x="10964" y="16940"/>
                    <a:pt x="10978" y="16808"/>
                  </a:cubicBezTo>
                  <a:cubicBezTo>
                    <a:pt x="10978" y="16808"/>
                    <a:pt x="10978" y="16808"/>
                    <a:pt x="10978" y="16808"/>
                  </a:cubicBezTo>
                  <a:cubicBezTo>
                    <a:pt x="10991" y="16695"/>
                    <a:pt x="11005" y="16563"/>
                    <a:pt x="11019" y="16450"/>
                  </a:cubicBezTo>
                  <a:cubicBezTo>
                    <a:pt x="11019" y="16431"/>
                    <a:pt x="11019" y="16431"/>
                    <a:pt x="11019" y="16412"/>
                  </a:cubicBezTo>
                  <a:cubicBezTo>
                    <a:pt x="11032" y="16299"/>
                    <a:pt x="11059" y="16186"/>
                    <a:pt x="11073" y="16091"/>
                  </a:cubicBezTo>
                  <a:cubicBezTo>
                    <a:pt x="11073" y="16073"/>
                    <a:pt x="11087" y="16054"/>
                    <a:pt x="11087" y="16035"/>
                  </a:cubicBezTo>
                  <a:cubicBezTo>
                    <a:pt x="11114" y="15922"/>
                    <a:pt x="11141" y="15827"/>
                    <a:pt x="11169" y="15733"/>
                  </a:cubicBezTo>
                  <a:cubicBezTo>
                    <a:pt x="11169" y="15714"/>
                    <a:pt x="11182" y="15695"/>
                    <a:pt x="11182" y="15676"/>
                  </a:cubicBezTo>
                  <a:cubicBezTo>
                    <a:pt x="11210" y="15582"/>
                    <a:pt x="11251" y="15469"/>
                    <a:pt x="11292" y="15375"/>
                  </a:cubicBezTo>
                  <a:cubicBezTo>
                    <a:pt x="11292" y="15375"/>
                    <a:pt x="11292" y="15356"/>
                    <a:pt x="11305" y="15356"/>
                  </a:cubicBezTo>
                  <a:cubicBezTo>
                    <a:pt x="11455" y="14978"/>
                    <a:pt x="11647" y="14620"/>
                    <a:pt x="11892" y="14337"/>
                  </a:cubicBezTo>
                  <a:cubicBezTo>
                    <a:pt x="11920" y="14318"/>
                    <a:pt x="11933" y="14280"/>
                    <a:pt x="11961" y="14262"/>
                  </a:cubicBezTo>
                  <a:cubicBezTo>
                    <a:pt x="11974" y="14243"/>
                    <a:pt x="11988" y="14224"/>
                    <a:pt x="12015" y="14205"/>
                  </a:cubicBezTo>
                  <a:cubicBezTo>
                    <a:pt x="12070" y="14148"/>
                    <a:pt x="12111" y="14092"/>
                    <a:pt x="12165" y="14035"/>
                  </a:cubicBezTo>
                  <a:cubicBezTo>
                    <a:pt x="12193" y="14016"/>
                    <a:pt x="12206" y="13997"/>
                    <a:pt x="12234" y="13979"/>
                  </a:cubicBezTo>
                  <a:cubicBezTo>
                    <a:pt x="12275" y="13941"/>
                    <a:pt x="12329" y="13903"/>
                    <a:pt x="12370" y="13865"/>
                  </a:cubicBezTo>
                  <a:cubicBezTo>
                    <a:pt x="12398" y="13846"/>
                    <a:pt x="12439" y="13809"/>
                    <a:pt x="12466" y="13790"/>
                  </a:cubicBezTo>
                  <a:cubicBezTo>
                    <a:pt x="12507" y="13771"/>
                    <a:pt x="12548" y="13733"/>
                    <a:pt x="12589" y="13714"/>
                  </a:cubicBezTo>
                  <a:cubicBezTo>
                    <a:pt x="12630" y="13696"/>
                    <a:pt x="12671" y="13658"/>
                    <a:pt x="12725" y="13639"/>
                  </a:cubicBezTo>
                  <a:cubicBezTo>
                    <a:pt x="12753" y="13620"/>
                    <a:pt x="12794" y="13601"/>
                    <a:pt x="12821" y="13582"/>
                  </a:cubicBezTo>
                  <a:cubicBezTo>
                    <a:pt x="12875" y="13564"/>
                    <a:pt x="12930" y="13526"/>
                    <a:pt x="12985" y="13507"/>
                  </a:cubicBezTo>
                  <a:cubicBezTo>
                    <a:pt x="13012" y="13488"/>
                    <a:pt x="13039" y="13488"/>
                    <a:pt x="13067" y="13488"/>
                  </a:cubicBezTo>
                  <a:cubicBezTo>
                    <a:pt x="13121" y="13469"/>
                    <a:pt x="13189" y="13450"/>
                    <a:pt x="13244" y="13432"/>
                  </a:cubicBezTo>
                  <a:cubicBezTo>
                    <a:pt x="13271" y="13432"/>
                    <a:pt x="13299" y="13413"/>
                    <a:pt x="13312" y="13413"/>
                  </a:cubicBezTo>
                  <a:cubicBezTo>
                    <a:pt x="13381" y="13394"/>
                    <a:pt x="13435" y="13394"/>
                    <a:pt x="13503" y="13375"/>
                  </a:cubicBezTo>
                  <a:cubicBezTo>
                    <a:pt x="13544" y="13375"/>
                    <a:pt x="13572" y="13375"/>
                    <a:pt x="13613" y="13375"/>
                  </a:cubicBezTo>
                  <a:cubicBezTo>
                    <a:pt x="13667" y="13375"/>
                    <a:pt x="13708" y="13356"/>
                    <a:pt x="13763" y="13356"/>
                  </a:cubicBezTo>
                  <a:cubicBezTo>
                    <a:pt x="13763" y="13356"/>
                    <a:pt x="13777" y="13356"/>
                    <a:pt x="13777" y="13356"/>
                  </a:cubicBezTo>
                  <a:cubicBezTo>
                    <a:pt x="13859" y="13356"/>
                    <a:pt x="13940" y="13356"/>
                    <a:pt x="14036" y="13375"/>
                  </a:cubicBezTo>
                  <a:cubicBezTo>
                    <a:pt x="14050" y="13375"/>
                    <a:pt x="14050" y="13375"/>
                    <a:pt x="14063" y="13375"/>
                  </a:cubicBezTo>
                  <a:cubicBezTo>
                    <a:pt x="14077" y="13375"/>
                    <a:pt x="14077" y="13375"/>
                    <a:pt x="14091" y="13375"/>
                  </a:cubicBezTo>
                  <a:cubicBezTo>
                    <a:pt x="14350" y="13413"/>
                    <a:pt x="14609" y="13507"/>
                    <a:pt x="14842" y="13658"/>
                  </a:cubicBezTo>
                  <a:cubicBezTo>
                    <a:pt x="14855" y="13658"/>
                    <a:pt x="14855" y="13658"/>
                    <a:pt x="14869" y="13677"/>
                  </a:cubicBezTo>
                  <a:cubicBezTo>
                    <a:pt x="14937" y="13714"/>
                    <a:pt x="15019" y="13771"/>
                    <a:pt x="15087" y="13828"/>
                  </a:cubicBezTo>
                  <a:cubicBezTo>
                    <a:pt x="15101" y="13828"/>
                    <a:pt x="15101" y="13847"/>
                    <a:pt x="15115" y="13847"/>
                  </a:cubicBezTo>
                  <a:cubicBezTo>
                    <a:pt x="15183" y="13903"/>
                    <a:pt x="15251" y="13960"/>
                    <a:pt x="15319" y="14016"/>
                  </a:cubicBezTo>
                  <a:cubicBezTo>
                    <a:pt x="15333" y="14016"/>
                    <a:pt x="15333" y="14035"/>
                    <a:pt x="15347" y="14035"/>
                  </a:cubicBezTo>
                  <a:cubicBezTo>
                    <a:pt x="15415" y="14092"/>
                    <a:pt x="15483" y="14167"/>
                    <a:pt x="15538" y="14243"/>
                  </a:cubicBezTo>
                  <a:cubicBezTo>
                    <a:pt x="15538" y="14243"/>
                    <a:pt x="15552" y="14243"/>
                    <a:pt x="15552" y="14262"/>
                  </a:cubicBezTo>
                  <a:cubicBezTo>
                    <a:pt x="15756" y="14488"/>
                    <a:pt x="15934" y="14771"/>
                    <a:pt x="16084" y="15073"/>
                  </a:cubicBezTo>
                  <a:cubicBezTo>
                    <a:pt x="16084" y="15092"/>
                    <a:pt x="16098" y="15092"/>
                    <a:pt x="16098" y="15111"/>
                  </a:cubicBezTo>
                  <a:cubicBezTo>
                    <a:pt x="16139" y="15205"/>
                    <a:pt x="16180" y="15280"/>
                    <a:pt x="16221" y="15375"/>
                  </a:cubicBezTo>
                  <a:cubicBezTo>
                    <a:pt x="16234" y="15394"/>
                    <a:pt x="16234" y="15412"/>
                    <a:pt x="16248" y="15431"/>
                  </a:cubicBezTo>
                  <a:cubicBezTo>
                    <a:pt x="16275" y="15507"/>
                    <a:pt x="16316" y="15601"/>
                    <a:pt x="16343" y="15695"/>
                  </a:cubicBezTo>
                  <a:cubicBezTo>
                    <a:pt x="16357" y="15714"/>
                    <a:pt x="16357" y="15752"/>
                    <a:pt x="16371" y="15771"/>
                  </a:cubicBezTo>
                  <a:cubicBezTo>
                    <a:pt x="16398" y="15846"/>
                    <a:pt x="16412" y="15941"/>
                    <a:pt x="16439" y="16035"/>
                  </a:cubicBezTo>
                  <a:cubicBezTo>
                    <a:pt x="16453" y="16073"/>
                    <a:pt x="16453" y="16091"/>
                    <a:pt x="16466" y="16129"/>
                  </a:cubicBezTo>
                  <a:cubicBezTo>
                    <a:pt x="16480" y="16223"/>
                    <a:pt x="16507" y="16318"/>
                    <a:pt x="16521" y="16393"/>
                  </a:cubicBezTo>
                  <a:cubicBezTo>
                    <a:pt x="16521" y="16431"/>
                    <a:pt x="16535" y="16450"/>
                    <a:pt x="16535" y="16488"/>
                  </a:cubicBezTo>
                  <a:cubicBezTo>
                    <a:pt x="16548" y="16582"/>
                    <a:pt x="16562" y="16695"/>
                    <a:pt x="16576" y="16789"/>
                  </a:cubicBezTo>
                  <a:cubicBezTo>
                    <a:pt x="16576" y="16808"/>
                    <a:pt x="16576" y="16827"/>
                    <a:pt x="16576" y="16846"/>
                  </a:cubicBezTo>
                  <a:cubicBezTo>
                    <a:pt x="16576" y="16846"/>
                    <a:pt x="16576" y="16846"/>
                    <a:pt x="16576" y="16846"/>
                  </a:cubicBezTo>
                  <a:cubicBezTo>
                    <a:pt x="16589" y="16959"/>
                    <a:pt x="16589" y="17072"/>
                    <a:pt x="16589" y="17186"/>
                  </a:cubicBezTo>
                  <a:cubicBezTo>
                    <a:pt x="16589" y="17204"/>
                    <a:pt x="16589" y="17223"/>
                    <a:pt x="16589" y="17242"/>
                  </a:cubicBezTo>
                  <a:cubicBezTo>
                    <a:pt x="16589" y="17261"/>
                    <a:pt x="16589" y="17261"/>
                    <a:pt x="16589" y="17261"/>
                  </a:cubicBezTo>
                  <a:cubicBezTo>
                    <a:pt x="16589" y="17355"/>
                    <a:pt x="16589" y="17469"/>
                    <a:pt x="16576" y="17563"/>
                  </a:cubicBezTo>
                  <a:cubicBezTo>
                    <a:pt x="16576" y="17601"/>
                    <a:pt x="16576" y="17638"/>
                    <a:pt x="16562" y="17676"/>
                  </a:cubicBezTo>
                  <a:cubicBezTo>
                    <a:pt x="16548" y="17770"/>
                    <a:pt x="16548" y="17865"/>
                    <a:pt x="16535" y="17959"/>
                  </a:cubicBezTo>
                  <a:cubicBezTo>
                    <a:pt x="16535" y="17997"/>
                    <a:pt x="16521" y="18035"/>
                    <a:pt x="16521" y="18091"/>
                  </a:cubicBezTo>
                  <a:cubicBezTo>
                    <a:pt x="16507" y="18167"/>
                    <a:pt x="16494" y="18223"/>
                    <a:pt x="16480" y="18299"/>
                  </a:cubicBezTo>
                  <a:cubicBezTo>
                    <a:pt x="16466" y="18355"/>
                    <a:pt x="16453" y="18412"/>
                    <a:pt x="16439" y="18468"/>
                  </a:cubicBezTo>
                  <a:cubicBezTo>
                    <a:pt x="16425" y="18525"/>
                    <a:pt x="16412" y="18582"/>
                    <a:pt x="16398" y="18638"/>
                  </a:cubicBezTo>
                  <a:cubicBezTo>
                    <a:pt x="16384" y="18695"/>
                    <a:pt x="16371" y="18751"/>
                    <a:pt x="16343" y="18808"/>
                  </a:cubicBezTo>
                  <a:cubicBezTo>
                    <a:pt x="16330" y="18865"/>
                    <a:pt x="16302" y="18940"/>
                    <a:pt x="16275" y="18997"/>
                  </a:cubicBezTo>
                  <a:cubicBezTo>
                    <a:pt x="16261" y="19034"/>
                    <a:pt x="16248" y="19072"/>
                    <a:pt x="16234" y="19110"/>
                  </a:cubicBezTo>
                  <a:cubicBezTo>
                    <a:pt x="16207" y="19185"/>
                    <a:pt x="16166" y="19261"/>
                    <a:pt x="16125" y="19336"/>
                  </a:cubicBezTo>
                  <a:cubicBezTo>
                    <a:pt x="16111" y="19374"/>
                    <a:pt x="16098" y="19393"/>
                    <a:pt x="16084" y="19431"/>
                  </a:cubicBezTo>
                  <a:cubicBezTo>
                    <a:pt x="16043" y="19506"/>
                    <a:pt x="16002" y="19600"/>
                    <a:pt x="15947" y="19676"/>
                  </a:cubicBezTo>
                  <a:cubicBezTo>
                    <a:pt x="15934" y="19695"/>
                    <a:pt x="15920" y="19713"/>
                    <a:pt x="15920" y="19732"/>
                  </a:cubicBezTo>
                  <a:cubicBezTo>
                    <a:pt x="15866" y="19827"/>
                    <a:pt x="15811" y="19902"/>
                    <a:pt x="15756" y="19978"/>
                  </a:cubicBezTo>
                  <a:cubicBezTo>
                    <a:pt x="15756" y="19978"/>
                    <a:pt x="15756" y="19978"/>
                    <a:pt x="15756" y="19978"/>
                  </a:cubicBezTo>
                  <a:cubicBezTo>
                    <a:pt x="15551" y="20279"/>
                    <a:pt x="15497" y="20694"/>
                    <a:pt x="15606" y="21072"/>
                  </a:cubicBezTo>
                  <a:cubicBezTo>
                    <a:pt x="15702" y="21374"/>
                    <a:pt x="15893" y="21581"/>
                    <a:pt x="16111" y="21600"/>
                  </a:cubicBezTo>
                  <a:lnTo>
                    <a:pt x="21600" y="21600"/>
                  </a:lnTo>
                  <a:lnTo>
                    <a:pt x="21600" y="7489"/>
                  </a:lnTo>
                  <a:cubicBezTo>
                    <a:pt x="21600" y="3358"/>
                    <a:pt x="19170" y="0"/>
                    <a:pt x="16180" y="0"/>
                  </a:cubicBezTo>
                  <a:lnTo>
                    <a:pt x="5939" y="0"/>
                  </a:lnTo>
                  <a:lnTo>
                    <a:pt x="5939" y="7602"/>
                  </a:lnTo>
                  <a:lnTo>
                    <a:pt x="5939" y="7602"/>
                  </a:lnTo>
                  <a:cubicBezTo>
                    <a:pt x="5939" y="7621"/>
                    <a:pt x="5939" y="7621"/>
                    <a:pt x="5939" y="7640"/>
                  </a:cubicBezTo>
                  <a:cubicBezTo>
                    <a:pt x="5912" y="8093"/>
                    <a:pt x="5735" y="8489"/>
                    <a:pt x="5448" y="8734"/>
                  </a:cubicBezTo>
                  <a:cubicBezTo>
                    <a:pt x="5407" y="8772"/>
                    <a:pt x="5366" y="8791"/>
                    <a:pt x="5311" y="8829"/>
                  </a:cubicBezTo>
                  <a:cubicBezTo>
                    <a:pt x="5284" y="8848"/>
                    <a:pt x="5257" y="8848"/>
                    <a:pt x="5243" y="8866"/>
                  </a:cubicBezTo>
                  <a:cubicBezTo>
                    <a:pt x="5161" y="8904"/>
                    <a:pt x="5065" y="8942"/>
                    <a:pt x="4984" y="8942"/>
                  </a:cubicBezTo>
                  <a:cubicBezTo>
                    <a:pt x="4670" y="8980"/>
                    <a:pt x="4342" y="8829"/>
                    <a:pt x="4082" y="8508"/>
                  </a:cubicBezTo>
                  <a:cubicBezTo>
                    <a:pt x="3618" y="7867"/>
                    <a:pt x="3031" y="7527"/>
                    <a:pt x="2389" y="7527"/>
                  </a:cubicBezTo>
                  <a:cubicBezTo>
                    <a:pt x="2307" y="7527"/>
                    <a:pt x="2226" y="7527"/>
                    <a:pt x="2144" y="7546"/>
                  </a:cubicBezTo>
                  <a:cubicBezTo>
                    <a:pt x="2130" y="7546"/>
                    <a:pt x="2130" y="7546"/>
                    <a:pt x="2116" y="7546"/>
                  </a:cubicBezTo>
                  <a:cubicBezTo>
                    <a:pt x="2048" y="7565"/>
                    <a:pt x="1966" y="7565"/>
                    <a:pt x="1898" y="7602"/>
                  </a:cubicBezTo>
                  <a:cubicBezTo>
                    <a:pt x="1884" y="7602"/>
                    <a:pt x="1871" y="7621"/>
                    <a:pt x="1857" y="7621"/>
                  </a:cubicBezTo>
                  <a:cubicBezTo>
                    <a:pt x="1789" y="7640"/>
                    <a:pt x="1734" y="7659"/>
                    <a:pt x="1666" y="7697"/>
                  </a:cubicBezTo>
                  <a:cubicBezTo>
                    <a:pt x="1638" y="7716"/>
                    <a:pt x="1625" y="7716"/>
                    <a:pt x="1597" y="7734"/>
                  </a:cubicBezTo>
                  <a:cubicBezTo>
                    <a:pt x="1543" y="7753"/>
                    <a:pt x="1488" y="7791"/>
                    <a:pt x="1434" y="7829"/>
                  </a:cubicBezTo>
                  <a:cubicBezTo>
                    <a:pt x="1406" y="7848"/>
                    <a:pt x="1379" y="7867"/>
                    <a:pt x="1352" y="7885"/>
                  </a:cubicBezTo>
                  <a:cubicBezTo>
                    <a:pt x="1311" y="7923"/>
                    <a:pt x="1270" y="7942"/>
                    <a:pt x="1229" y="7980"/>
                  </a:cubicBezTo>
                  <a:cubicBezTo>
                    <a:pt x="1202" y="7999"/>
                    <a:pt x="1161" y="8036"/>
                    <a:pt x="1133" y="8055"/>
                  </a:cubicBezTo>
                  <a:cubicBezTo>
                    <a:pt x="1106" y="8093"/>
                    <a:pt x="1065" y="8112"/>
                    <a:pt x="1038" y="8150"/>
                  </a:cubicBezTo>
                  <a:cubicBezTo>
                    <a:pt x="997" y="8187"/>
                    <a:pt x="969" y="8225"/>
                    <a:pt x="928" y="8263"/>
                  </a:cubicBezTo>
                  <a:cubicBezTo>
                    <a:pt x="901" y="8282"/>
                    <a:pt x="874" y="8319"/>
                    <a:pt x="847" y="8357"/>
                  </a:cubicBezTo>
                  <a:cubicBezTo>
                    <a:pt x="806" y="8395"/>
                    <a:pt x="778" y="8451"/>
                    <a:pt x="737" y="8489"/>
                  </a:cubicBezTo>
                  <a:cubicBezTo>
                    <a:pt x="710" y="8508"/>
                    <a:pt x="696" y="8546"/>
                    <a:pt x="669" y="8583"/>
                  </a:cubicBezTo>
                  <a:cubicBezTo>
                    <a:pt x="628" y="8640"/>
                    <a:pt x="601" y="8678"/>
                    <a:pt x="560" y="8734"/>
                  </a:cubicBezTo>
                  <a:cubicBezTo>
                    <a:pt x="546" y="8753"/>
                    <a:pt x="532" y="8791"/>
                    <a:pt x="505" y="8810"/>
                  </a:cubicBezTo>
                  <a:cubicBezTo>
                    <a:pt x="464" y="8866"/>
                    <a:pt x="437" y="8923"/>
                    <a:pt x="410" y="8998"/>
                  </a:cubicBezTo>
                  <a:cubicBezTo>
                    <a:pt x="396" y="9017"/>
                    <a:pt x="396" y="9036"/>
                    <a:pt x="382" y="9055"/>
                  </a:cubicBezTo>
                  <a:cubicBezTo>
                    <a:pt x="150" y="9564"/>
                    <a:pt x="0" y="10149"/>
                    <a:pt x="0" y="10791"/>
                  </a:cubicBezTo>
                  <a:cubicBezTo>
                    <a:pt x="0" y="10809"/>
                    <a:pt x="0" y="10828"/>
                    <a:pt x="0" y="10847"/>
                  </a:cubicBezTo>
                  <a:cubicBezTo>
                    <a:pt x="0" y="10923"/>
                    <a:pt x="0" y="10998"/>
                    <a:pt x="14" y="11074"/>
                  </a:cubicBezTo>
                  <a:cubicBezTo>
                    <a:pt x="14" y="11111"/>
                    <a:pt x="14" y="11149"/>
                    <a:pt x="14" y="11187"/>
                  </a:cubicBezTo>
                  <a:cubicBezTo>
                    <a:pt x="96" y="12281"/>
                    <a:pt x="573" y="13224"/>
                    <a:pt x="1242" y="13733"/>
                  </a:cubicBezTo>
                  <a:cubicBezTo>
                    <a:pt x="1242" y="13733"/>
                    <a:pt x="1256" y="13733"/>
                    <a:pt x="1256" y="13733"/>
                  </a:cubicBezTo>
                  <a:cubicBezTo>
                    <a:pt x="1311" y="13771"/>
                    <a:pt x="1379" y="13828"/>
                    <a:pt x="1447" y="13866"/>
                  </a:cubicBezTo>
                  <a:cubicBezTo>
                    <a:pt x="1461" y="13866"/>
                    <a:pt x="1461" y="13884"/>
                    <a:pt x="1475" y="13884"/>
                  </a:cubicBezTo>
                  <a:cubicBezTo>
                    <a:pt x="1529" y="13922"/>
                    <a:pt x="1597" y="13960"/>
                    <a:pt x="1666" y="13979"/>
                  </a:cubicBezTo>
                  <a:cubicBezTo>
                    <a:pt x="1679" y="13979"/>
                    <a:pt x="1679" y="13979"/>
                    <a:pt x="1693" y="13998"/>
                  </a:cubicBezTo>
                  <a:cubicBezTo>
                    <a:pt x="1761" y="14016"/>
                    <a:pt x="1830" y="14054"/>
                    <a:pt x="1884" y="14073"/>
                  </a:cubicBezTo>
                  <a:cubicBezTo>
                    <a:pt x="1898" y="14073"/>
                    <a:pt x="1898" y="14073"/>
                    <a:pt x="1911" y="14073"/>
                  </a:cubicBezTo>
                  <a:cubicBezTo>
                    <a:pt x="2007" y="14092"/>
                    <a:pt x="2103" y="14111"/>
                    <a:pt x="2198" y="14130"/>
                  </a:cubicBezTo>
                  <a:cubicBezTo>
                    <a:pt x="2266" y="14130"/>
                    <a:pt x="2335" y="14149"/>
                    <a:pt x="2403" y="14149"/>
                  </a:cubicBezTo>
                  <a:cubicBezTo>
                    <a:pt x="2430" y="14149"/>
                    <a:pt x="2444" y="14149"/>
                    <a:pt x="2471" y="14149"/>
                  </a:cubicBezTo>
                  <a:cubicBezTo>
                    <a:pt x="2540" y="14149"/>
                    <a:pt x="2594" y="14149"/>
                    <a:pt x="2662" y="14130"/>
                  </a:cubicBezTo>
                  <a:cubicBezTo>
                    <a:pt x="2690" y="14130"/>
                    <a:pt x="2703" y="14111"/>
                    <a:pt x="2731" y="14111"/>
                  </a:cubicBezTo>
                  <a:cubicBezTo>
                    <a:pt x="2799" y="14092"/>
                    <a:pt x="2854" y="14092"/>
                    <a:pt x="2922" y="14073"/>
                  </a:cubicBezTo>
                  <a:cubicBezTo>
                    <a:pt x="2949" y="14073"/>
                    <a:pt x="2963" y="14054"/>
                    <a:pt x="2990" y="14054"/>
                  </a:cubicBezTo>
                  <a:cubicBezTo>
                    <a:pt x="3058" y="14035"/>
                    <a:pt x="3113" y="14016"/>
                    <a:pt x="3168" y="13979"/>
                  </a:cubicBezTo>
                  <a:cubicBezTo>
                    <a:pt x="3181" y="13979"/>
                    <a:pt x="3209" y="13960"/>
                    <a:pt x="3222" y="13941"/>
                  </a:cubicBezTo>
                  <a:cubicBezTo>
                    <a:pt x="3277" y="13903"/>
                    <a:pt x="3345" y="13866"/>
                    <a:pt x="3400" y="13828"/>
                  </a:cubicBezTo>
                  <a:cubicBezTo>
                    <a:pt x="3413" y="13809"/>
                    <a:pt x="3441" y="13809"/>
                    <a:pt x="3454" y="13790"/>
                  </a:cubicBezTo>
                  <a:cubicBezTo>
                    <a:pt x="3509" y="13752"/>
                    <a:pt x="3564" y="13715"/>
                    <a:pt x="3618" y="13658"/>
                  </a:cubicBezTo>
                  <a:cubicBezTo>
                    <a:pt x="3632" y="13639"/>
                    <a:pt x="3659" y="13620"/>
                    <a:pt x="3673" y="13620"/>
                  </a:cubicBezTo>
                  <a:cubicBezTo>
                    <a:pt x="3727" y="13564"/>
                    <a:pt x="3782" y="13507"/>
                    <a:pt x="3837" y="13451"/>
                  </a:cubicBezTo>
                  <a:cubicBezTo>
                    <a:pt x="3850" y="13432"/>
                    <a:pt x="3864" y="13413"/>
                    <a:pt x="3878" y="13413"/>
                  </a:cubicBezTo>
                  <a:cubicBezTo>
                    <a:pt x="3946" y="13337"/>
                    <a:pt x="4014" y="13262"/>
                    <a:pt x="4069" y="13168"/>
                  </a:cubicBezTo>
                  <a:cubicBezTo>
                    <a:pt x="4396" y="12753"/>
                    <a:pt x="4820" y="12621"/>
                    <a:pt x="5202" y="12790"/>
                  </a:cubicBezTo>
                  <a:cubicBezTo>
                    <a:pt x="5243" y="12809"/>
                    <a:pt x="5270" y="12828"/>
                    <a:pt x="5311" y="12847"/>
                  </a:cubicBezTo>
                  <a:cubicBezTo>
                    <a:pt x="5666" y="13054"/>
                    <a:pt x="5898" y="13488"/>
                    <a:pt x="5939" y="13979"/>
                  </a:cubicBezTo>
                  <a:cubicBezTo>
                    <a:pt x="5939" y="13998"/>
                    <a:pt x="5939" y="14016"/>
                    <a:pt x="5939" y="14035"/>
                  </a:cubicBezTo>
                  <a:lnTo>
                    <a:pt x="5939" y="21562"/>
                  </a:lnTo>
                  <a:close/>
                </a:path>
              </a:pathLst>
            </a:custGeom>
            <a:solidFill>
              <a:schemeClr val="bg1">
                <a:lumMod val="65000"/>
              </a:schemeClr>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3000">
                <a:solidFill>
                  <a:srgbClr val="FFFFFF"/>
                </a:solidFill>
              </a:endParaRPr>
            </a:p>
          </p:txBody>
        </p:sp>
        <p:sp>
          <p:nvSpPr>
            <p:cNvPr id="14" name="Shape">
              <a:extLst>
                <a:ext uri="{FF2B5EF4-FFF2-40B4-BE49-F238E27FC236}">
                  <a16:creationId xmlns:a16="http://schemas.microsoft.com/office/drawing/2014/main" id="{078B9350-8D75-41C2-A442-61DAF616DF90}"/>
                </a:ext>
              </a:extLst>
            </p:cNvPr>
            <p:cNvSpPr/>
            <p:nvPr/>
          </p:nvSpPr>
          <p:spPr>
            <a:xfrm>
              <a:off x="5147584" y="5997090"/>
              <a:ext cx="1658693" cy="1202029"/>
            </a:xfrm>
            <a:custGeom>
              <a:avLst/>
              <a:gdLst/>
              <a:ahLst/>
              <a:cxnLst>
                <a:cxn ang="0">
                  <a:pos x="wd2" y="hd2"/>
                </a:cxn>
                <a:cxn ang="5400000">
                  <a:pos x="wd2" y="hd2"/>
                </a:cxn>
                <a:cxn ang="10800000">
                  <a:pos x="wd2" y="hd2"/>
                </a:cxn>
                <a:cxn ang="16200000">
                  <a:pos x="wd2" y="hd2"/>
                </a:cxn>
              </a:cxnLst>
              <a:rect l="0" t="0" r="r" b="b"/>
              <a:pathLst>
                <a:path w="21600" h="21600" extrusionOk="0">
                  <a:moveTo>
                    <a:pt x="16296" y="12885"/>
                  </a:moveTo>
                  <a:cubicBezTo>
                    <a:pt x="16309" y="12866"/>
                    <a:pt x="16337" y="12866"/>
                    <a:pt x="16350" y="12866"/>
                  </a:cubicBezTo>
                  <a:cubicBezTo>
                    <a:pt x="16747" y="12677"/>
                    <a:pt x="17198" y="12790"/>
                    <a:pt x="17526" y="13205"/>
                  </a:cubicBezTo>
                  <a:cubicBezTo>
                    <a:pt x="17526" y="13205"/>
                    <a:pt x="17526" y="13205"/>
                    <a:pt x="17526" y="13205"/>
                  </a:cubicBezTo>
                  <a:cubicBezTo>
                    <a:pt x="17581" y="13281"/>
                    <a:pt x="17649" y="13356"/>
                    <a:pt x="17718" y="13432"/>
                  </a:cubicBezTo>
                  <a:cubicBezTo>
                    <a:pt x="17731" y="13450"/>
                    <a:pt x="17759" y="13469"/>
                    <a:pt x="17772" y="13488"/>
                  </a:cubicBezTo>
                  <a:cubicBezTo>
                    <a:pt x="17827" y="13545"/>
                    <a:pt x="17882" y="13601"/>
                    <a:pt x="17936" y="13639"/>
                  </a:cubicBezTo>
                  <a:cubicBezTo>
                    <a:pt x="17950" y="13658"/>
                    <a:pt x="17977" y="13677"/>
                    <a:pt x="17991" y="13677"/>
                  </a:cubicBezTo>
                  <a:cubicBezTo>
                    <a:pt x="18046" y="13715"/>
                    <a:pt x="18100" y="13771"/>
                    <a:pt x="18155" y="13809"/>
                  </a:cubicBezTo>
                  <a:cubicBezTo>
                    <a:pt x="18169" y="13828"/>
                    <a:pt x="18196" y="13828"/>
                    <a:pt x="18210" y="13847"/>
                  </a:cubicBezTo>
                  <a:cubicBezTo>
                    <a:pt x="18264" y="13884"/>
                    <a:pt x="18333" y="13922"/>
                    <a:pt x="18387" y="13960"/>
                  </a:cubicBezTo>
                  <a:cubicBezTo>
                    <a:pt x="18401" y="13960"/>
                    <a:pt x="18428" y="13979"/>
                    <a:pt x="18442" y="13979"/>
                  </a:cubicBezTo>
                  <a:cubicBezTo>
                    <a:pt x="18510" y="14016"/>
                    <a:pt x="18565" y="14035"/>
                    <a:pt x="18633" y="14054"/>
                  </a:cubicBezTo>
                  <a:cubicBezTo>
                    <a:pt x="18647" y="14054"/>
                    <a:pt x="18674" y="14073"/>
                    <a:pt x="18688" y="14073"/>
                  </a:cubicBezTo>
                  <a:cubicBezTo>
                    <a:pt x="18756" y="14092"/>
                    <a:pt x="18811" y="14111"/>
                    <a:pt x="18880" y="14130"/>
                  </a:cubicBezTo>
                  <a:cubicBezTo>
                    <a:pt x="18907" y="14130"/>
                    <a:pt x="18921" y="14148"/>
                    <a:pt x="18948" y="14148"/>
                  </a:cubicBezTo>
                  <a:cubicBezTo>
                    <a:pt x="19016" y="14167"/>
                    <a:pt x="19071" y="14167"/>
                    <a:pt x="19139" y="14167"/>
                  </a:cubicBezTo>
                  <a:cubicBezTo>
                    <a:pt x="19167" y="14167"/>
                    <a:pt x="19180" y="14167"/>
                    <a:pt x="19208" y="14167"/>
                  </a:cubicBezTo>
                  <a:cubicBezTo>
                    <a:pt x="19276" y="14167"/>
                    <a:pt x="19344" y="14167"/>
                    <a:pt x="19413" y="14148"/>
                  </a:cubicBezTo>
                  <a:cubicBezTo>
                    <a:pt x="19508" y="14130"/>
                    <a:pt x="19604" y="14130"/>
                    <a:pt x="19700" y="14092"/>
                  </a:cubicBezTo>
                  <a:cubicBezTo>
                    <a:pt x="19713" y="14092"/>
                    <a:pt x="19713" y="14092"/>
                    <a:pt x="19727" y="14092"/>
                  </a:cubicBezTo>
                  <a:cubicBezTo>
                    <a:pt x="19795" y="14073"/>
                    <a:pt x="19864" y="14054"/>
                    <a:pt x="19918" y="14016"/>
                  </a:cubicBezTo>
                  <a:cubicBezTo>
                    <a:pt x="19932" y="14016"/>
                    <a:pt x="19946" y="13998"/>
                    <a:pt x="19946" y="13998"/>
                  </a:cubicBezTo>
                  <a:cubicBezTo>
                    <a:pt x="20014" y="13979"/>
                    <a:pt x="20069" y="13941"/>
                    <a:pt x="20137" y="13903"/>
                  </a:cubicBezTo>
                  <a:cubicBezTo>
                    <a:pt x="20151" y="13903"/>
                    <a:pt x="20151" y="13884"/>
                    <a:pt x="20165" y="13884"/>
                  </a:cubicBezTo>
                  <a:cubicBezTo>
                    <a:pt x="20233" y="13847"/>
                    <a:pt x="20288" y="13809"/>
                    <a:pt x="20356" y="13752"/>
                  </a:cubicBezTo>
                  <a:cubicBezTo>
                    <a:pt x="20356" y="13752"/>
                    <a:pt x="20370" y="13752"/>
                    <a:pt x="20370" y="13733"/>
                  </a:cubicBezTo>
                  <a:cubicBezTo>
                    <a:pt x="20698" y="13488"/>
                    <a:pt x="20985" y="13130"/>
                    <a:pt x="21204" y="12696"/>
                  </a:cubicBezTo>
                  <a:cubicBezTo>
                    <a:pt x="21204" y="12696"/>
                    <a:pt x="21204" y="12696"/>
                    <a:pt x="21204" y="12696"/>
                  </a:cubicBezTo>
                  <a:cubicBezTo>
                    <a:pt x="21245" y="12620"/>
                    <a:pt x="21286" y="12526"/>
                    <a:pt x="21313" y="12432"/>
                  </a:cubicBezTo>
                  <a:cubicBezTo>
                    <a:pt x="21313" y="12432"/>
                    <a:pt x="21313" y="12432"/>
                    <a:pt x="21313" y="12413"/>
                  </a:cubicBezTo>
                  <a:cubicBezTo>
                    <a:pt x="21354" y="12319"/>
                    <a:pt x="21381" y="12224"/>
                    <a:pt x="21409" y="12130"/>
                  </a:cubicBezTo>
                  <a:cubicBezTo>
                    <a:pt x="21409" y="12130"/>
                    <a:pt x="21409" y="12130"/>
                    <a:pt x="21409" y="12130"/>
                  </a:cubicBezTo>
                  <a:cubicBezTo>
                    <a:pt x="21491" y="11847"/>
                    <a:pt x="21559" y="11526"/>
                    <a:pt x="21586" y="11206"/>
                  </a:cubicBezTo>
                  <a:cubicBezTo>
                    <a:pt x="21586" y="11149"/>
                    <a:pt x="21586" y="11092"/>
                    <a:pt x="21600" y="11017"/>
                  </a:cubicBezTo>
                  <a:cubicBezTo>
                    <a:pt x="21600" y="10960"/>
                    <a:pt x="21600" y="10904"/>
                    <a:pt x="21600" y="10847"/>
                  </a:cubicBezTo>
                  <a:cubicBezTo>
                    <a:pt x="21600" y="10809"/>
                    <a:pt x="21600" y="10753"/>
                    <a:pt x="21600" y="10715"/>
                  </a:cubicBezTo>
                  <a:cubicBezTo>
                    <a:pt x="21586" y="10206"/>
                    <a:pt x="21491" y="9715"/>
                    <a:pt x="21327" y="9281"/>
                  </a:cubicBezTo>
                  <a:cubicBezTo>
                    <a:pt x="21327" y="9281"/>
                    <a:pt x="21327" y="9281"/>
                    <a:pt x="21327" y="9263"/>
                  </a:cubicBezTo>
                  <a:cubicBezTo>
                    <a:pt x="21299" y="9187"/>
                    <a:pt x="21258" y="9112"/>
                    <a:pt x="21231" y="9055"/>
                  </a:cubicBezTo>
                  <a:cubicBezTo>
                    <a:pt x="21217" y="9036"/>
                    <a:pt x="21204" y="8998"/>
                    <a:pt x="21204" y="8980"/>
                  </a:cubicBezTo>
                  <a:cubicBezTo>
                    <a:pt x="21176" y="8923"/>
                    <a:pt x="21149" y="8866"/>
                    <a:pt x="21108" y="8810"/>
                  </a:cubicBezTo>
                  <a:cubicBezTo>
                    <a:pt x="21094" y="8772"/>
                    <a:pt x="21067" y="8753"/>
                    <a:pt x="21053" y="8715"/>
                  </a:cubicBezTo>
                  <a:cubicBezTo>
                    <a:pt x="21026" y="8659"/>
                    <a:pt x="20985" y="8621"/>
                    <a:pt x="20958" y="8565"/>
                  </a:cubicBezTo>
                  <a:cubicBezTo>
                    <a:pt x="20930" y="8527"/>
                    <a:pt x="20916" y="8508"/>
                    <a:pt x="20889" y="8470"/>
                  </a:cubicBezTo>
                  <a:cubicBezTo>
                    <a:pt x="20862" y="8432"/>
                    <a:pt x="20821" y="8376"/>
                    <a:pt x="20780" y="8338"/>
                  </a:cubicBezTo>
                  <a:cubicBezTo>
                    <a:pt x="20752" y="8300"/>
                    <a:pt x="20725" y="8282"/>
                    <a:pt x="20698" y="8244"/>
                  </a:cubicBezTo>
                  <a:cubicBezTo>
                    <a:pt x="20670" y="8206"/>
                    <a:pt x="20629" y="8168"/>
                    <a:pt x="20588" y="8131"/>
                  </a:cubicBezTo>
                  <a:cubicBezTo>
                    <a:pt x="20561" y="8093"/>
                    <a:pt x="20520" y="8074"/>
                    <a:pt x="20479" y="8036"/>
                  </a:cubicBezTo>
                  <a:cubicBezTo>
                    <a:pt x="20452" y="8017"/>
                    <a:pt x="20411" y="7980"/>
                    <a:pt x="20383" y="7961"/>
                  </a:cubicBezTo>
                  <a:cubicBezTo>
                    <a:pt x="20342" y="7923"/>
                    <a:pt x="20301" y="7904"/>
                    <a:pt x="20247" y="7867"/>
                  </a:cubicBezTo>
                  <a:cubicBezTo>
                    <a:pt x="20219" y="7848"/>
                    <a:pt x="20192" y="7829"/>
                    <a:pt x="20165" y="7810"/>
                  </a:cubicBezTo>
                  <a:cubicBezTo>
                    <a:pt x="20110" y="7772"/>
                    <a:pt x="20055" y="7753"/>
                    <a:pt x="20001" y="7716"/>
                  </a:cubicBezTo>
                  <a:cubicBezTo>
                    <a:pt x="19987" y="7697"/>
                    <a:pt x="19959" y="7697"/>
                    <a:pt x="19946" y="7678"/>
                  </a:cubicBezTo>
                  <a:cubicBezTo>
                    <a:pt x="19877" y="7640"/>
                    <a:pt x="19823" y="7621"/>
                    <a:pt x="19754" y="7602"/>
                  </a:cubicBezTo>
                  <a:cubicBezTo>
                    <a:pt x="19741" y="7602"/>
                    <a:pt x="19727" y="7584"/>
                    <a:pt x="19713" y="7584"/>
                  </a:cubicBezTo>
                  <a:cubicBezTo>
                    <a:pt x="19645" y="7565"/>
                    <a:pt x="19577" y="7546"/>
                    <a:pt x="19495" y="7527"/>
                  </a:cubicBezTo>
                  <a:cubicBezTo>
                    <a:pt x="19481" y="7527"/>
                    <a:pt x="19481" y="7527"/>
                    <a:pt x="19467" y="7527"/>
                  </a:cubicBezTo>
                  <a:cubicBezTo>
                    <a:pt x="19385" y="7508"/>
                    <a:pt x="19303" y="7508"/>
                    <a:pt x="19221" y="7508"/>
                  </a:cubicBezTo>
                  <a:cubicBezTo>
                    <a:pt x="18579" y="7508"/>
                    <a:pt x="17977" y="7848"/>
                    <a:pt x="17526" y="8489"/>
                  </a:cubicBezTo>
                  <a:cubicBezTo>
                    <a:pt x="17362" y="8697"/>
                    <a:pt x="17157" y="8829"/>
                    <a:pt x="16952" y="8904"/>
                  </a:cubicBezTo>
                  <a:cubicBezTo>
                    <a:pt x="16938" y="8904"/>
                    <a:pt x="16938" y="8904"/>
                    <a:pt x="16925" y="8923"/>
                  </a:cubicBezTo>
                  <a:cubicBezTo>
                    <a:pt x="16884" y="8942"/>
                    <a:pt x="16843" y="8942"/>
                    <a:pt x="16802" y="8942"/>
                  </a:cubicBezTo>
                  <a:cubicBezTo>
                    <a:pt x="16788" y="8942"/>
                    <a:pt x="16774" y="8942"/>
                    <a:pt x="16761" y="8942"/>
                  </a:cubicBezTo>
                  <a:cubicBezTo>
                    <a:pt x="16597" y="8942"/>
                    <a:pt x="16432" y="8904"/>
                    <a:pt x="16282" y="8829"/>
                  </a:cubicBezTo>
                  <a:cubicBezTo>
                    <a:pt x="15913" y="8621"/>
                    <a:pt x="15667" y="8149"/>
                    <a:pt x="15653" y="7621"/>
                  </a:cubicBezTo>
                  <a:lnTo>
                    <a:pt x="15653" y="0"/>
                  </a:lnTo>
                  <a:lnTo>
                    <a:pt x="5427" y="0"/>
                  </a:lnTo>
                  <a:cubicBezTo>
                    <a:pt x="2433" y="0"/>
                    <a:pt x="0" y="3358"/>
                    <a:pt x="0" y="7489"/>
                  </a:cubicBezTo>
                  <a:lnTo>
                    <a:pt x="0" y="21600"/>
                  </a:lnTo>
                  <a:lnTo>
                    <a:pt x="5509" y="21600"/>
                  </a:lnTo>
                  <a:cubicBezTo>
                    <a:pt x="5714" y="21581"/>
                    <a:pt x="5920" y="21392"/>
                    <a:pt x="6002" y="21072"/>
                  </a:cubicBezTo>
                  <a:cubicBezTo>
                    <a:pt x="6111" y="20694"/>
                    <a:pt x="6056" y="20279"/>
                    <a:pt x="5851" y="19959"/>
                  </a:cubicBezTo>
                  <a:cubicBezTo>
                    <a:pt x="5851" y="19959"/>
                    <a:pt x="5851" y="19959"/>
                    <a:pt x="5851" y="19959"/>
                  </a:cubicBezTo>
                  <a:cubicBezTo>
                    <a:pt x="5796" y="19883"/>
                    <a:pt x="5742" y="19789"/>
                    <a:pt x="5687" y="19714"/>
                  </a:cubicBezTo>
                  <a:cubicBezTo>
                    <a:pt x="5673" y="19695"/>
                    <a:pt x="5673" y="19676"/>
                    <a:pt x="5660" y="19657"/>
                  </a:cubicBezTo>
                  <a:cubicBezTo>
                    <a:pt x="5619" y="19581"/>
                    <a:pt x="5564" y="19487"/>
                    <a:pt x="5523" y="19412"/>
                  </a:cubicBezTo>
                  <a:cubicBezTo>
                    <a:pt x="5509" y="19393"/>
                    <a:pt x="5496" y="19355"/>
                    <a:pt x="5482" y="19336"/>
                  </a:cubicBezTo>
                  <a:cubicBezTo>
                    <a:pt x="5441" y="19261"/>
                    <a:pt x="5414" y="19185"/>
                    <a:pt x="5373" y="19091"/>
                  </a:cubicBezTo>
                  <a:cubicBezTo>
                    <a:pt x="5359" y="19053"/>
                    <a:pt x="5345" y="19016"/>
                    <a:pt x="5332" y="18997"/>
                  </a:cubicBezTo>
                  <a:cubicBezTo>
                    <a:pt x="5304" y="18921"/>
                    <a:pt x="5277" y="18846"/>
                    <a:pt x="5250" y="18770"/>
                  </a:cubicBezTo>
                  <a:cubicBezTo>
                    <a:pt x="5236" y="18733"/>
                    <a:pt x="5222" y="18676"/>
                    <a:pt x="5209" y="18638"/>
                  </a:cubicBezTo>
                  <a:cubicBezTo>
                    <a:pt x="5195" y="18563"/>
                    <a:pt x="5168" y="18506"/>
                    <a:pt x="5154" y="18431"/>
                  </a:cubicBezTo>
                  <a:cubicBezTo>
                    <a:pt x="5140" y="18393"/>
                    <a:pt x="5140" y="18336"/>
                    <a:pt x="5127" y="18299"/>
                  </a:cubicBezTo>
                  <a:cubicBezTo>
                    <a:pt x="5113" y="18223"/>
                    <a:pt x="5099" y="18129"/>
                    <a:pt x="5086" y="18053"/>
                  </a:cubicBezTo>
                  <a:cubicBezTo>
                    <a:pt x="5086" y="18016"/>
                    <a:pt x="5072" y="17978"/>
                    <a:pt x="5072" y="17940"/>
                  </a:cubicBezTo>
                  <a:cubicBezTo>
                    <a:pt x="5058" y="17846"/>
                    <a:pt x="5045" y="17752"/>
                    <a:pt x="5045" y="17657"/>
                  </a:cubicBezTo>
                  <a:cubicBezTo>
                    <a:pt x="5045" y="17620"/>
                    <a:pt x="5045" y="17601"/>
                    <a:pt x="5045" y="17563"/>
                  </a:cubicBezTo>
                  <a:cubicBezTo>
                    <a:pt x="5045" y="17450"/>
                    <a:pt x="5031" y="17355"/>
                    <a:pt x="5031" y="17242"/>
                  </a:cubicBezTo>
                  <a:cubicBezTo>
                    <a:pt x="5031" y="17242"/>
                    <a:pt x="5031" y="17223"/>
                    <a:pt x="5031" y="17223"/>
                  </a:cubicBezTo>
                  <a:cubicBezTo>
                    <a:pt x="5031" y="17204"/>
                    <a:pt x="5031" y="17204"/>
                    <a:pt x="5031" y="17186"/>
                  </a:cubicBezTo>
                  <a:cubicBezTo>
                    <a:pt x="5031" y="17072"/>
                    <a:pt x="5031" y="16959"/>
                    <a:pt x="5045" y="16846"/>
                  </a:cubicBezTo>
                  <a:cubicBezTo>
                    <a:pt x="5045" y="16846"/>
                    <a:pt x="5045" y="16846"/>
                    <a:pt x="5045" y="16846"/>
                  </a:cubicBezTo>
                  <a:cubicBezTo>
                    <a:pt x="5045" y="16846"/>
                    <a:pt x="5045" y="16827"/>
                    <a:pt x="5045" y="16827"/>
                  </a:cubicBezTo>
                  <a:cubicBezTo>
                    <a:pt x="5058" y="16714"/>
                    <a:pt x="5072" y="16601"/>
                    <a:pt x="5086" y="16488"/>
                  </a:cubicBezTo>
                  <a:cubicBezTo>
                    <a:pt x="5086" y="16469"/>
                    <a:pt x="5099" y="16450"/>
                    <a:pt x="5099" y="16412"/>
                  </a:cubicBezTo>
                  <a:cubicBezTo>
                    <a:pt x="5113" y="16318"/>
                    <a:pt x="5127" y="16224"/>
                    <a:pt x="5154" y="16129"/>
                  </a:cubicBezTo>
                  <a:cubicBezTo>
                    <a:pt x="5154" y="16110"/>
                    <a:pt x="5168" y="16073"/>
                    <a:pt x="5168" y="16054"/>
                  </a:cubicBezTo>
                  <a:cubicBezTo>
                    <a:pt x="5195" y="15959"/>
                    <a:pt x="5209" y="15865"/>
                    <a:pt x="5236" y="15790"/>
                  </a:cubicBezTo>
                  <a:cubicBezTo>
                    <a:pt x="5250" y="15771"/>
                    <a:pt x="5250" y="15733"/>
                    <a:pt x="5263" y="15714"/>
                  </a:cubicBezTo>
                  <a:cubicBezTo>
                    <a:pt x="5291" y="15620"/>
                    <a:pt x="5318" y="15544"/>
                    <a:pt x="5359" y="15450"/>
                  </a:cubicBezTo>
                  <a:cubicBezTo>
                    <a:pt x="5373" y="15431"/>
                    <a:pt x="5373" y="15412"/>
                    <a:pt x="5386" y="15394"/>
                  </a:cubicBezTo>
                  <a:cubicBezTo>
                    <a:pt x="5427" y="15299"/>
                    <a:pt x="5468" y="15205"/>
                    <a:pt x="5509" y="15111"/>
                  </a:cubicBezTo>
                  <a:cubicBezTo>
                    <a:pt x="5509" y="15111"/>
                    <a:pt x="5523" y="15092"/>
                    <a:pt x="5523" y="15092"/>
                  </a:cubicBezTo>
                  <a:cubicBezTo>
                    <a:pt x="5673" y="14790"/>
                    <a:pt x="5851" y="14507"/>
                    <a:pt x="6056" y="14281"/>
                  </a:cubicBezTo>
                  <a:cubicBezTo>
                    <a:pt x="6056" y="14281"/>
                    <a:pt x="6070" y="14281"/>
                    <a:pt x="6070" y="14262"/>
                  </a:cubicBezTo>
                  <a:cubicBezTo>
                    <a:pt x="6138" y="14186"/>
                    <a:pt x="6193" y="14130"/>
                    <a:pt x="6261" y="14054"/>
                  </a:cubicBezTo>
                  <a:cubicBezTo>
                    <a:pt x="6275" y="14054"/>
                    <a:pt x="6275" y="14035"/>
                    <a:pt x="6289" y="14035"/>
                  </a:cubicBezTo>
                  <a:cubicBezTo>
                    <a:pt x="6357" y="13979"/>
                    <a:pt x="6425" y="13922"/>
                    <a:pt x="6494" y="13865"/>
                  </a:cubicBezTo>
                  <a:cubicBezTo>
                    <a:pt x="6507" y="13865"/>
                    <a:pt x="6507" y="13847"/>
                    <a:pt x="6521" y="13847"/>
                  </a:cubicBezTo>
                  <a:cubicBezTo>
                    <a:pt x="6589" y="13790"/>
                    <a:pt x="6658" y="13752"/>
                    <a:pt x="6740" y="13696"/>
                  </a:cubicBezTo>
                  <a:cubicBezTo>
                    <a:pt x="6753" y="13696"/>
                    <a:pt x="6753" y="13696"/>
                    <a:pt x="6767" y="13677"/>
                  </a:cubicBezTo>
                  <a:cubicBezTo>
                    <a:pt x="6999" y="13545"/>
                    <a:pt x="7259" y="13450"/>
                    <a:pt x="7519" y="13394"/>
                  </a:cubicBezTo>
                  <a:cubicBezTo>
                    <a:pt x="7533" y="13394"/>
                    <a:pt x="7533" y="13394"/>
                    <a:pt x="7546" y="13394"/>
                  </a:cubicBezTo>
                  <a:cubicBezTo>
                    <a:pt x="7560" y="13394"/>
                    <a:pt x="7560" y="13394"/>
                    <a:pt x="7574" y="13394"/>
                  </a:cubicBezTo>
                  <a:cubicBezTo>
                    <a:pt x="7656" y="13375"/>
                    <a:pt x="7751" y="13375"/>
                    <a:pt x="7833" y="13375"/>
                  </a:cubicBezTo>
                  <a:cubicBezTo>
                    <a:pt x="7833" y="13375"/>
                    <a:pt x="7847" y="13375"/>
                    <a:pt x="7847" y="13375"/>
                  </a:cubicBezTo>
                  <a:cubicBezTo>
                    <a:pt x="7902" y="13375"/>
                    <a:pt x="7943" y="13375"/>
                    <a:pt x="7997" y="13394"/>
                  </a:cubicBezTo>
                  <a:cubicBezTo>
                    <a:pt x="8038" y="13394"/>
                    <a:pt x="8066" y="13394"/>
                    <a:pt x="8107" y="13394"/>
                  </a:cubicBezTo>
                  <a:cubicBezTo>
                    <a:pt x="8175" y="13394"/>
                    <a:pt x="8230" y="13413"/>
                    <a:pt x="8298" y="13432"/>
                  </a:cubicBezTo>
                  <a:cubicBezTo>
                    <a:pt x="8326" y="13432"/>
                    <a:pt x="8353" y="13432"/>
                    <a:pt x="8367" y="13450"/>
                  </a:cubicBezTo>
                  <a:cubicBezTo>
                    <a:pt x="8421" y="13469"/>
                    <a:pt x="8490" y="13488"/>
                    <a:pt x="8544" y="13507"/>
                  </a:cubicBezTo>
                  <a:cubicBezTo>
                    <a:pt x="8572" y="13507"/>
                    <a:pt x="8599" y="13526"/>
                    <a:pt x="8626" y="13526"/>
                  </a:cubicBezTo>
                  <a:cubicBezTo>
                    <a:pt x="8681" y="13545"/>
                    <a:pt x="8736" y="13564"/>
                    <a:pt x="8790" y="13601"/>
                  </a:cubicBezTo>
                  <a:cubicBezTo>
                    <a:pt x="8818" y="13620"/>
                    <a:pt x="8859" y="13639"/>
                    <a:pt x="8886" y="13658"/>
                  </a:cubicBezTo>
                  <a:cubicBezTo>
                    <a:pt x="8927" y="13677"/>
                    <a:pt x="8968" y="13715"/>
                    <a:pt x="9023" y="13733"/>
                  </a:cubicBezTo>
                  <a:cubicBezTo>
                    <a:pt x="9064" y="13752"/>
                    <a:pt x="9105" y="13790"/>
                    <a:pt x="9146" y="13809"/>
                  </a:cubicBezTo>
                  <a:cubicBezTo>
                    <a:pt x="9173" y="13828"/>
                    <a:pt x="9214" y="13865"/>
                    <a:pt x="9241" y="13884"/>
                  </a:cubicBezTo>
                  <a:cubicBezTo>
                    <a:pt x="9296" y="13922"/>
                    <a:pt x="9337" y="13960"/>
                    <a:pt x="9378" y="13997"/>
                  </a:cubicBezTo>
                  <a:cubicBezTo>
                    <a:pt x="9406" y="14016"/>
                    <a:pt x="9419" y="14035"/>
                    <a:pt x="9447" y="14054"/>
                  </a:cubicBezTo>
                  <a:cubicBezTo>
                    <a:pt x="9501" y="14111"/>
                    <a:pt x="9556" y="14148"/>
                    <a:pt x="9597" y="14205"/>
                  </a:cubicBezTo>
                  <a:cubicBezTo>
                    <a:pt x="9611" y="14224"/>
                    <a:pt x="9624" y="14243"/>
                    <a:pt x="9652" y="14262"/>
                  </a:cubicBezTo>
                  <a:cubicBezTo>
                    <a:pt x="9679" y="14280"/>
                    <a:pt x="9693" y="14318"/>
                    <a:pt x="9720" y="14337"/>
                  </a:cubicBezTo>
                  <a:cubicBezTo>
                    <a:pt x="9966" y="14639"/>
                    <a:pt x="10157" y="14978"/>
                    <a:pt x="10308" y="15356"/>
                  </a:cubicBezTo>
                  <a:cubicBezTo>
                    <a:pt x="10308" y="15356"/>
                    <a:pt x="10322" y="15375"/>
                    <a:pt x="10322" y="15375"/>
                  </a:cubicBezTo>
                  <a:cubicBezTo>
                    <a:pt x="10363" y="15469"/>
                    <a:pt x="10390" y="15582"/>
                    <a:pt x="10431" y="15676"/>
                  </a:cubicBezTo>
                  <a:cubicBezTo>
                    <a:pt x="10431" y="15695"/>
                    <a:pt x="10445" y="15714"/>
                    <a:pt x="10445" y="15733"/>
                  </a:cubicBezTo>
                  <a:cubicBezTo>
                    <a:pt x="10472" y="15827"/>
                    <a:pt x="10499" y="15941"/>
                    <a:pt x="10527" y="16035"/>
                  </a:cubicBezTo>
                  <a:cubicBezTo>
                    <a:pt x="10527" y="16054"/>
                    <a:pt x="10540" y="16073"/>
                    <a:pt x="10540" y="16091"/>
                  </a:cubicBezTo>
                  <a:cubicBezTo>
                    <a:pt x="10568" y="16205"/>
                    <a:pt x="10581" y="16299"/>
                    <a:pt x="10595" y="16412"/>
                  </a:cubicBezTo>
                  <a:cubicBezTo>
                    <a:pt x="10595" y="16431"/>
                    <a:pt x="10595" y="16431"/>
                    <a:pt x="10595" y="16450"/>
                  </a:cubicBezTo>
                  <a:cubicBezTo>
                    <a:pt x="10609" y="16563"/>
                    <a:pt x="10622" y="16676"/>
                    <a:pt x="10636" y="16808"/>
                  </a:cubicBezTo>
                  <a:cubicBezTo>
                    <a:pt x="10636" y="16808"/>
                    <a:pt x="10636" y="16808"/>
                    <a:pt x="10636" y="16808"/>
                  </a:cubicBezTo>
                  <a:cubicBezTo>
                    <a:pt x="10650" y="16940"/>
                    <a:pt x="10650" y="17072"/>
                    <a:pt x="10650" y="17204"/>
                  </a:cubicBezTo>
                  <a:cubicBezTo>
                    <a:pt x="10650" y="18242"/>
                    <a:pt x="10363" y="19204"/>
                    <a:pt x="9829" y="19940"/>
                  </a:cubicBezTo>
                  <a:cubicBezTo>
                    <a:pt x="9624" y="20242"/>
                    <a:pt x="9570" y="20657"/>
                    <a:pt x="9679" y="21034"/>
                  </a:cubicBezTo>
                  <a:cubicBezTo>
                    <a:pt x="9734" y="21223"/>
                    <a:pt x="9829" y="21374"/>
                    <a:pt x="9952" y="21468"/>
                  </a:cubicBezTo>
                  <a:cubicBezTo>
                    <a:pt x="10021" y="21525"/>
                    <a:pt x="10103" y="21543"/>
                    <a:pt x="10185" y="21562"/>
                  </a:cubicBezTo>
                  <a:lnTo>
                    <a:pt x="15681" y="21562"/>
                  </a:lnTo>
                  <a:lnTo>
                    <a:pt x="15681" y="13960"/>
                  </a:lnTo>
                  <a:cubicBezTo>
                    <a:pt x="15681" y="13545"/>
                    <a:pt x="15927" y="13092"/>
                    <a:pt x="16296" y="12885"/>
                  </a:cubicBezTo>
                  <a:close/>
                </a:path>
              </a:pathLst>
            </a:custGeom>
            <a:solidFill>
              <a:schemeClr val="bg1">
                <a:lumMod val="65000"/>
              </a:schemeClr>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3000">
                <a:solidFill>
                  <a:srgbClr val="FFFFFF"/>
                </a:solidFill>
              </a:endParaRPr>
            </a:p>
          </p:txBody>
        </p:sp>
      </p:grpSp>
      <p:sp>
        <p:nvSpPr>
          <p:cNvPr id="15" name="Freeform: Shape 36">
            <a:extLst>
              <a:ext uri="{FF2B5EF4-FFF2-40B4-BE49-F238E27FC236}">
                <a16:creationId xmlns:a16="http://schemas.microsoft.com/office/drawing/2014/main" id="{8813AF8C-539A-0A98-02AE-838A3DD5050B}"/>
              </a:ext>
            </a:extLst>
          </p:cNvPr>
          <p:cNvSpPr/>
          <p:nvPr/>
        </p:nvSpPr>
        <p:spPr>
          <a:xfrm>
            <a:off x="8849909" y="1354251"/>
            <a:ext cx="1263335" cy="2209845"/>
          </a:xfrm>
          <a:custGeom>
            <a:avLst/>
            <a:gdLst>
              <a:gd name="connsiteX0" fmla="*/ 869780 w 1263335"/>
              <a:gd name="connsiteY0" fmla="*/ 0 h 2209845"/>
              <a:gd name="connsiteX1" fmla="*/ 1137521 w 1263335"/>
              <a:gd name="connsiteY1" fmla="*/ 560836 h 2209845"/>
              <a:gd name="connsiteX2" fmla="*/ 1263335 w 1263335"/>
              <a:gd name="connsiteY2" fmla="*/ 724356 h 2209845"/>
              <a:gd name="connsiteX3" fmla="*/ 761508 w 1263335"/>
              <a:gd name="connsiteY3" fmla="*/ 1181071 h 2209845"/>
              <a:gd name="connsiteX4" fmla="*/ 906415 w 1263335"/>
              <a:gd name="connsiteY4" fmla="*/ 1557947 h 2209845"/>
              <a:gd name="connsiteX5" fmla="*/ 1053352 w 1263335"/>
              <a:gd name="connsiteY5" fmla="*/ 1664985 h 2209845"/>
              <a:gd name="connsiteX6" fmla="*/ 1126842 w 1263335"/>
              <a:gd name="connsiteY6" fmla="*/ 1790984 h 2209845"/>
              <a:gd name="connsiteX7" fmla="*/ 1085911 w 1263335"/>
              <a:gd name="connsiteY7" fmla="*/ 1930582 h 2209845"/>
              <a:gd name="connsiteX8" fmla="*/ 1079611 w 1263335"/>
              <a:gd name="connsiteY8" fmla="*/ 1937942 h 2209845"/>
              <a:gd name="connsiteX9" fmla="*/ 687003 w 1263335"/>
              <a:gd name="connsiteY9" fmla="*/ 1733225 h 2209845"/>
              <a:gd name="connsiteX10" fmla="*/ 521749 w 1263335"/>
              <a:gd name="connsiteY10" fmla="*/ 1448275 h 2209845"/>
              <a:gd name="connsiteX11" fmla="*/ 560073 w 1263335"/>
              <a:gd name="connsiteY11" fmla="*/ 1689099 h 2209845"/>
              <a:gd name="connsiteX12" fmla="*/ 714409 w 1263335"/>
              <a:gd name="connsiteY12" fmla="*/ 1861283 h 2209845"/>
              <a:gd name="connsiteX13" fmla="*/ 773162 w 1263335"/>
              <a:gd name="connsiteY13" fmla="*/ 2037661 h 2209845"/>
              <a:gd name="connsiteX14" fmla="*/ 683910 w 1263335"/>
              <a:gd name="connsiteY14" fmla="*/ 2201456 h 2209845"/>
              <a:gd name="connsiteX15" fmla="*/ 673437 w 1263335"/>
              <a:gd name="connsiteY15" fmla="*/ 2209845 h 2209845"/>
              <a:gd name="connsiteX16" fmla="*/ 238800 w 1263335"/>
              <a:gd name="connsiteY16" fmla="*/ 1850848 h 2209845"/>
              <a:gd name="connsiteX17" fmla="*/ 20474 w 1263335"/>
              <a:gd name="connsiteY17" fmla="*/ 1178891 h 2209845"/>
              <a:gd name="connsiteX18" fmla="*/ 80321 w 1263335"/>
              <a:gd name="connsiteY18" fmla="*/ 854576 h 2209845"/>
              <a:gd name="connsiteX19" fmla="*/ 757452 w 1263335"/>
              <a:gd name="connsiteY19" fmla="*/ 179550 h 2209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63335" h="2209845">
                <a:moveTo>
                  <a:pt x="869780" y="0"/>
                </a:moveTo>
                <a:lnTo>
                  <a:pt x="1137521" y="560836"/>
                </a:lnTo>
                <a:lnTo>
                  <a:pt x="1263335" y="724356"/>
                </a:lnTo>
                <a:lnTo>
                  <a:pt x="761508" y="1181071"/>
                </a:lnTo>
                <a:lnTo>
                  <a:pt x="906415" y="1557947"/>
                </a:lnTo>
                <a:lnTo>
                  <a:pt x="1053352" y="1664985"/>
                </a:lnTo>
                <a:cubicBezTo>
                  <a:pt x="1095383" y="1696505"/>
                  <a:pt x="1120542" y="1738504"/>
                  <a:pt x="1126842" y="1790984"/>
                </a:cubicBezTo>
                <a:cubicBezTo>
                  <a:pt x="1133142" y="1843463"/>
                  <a:pt x="1119527" y="1890663"/>
                  <a:pt x="1085911" y="1930582"/>
                </a:cubicBezTo>
                <a:lnTo>
                  <a:pt x="1079611" y="1937942"/>
                </a:lnTo>
                <a:lnTo>
                  <a:pt x="687003" y="1733225"/>
                </a:lnTo>
                <a:lnTo>
                  <a:pt x="521749" y="1448275"/>
                </a:lnTo>
                <a:lnTo>
                  <a:pt x="560073" y="1689099"/>
                </a:lnTo>
                <a:lnTo>
                  <a:pt x="714409" y="1861283"/>
                </a:lnTo>
                <a:cubicBezTo>
                  <a:pt x="758488" y="1911721"/>
                  <a:pt x="778399" y="1970445"/>
                  <a:pt x="773162" y="2037661"/>
                </a:cubicBezTo>
                <a:cubicBezTo>
                  <a:pt x="766890" y="2104877"/>
                  <a:pt x="737484" y="2159407"/>
                  <a:pt x="683910" y="2201456"/>
                </a:cubicBezTo>
                <a:lnTo>
                  <a:pt x="673437" y="2209845"/>
                </a:lnTo>
                <a:lnTo>
                  <a:pt x="238800" y="1850848"/>
                </a:lnTo>
                <a:lnTo>
                  <a:pt x="20474" y="1178891"/>
                </a:lnTo>
                <a:cubicBezTo>
                  <a:pt x="-17333" y="1063488"/>
                  <a:pt x="-5766" y="940617"/>
                  <a:pt x="80321" y="854576"/>
                </a:cubicBezTo>
                <a:lnTo>
                  <a:pt x="757452" y="179550"/>
                </a:lnTo>
                <a:close/>
              </a:path>
            </a:pathLst>
          </a:custGeom>
          <a:solidFill>
            <a:srgbClr val="EB9364"/>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16" name="Shape">
            <a:extLst>
              <a:ext uri="{FF2B5EF4-FFF2-40B4-BE49-F238E27FC236}">
                <a16:creationId xmlns:a16="http://schemas.microsoft.com/office/drawing/2014/main" id="{C19AFCC2-0329-C704-8856-4D7D1762B013}"/>
              </a:ext>
            </a:extLst>
          </p:cNvPr>
          <p:cNvSpPr/>
          <p:nvPr/>
        </p:nvSpPr>
        <p:spPr>
          <a:xfrm>
            <a:off x="8828901" y="2781989"/>
            <a:ext cx="2094180" cy="1732192"/>
          </a:xfrm>
          <a:custGeom>
            <a:avLst/>
            <a:gdLst/>
            <a:ahLst/>
            <a:cxnLst>
              <a:cxn ang="0">
                <a:pos x="wd2" y="hd2"/>
              </a:cxn>
              <a:cxn ang="5400000">
                <a:pos x="wd2" y="hd2"/>
              </a:cxn>
              <a:cxn ang="10800000">
                <a:pos x="wd2" y="hd2"/>
              </a:cxn>
              <a:cxn ang="16200000">
                <a:pos x="wd2" y="hd2"/>
              </a:cxn>
            </a:cxnLst>
            <a:rect l="0" t="0" r="r" b="b"/>
            <a:pathLst>
              <a:path w="21405" h="21496" extrusionOk="0">
                <a:moveTo>
                  <a:pt x="9807" y="20727"/>
                </a:moveTo>
                <a:lnTo>
                  <a:pt x="5536" y="21496"/>
                </a:lnTo>
                <a:lnTo>
                  <a:pt x="4903" y="16298"/>
                </a:lnTo>
                <a:lnTo>
                  <a:pt x="4903" y="16298"/>
                </a:lnTo>
                <a:cubicBezTo>
                  <a:pt x="4849" y="15933"/>
                  <a:pt x="4624" y="15660"/>
                  <a:pt x="4313" y="15555"/>
                </a:cubicBezTo>
                <a:cubicBezTo>
                  <a:pt x="4013" y="15464"/>
                  <a:pt x="3701" y="15568"/>
                  <a:pt x="3476" y="15816"/>
                </a:cubicBezTo>
                <a:cubicBezTo>
                  <a:pt x="3476" y="15816"/>
                  <a:pt x="3476" y="15816"/>
                  <a:pt x="3476" y="15816"/>
                </a:cubicBezTo>
                <a:cubicBezTo>
                  <a:pt x="3444" y="15855"/>
                  <a:pt x="3412" y="15894"/>
                  <a:pt x="3379" y="15933"/>
                </a:cubicBezTo>
                <a:cubicBezTo>
                  <a:pt x="3111" y="16376"/>
                  <a:pt x="2746" y="16676"/>
                  <a:pt x="2328" y="16793"/>
                </a:cubicBezTo>
                <a:cubicBezTo>
                  <a:pt x="2263" y="16806"/>
                  <a:pt x="2210" y="16832"/>
                  <a:pt x="2145" y="16832"/>
                </a:cubicBezTo>
                <a:cubicBezTo>
                  <a:pt x="2017" y="16858"/>
                  <a:pt x="1888" y="16858"/>
                  <a:pt x="1770" y="16858"/>
                </a:cubicBezTo>
                <a:cubicBezTo>
                  <a:pt x="901" y="16806"/>
                  <a:pt x="160" y="16011"/>
                  <a:pt x="21" y="14930"/>
                </a:cubicBezTo>
                <a:cubicBezTo>
                  <a:pt x="-65" y="14240"/>
                  <a:pt x="117" y="13562"/>
                  <a:pt x="482" y="13080"/>
                </a:cubicBezTo>
                <a:cubicBezTo>
                  <a:pt x="525" y="13028"/>
                  <a:pt x="568" y="12976"/>
                  <a:pt x="611" y="12924"/>
                </a:cubicBezTo>
                <a:cubicBezTo>
                  <a:pt x="740" y="12780"/>
                  <a:pt x="890" y="12650"/>
                  <a:pt x="1062" y="12559"/>
                </a:cubicBezTo>
                <a:cubicBezTo>
                  <a:pt x="1223" y="12468"/>
                  <a:pt x="1405" y="12390"/>
                  <a:pt x="1598" y="12364"/>
                </a:cubicBezTo>
                <a:cubicBezTo>
                  <a:pt x="2092" y="12272"/>
                  <a:pt x="2585" y="12429"/>
                  <a:pt x="2993" y="12793"/>
                </a:cubicBezTo>
                <a:cubicBezTo>
                  <a:pt x="3304" y="13041"/>
                  <a:pt x="3680" y="13067"/>
                  <a:pt x="3991" y="12846"/>
                </a:cubicBezTo>
                <a:cubicBezTo>
                  <a:pt x="4259" y="12650"/>
                  <a:pt x="4410" y="12298"/>
                  <a:pt x="4377" y="11934"/>
                </a:cubicBezTo>
                <a:lnTo>
                  <a:pt x="3744" y="6736"/>
                </a:lnTo>
                <a:lnTo>
                  <a:pt x="8026" y="5967"/>
                </a:lnTo>
                <a:lnTo>
                  <a:pt x="8026" y="5967"/>
                </a:lnTo>
                <a:cubicBezTo>
                  <a:pt x="8326" y="5902"/>
                  <a:pt x="8551" y="5628"/>
                  <a:pt x="8637" y="5250"/>
                </a:cubicBezTo>
                <a:cubicBezTo>
                  <a:pt x="8691" y="5003"/>
                  <a:pt x="8669" y="4755"/>
                  <a:pt x="8584" y="4534"/>
                </a:cubicBezTo>
                <a:cubicBezTo>
                  <a:pt x="8530" y="4378"/>
                  <a:pt x="8433" y="4234"/>
                  <a:pt x="8315" y="4104"/>
                </a:cubicBezTo>
                <a:cubicBezTo>
                  <a:pt x="8058" y="3869"/>
                  <a:pt x="7854" y="3583"/>
                  <a:pt x="7725" y="3244"/>
                </a:cubicBezTo>
                <a:cubicBezTo>
                  <a:pt x="7650" y="3049"/>
                  <a:pt x="7596" y="2827"/>
                  <a:pt x="7564" y="2606"/>
                </a:cubicBezTo>
                <a:cubicBezTo>
                  <a:pt x="7553" y="2528"/>
                  <a:pt x="7553" y="2449"/>
                  <a:pt x="7543" y="2371"/>
                </a:cubicBezTo>
                <a:cubicBezTo>
                  <a:pt x="7500" y="1225"/>
                  <a:pt x="8176" y="196"/>
                  <a:pt x="9131" y="26"/>
                </a:cubicBezTo>
                <a:cubicBezTo>
                  <a:pt x="9828" y="-104"/>
                  <a:pt x="10504" y="261"/>
                  <a:pt x="10901" y="912"/>
                </a:cubicBezTo>
                <a:cubicBezTo>
                  <a:pt x="10901" y="912"/>
                  <a:pt x="10901" y="912"/>
                  <a:pt x="10901" y="912"/>
                </a:cubicBezTo>
                <a:cubicBezTo>
                  <a:pt x="10976" y="1029"/>
                  <a:pt x="11030" y="1147"/>
                  <a:pt x="11084" y="1277"/>
                </a:cubicBezTo>
                <a:cubicBezTo>
                  <a:pt x="11159" y="1472"/>
                  <a:pt x="11223" y="1694"/>
                  <a:pt x="11245" y="1928"/>
                </a:cubicBezTo>
                <a:cubicBezTo>
                  <a:pt x="11288" y="2306"/>
                  <a:pt x="11255" y="2684"/>
                  <a:pt x="11159" y="3036"/>
                </a:cubicBezTo>
                <a:cubicBezTo>
                  <a:pt x="11094" y="3244"/>
                  <a:pt x="11009" y="3440"/>
                  <a:pt x="10891" y="3622"/>
                </a:cubicBezTo>
                <a:cubicBezTo>
                  <a:pt x="10697" y="3961"/>
                  <a:pt x="10676" y="4378"/>
                  <a:pt x="10805" y="4729"/>
                </a:cubicBezTo>
                <a:cubicBezTo>
                  <a:pt x="10816" y="4768"/>
                  <a:pt x="10837" y="4794"/>
                  <a:pt x="10848" y="4834"/>
                </a:cubicBezTo>
                <a:cubicBezTo>
                  <a:pt x="10987" y="5120"/>
                  <a:pt x="11223" y="5303"/>
                  <a:pt x="11481" y="5316"/>
                </a:cubicBezTo>
                <a:cubicBezTo>
                  <a:pt x="11513" y="5316"/>
                  <a:pt x="11556" y="5316"/>
                  <a:pt x="11588" y="5316"/>
                </a:cubicBezTo>
                <a:lnTo>
                  <a:pt x="15869" y="4547"/>
                </a:lnTo>
                <a:lnTo>
                  <a:pt x="16503" y="9745"/>
                </a:lnTo>
                <a:cubicBezTo>
                  <a:pt x="16556" y="10110"/>
                  <a:pt x="16782" y="10383"/>
                  <a:pt x="17093" y="10488"/>
                </a:cubicBezTo>
                <a:cubicBezTo>
                  <a:pt x="17436" y="10592"/>
                  <a:pt x="17790" y="10448"/>
                  <a:pt x="18026" y="10097"/>
                </a:cubicBezTo>
                <a:cubicBezTo>
                  <a:pt x="18327" y="9602"/>
                  <a:pt x="18767" y="9276"/>
                  <a:pt x="19260" y="9185"/>
                </a:cubicBezTo>
                <a:cubicBezTo>
                  <a:pt x="20280" y="9002"/>
                  <a:pt x="21235" y="9862"/>
                  <a:pt x="21385" y="11100"/>
                </a:cubicBezTo>
                <a:cubicBezTo>
                  <a:pt x="21535" y="12338"/>
                  <a:pt x="20827" y="13497"/>
                  <a:pt x="19807" y="13679"/>
                </a:cubicBezTo>
                <a:cubicBezTo>
                  <a:pt x="19314" y="13771"/>
                  <a:pt x="18820" y="13614"/>
                  <a:pt x="18413" y="13249"/>
                </a:cubicBezTo>
                <a:cubicBezTo>
                  <a:pt x="18101" y="13002"/>
                  <a:pt x="17726" y="12976"/>
                  <a:pt x="17415" y="13197"/>
                </a:cubicBezTo>
                <a:cubicBezTo>
                  <a:pt x="17146" y="13393"/>
                  <a:pt x="16996" y="13745"/>
                  <a:pt x="17028" y="14109"/>
                </a:cubicBezTo>
                <a:lnTo>
                  <a:pt x="17661" y="19307"/>
                </a:lnTo>
                <a:lnTo>
                  <a:pt x="13380" y="20076"/>
                </a:lnTo>
                <a:cubicBezTo>
                  <a:pt x="13294" y="20089"/>
                  <a:pt x="13219" y="20063"/>
                  <a:pt x="13144" y="20011"/>
                </a:cubicBezTo>
                <a:cubicBezTo>
                  <a:pt x="13080" y="19972"/>
                  <a:pt x="13026" y="19907"/>
                  <a:pt x="12983" y="19828"/>
                </a:cubicBezTo>
                <a:cubicBezTo>
                  <a:pt x="12972" y="19815"/>
                  <a:pt x="12962" y="19802"/>
                  <a:pt x="12962" y="19776"/>
                </a:cubicBezTo>
                <a:cubicBezTo>
                  <a:pt x="12951" y="19763"/>
                  <a:pt x="12951" y="19737"/>
                  <a:pt x="12940" y="19724"/>
                </a:cubicBezTo>
                <a:cubicBezTo>
                  <a:pt x="12844" y="19490"/>
                  <a:pt x="12854" y="19229"/>
                  <a:pt x="12983" y="18995"/>
                </a:cubicBezTo>
                <a:cubicBezTo>
                  <a:pt x="13283" y="18500"/>
                  <a:pt x="13434" y="17900"/>
                  <a:pt x="13412" y="17288"/>
                </a:cubicBezTo>
                <a:cubicBezTo>
                  <a:pt x="13412" y="17197"/>
                  <a:pt x="13401" y="17106"/>
                  <a:pt x="13391" y="17028"/>
                </a:cubicBezTo>
                <a:cubicBezTo>
                  <a:pt x="13369" y="16884"/>
                  <a:pt x="13348" y="16754"/>
                  <a:pt x="13316" y="16637"/>
                </a:cubicBezTo>
                <a:cubicBezTo>
                  <a:pt x="13305" y="16611"/>
                  <a:pt x="13305" y="16598"/>
                  <a:pt x="13305" y="16572"/>
                </a:cubicBezTo>
                <a:cubicBezTo>
                  <a:pt x="13305" y="16545"/>
                  <a:pt x="13294" y="16532"/>
                  <a:pt x="13294" y="16532"/>
                </a:cubicBezTo>
                <a:cubicBezTo>
                  <a:pt x="13294" y="16532"/>
                  <a:pt x="13294" y="16532"/>
                  <a:pt x="13294" y="16532"/>
                </a:cubicBezTo>
                <a:cubicBezTo>
                  <a:pt x="13283" y="16480"/>
                  <a:pt x="13262" y="16428"/>
                  <a:pt x="13240" y="16376"/>
                </a:cubicBezTo>
                <a:cubicBezTo>
                  <a:pt x="13230" y="16350"/>
                  <a:pt x="13219" y="16324"/>
                  <a:pt x="13208" y="16298"/>
                </a:cubicBezTo>
                <a:cubicBezTo>
                  <a:pt x="13187" y="16259"/>
                  <a:pt x="13176" y="16220"/>
                  <a:pt x="13155" y="16181"/>
                </a:cubicBezTo>
                <a:cubicBezTo>
                  <a:pt x="13144" y="16142"/>
                  <a:pt x="13122" y="16116"/>
                  <a:pt x="13112" y="16076"/>
                </a:cubicBezTo>
                <a:cubicBezTo>
                  <a:pt x="13090" y="16037"/>
                  <a:pt x="13080" y="16011"/>
                  <a:pt x="13058" y="15972"/>
                </a:cubicBezTo>
                <a:cubicBezTo>
                  <a:pt x="13037" y="15933"/>
                  <a:pt x="13015" y="15894"/>
                  <a:pt x="12994" y="15855"/>
                </a:cubicBezTo>
                <a:cubicBezTo>
                  <a:pt x="12972" y="15829"/>
                  <a:pt x="12961" y="15803"/>
                  <a:pt x="12940" y="15764"/>
                </a:cubicBezTo>
                <a:cubicBezTo>
                  <a:pt x="12919" y="15725"/>
                  <a:pt x="12886" y="15686"/>
                  <a:pt x="12865" y="15647"/>
                </a:cubicBezTo>
                <a:cubicBezTo>
                  <a:pt x="12843" y="15621"/>
                  <a:pt x="12822" y="15594"/>
                  <a:pt x="12801" y="15568"/>
                </a:cubicBezTo>
                <a:cubicBezTo>
                  <a:pt x="12779" y="15542"/>
                  <a:pt x="12747" y="15503"/>
                  <a:pt x="12725" y="15477"/>
                </a:cubicBezTo>
                <a:cubicBezTo>
                  <a:pt x="12704" y="15451"/>
                  <a:pt x="12672" y="15425"/>
                  <a:pt x="12640" y="15386"/>
                </a:cubicBezTo>
                <a:cubicBezTo>
                  <a:pt x="12618" y="15360"/>
                  <a:pt x="12597" y="15334"/>
                  <a:pt x="12564" y="15308"/>
                </a:cubicBezTo>
                <a:cubicBezTo>
                  <a:pt x="12532" y="15282"/>
                  <a:pt x="12489" y="15243"/>
                  <a:pt x="12457" y="15217"/>
                </a:cubicBezTo>
                <a:cubicBezTo>
                  <a:pt x="12436" y="15204"/>
                  <a:pt x="12414" y="15178"/>
                  <a:pt x="12393" y="15165"/>
                </a:cubicBezTo>
                <a:cubicBezTo>
                  <a:pt x="12350" y="15139"/>
                  <a:pt x="12307" y="15099"/>
                  <a:pt x="12264" y="15073"/>
                </a:cubicBezTo>
                <a:cubicBezTo>
                  <a:pt x="12253" y="15060"/>
                  <a:pt x="12243" y="15060"/>
                  <a:pt x="12232" y="15047"/>
                </a:cubicBezTo>
                <a:cubicBezTo>
                  <a:pt x="12221" y="15047"/>
                  <a:pt x="12221" y="15047"/>
                  <a:pt x="12210" y="15034"/>
                </a:cubicBezTo>
                <a:cubicBezTo>
                  <a:pt x="12178" y="15021"/>
                  <a:pt x="12146" y="14995"/>
                  <a:pt x="12114" y="14982"/>
                </a:cubicBezTo>
                <a:cubicBezTo>
                  <a:pt x="12103" y="14982"/>
                  <a:pt x="12103" y="14969"/>
                  <a:pt x="12092" y="14969"/>
                </a:cubicBezTo>
                <a:lnTo>
                  <a:pt x="12060" y="14956"/>
                </a:lnTo>
                <a:cubicBezTo>
                  <a:pt x="12049" y="14956"/>
                  <a:pt x="12039" y="14943"/>
                  <a:pt x="12039" y="14943"/>
                </a:cubicBezTo>
                <a:cubicBezTo>
                  <a:pt x="12007" y="14930"/>
                  <a:pt x="11974" y="14917"/>
                  <a:pt x="11942" y="14904"/>
                </a:cubicBezTo>
                <a:cubicBezTo>
                  <a:pt x="11942" y="14904"/>
                  <a:pt x="11931" y="14904"/>
                  <a:pt x="11931" y="14904"/>
                </a:cubicBezTo>
                <a:lnTo>
                  <a:pt x="11910" y="14891"/>
                </a:lnTo>
                <a:cubicBezTo>
                  <a:pt x="11899" y="14891"/>
                  <a:pt x="11878" y="14878"/>
                  <a:pt x="11867" y="14878"/>
                </a:cubicBezTo>
                <a:cubicBezTo>
                  <a:pt x="11803" y="14852"/>
                  <a:pt x="11749" y="14839"/>
                  <a:pt x="11685" y="14826"/>
                </a:cubicBezTo>
                <a:cubicBezTo>
                  <a:pt x="11674" y="14826"/>
                  <a:pt x="11663" y="14826"/>
                  <a:pt x="11652" y="14813"/>
                </a:cubicBezTo>
                <a:lnTo>
                  <a:pt x="11631" y="14813"/>
                </a:lnTo>
                <a:cubicBezTo>
                  <a:pt x="11620" y="14813"/>
                  <a:pt x="11610" y="14800"/>
                  <a:pt x="11588" y="14800"/>
                </a:cubicBezTo>
                <a:cubicBezTo>
                  <a:pt x="11588" y="14800"/>
                  <a:pt x="11588" y="14800"/>
                  <a:pt x="11577" y="14800"/>
                </a:cubicBezTo>
                <a:cubicBezTo>
                  <a:pt x="11556" y="14800"/>
                  <a:pt x="11534" y="14787"/>
                  <a:pt x="11513" y="14787"/>
                </a:cubicBezTo>
                <a:cubicBezTo>
                  <a:pt x="11513" y="14787"/>
                  <a:pt x="11513" y="14787"/>
                  <a:pt x="11513" y="14787"/>
                </a:cubicBezTo>
                <a:lnTo>
                  <a:pt x="11491" y="14787"/>
                </a:lnTo>
                <a:cubicBezTo>
                  <a:pt x="11459" y="14787"/>
                  <a:pt x="11427" y="14774"/>
                  <a:pt x="11384" y="14774"/>
                </a:cubicBezTo>
                <a:cubicBezTo>
                  <a:pt x="11384" y="14774"/>
                  <a:pt x="11384" y="14774"/>
                  <a:pt x="11373" y="14774"/>
                </a:cubicBezTo>
                <a:cubicBezTo>
                  <a:pt x="11352" y="14774"/>
                  <a:pt x="11320" y="14774"/>
                  <a:pt x="11298" y="14774"/>
                </a:cubicBezTo>
                <a:cubicBezTo>
                  <a:pt x="11298" y="14774"/>
                  <a:pt x="11298" y="14774"/>
                  <a:pt x="11298" y="14774"/>
                </a:cubicBezTo>
                <a:cubicBezTo>
                  <a:pt x="11255" y="14774"/>
                  <a:pt x="11212" y="14774"/>
                  <a:pt x="11170" y="14774"/>
                </a:cubicBezTo>
                <a:lnTo>
                  <a:pt x="11159" y="14774"/>
                </a:lnTo>
                <a:cubicBezTo>
                  <a:pt x="11137" y="14774"/>
                  <a:pt x="11116" y="14774"/>
                  <a:pt x="11105" y="14774"/>
                </a:cubicBezTo>
                <a:cubicBezTo>
                  <a:pt x="11105" y="14774"/>
                  <a:pt x="11105" y="14774"/>
                  <a:pt x="11105" y="14774"/>
                </a:cubicBezTo>
                <a:cubicBezTo>
                  <a:pt x="11030" y="14774"/>
                  <a:pt x="10966" y="14787"/>
                  <a:pt x="10901" y="14800"/>
                </a:cubicBezTo>
                <a:cubicBezTo>
                  <a:pt x="10901" y="14800"/>
                  <a:pt x="10901" y="14800"/>
                  <a:pt x="10901" y="14800"/>
                </a:cubicBezTo>
                <a:cubicBezTo>
                  <a:pt x="10901" y="14800"/>
                  <a:pt x="10901" y="14800"/>
                  <a:pt x="10901" y="14800"/>
                </a:cubicBezTo>
                <a:cubicBezTo>
                  <a:pt x="10901" y="14800"/>
                  <a:pt x="10901" y="14800"/>
                  <a:pt x="10901" y="14800"/>
                </a:cubicBezTo>
                <a:cubicBezTo>
                  <a:pt x="9710" y="15021"/>
                  <a:pt x="8873" y="16376"/>
                  <a:pt x="9056" y="17822"/>
                </a:cubicBezTo>
                <a:cubicBezTo>
                  <a:pt x="9142" y="18526"/>
                  <a:pt x="9453" y="19151"/>
                  <a:pt x="9925" y="19581"/>
                </a:cubicBezTo>
                <a:cubicBezTo>
                  <a:pt x="9989" y="19646"/>
                  <a:pt x="10043" y="19724"/>
                  <a:pt x="10086" y="19815"/>
                </a:cubicBezTo>
                <a:cubicBezTo>
                  <a:pt x="10107" y="19881"/>
                  <a:pt x="10129" y="19933"/>
                  <a:pt x="10139" y="19998"/>
                </a:cubicBezTo>
                <a:cubicBezTo>
                  <a:pt x="10150" y="20102"/>
                  <a:pt x="10150" y="20193"/>
                  <a:pt x="10129" y="20297"/>
                </a:cubicBezTo>
                <a:cubicBezTo>
                  <a:pt x="10118" y="20519"/>
                  <a:pt x="9979" y="20688"/>
                  <a:pt x="9807" y="20727"/>
                </a:cubicBezTo>
                <a:close/>
              </a:path>
            </a:pathLst>
          </a:custGeom>
          <a:solidFill>
            <a:schemeClr val="bg1">
              <a:lumMod val="6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17" name="Shape">
            <a:extLst>
              <a:ext uri="{FF2B5EF4-FFF2-40B4-BE49-F238E27FC236}">
                <a16:creationId xmlns:a16="http://schemas.microsoft.com/office/drawing/2014/main" id="{D9AE93DD-7C5E-A025-1782-E4B6A2DB5B8C}"/>
              </a:ext>
            </a:extLst>
          </p:cNvPr>
          <p:cNvSpPr/>
          <p:nvPr/>
        </p:nvSpPr>
        <p:spPr>
          <a:xfrm>
            <a:off x="8606985" y="0"/>
            <a:ext cx="2746815" cy="3499005"/>
          </a:xfrm>
          <a:custGeom>
            <a:avLst/>
            <a:gdLst/>
            <a:ahLst/>
            <a:cxnLst>
              <a:cxn ang="0">
                <a:pos x="wd2" y="hd2"/>
              </a:cxn>
              <a:cxn ang="5400000">
                <a:pos x="wd2" y="hd2"/>
              </a:cxn>
              <a:cxn ang="10800000">
                <a:pos x="wd2" y="hd2"/>
              </a:cxn>
              <a:cxn ang="16200000">
                <a:pos x="wd2" y="hd2"/>
              </a:cxn>
            </a:cxnLst>
            <a:rect l="0" t="0" r="r" b="b"/>
            <a:pathLst>
              <a:path w="21465" h="21600" extrusionOk="0">
                <a:moveTo>
                  <a:pt x="20431" y="3856"/>
                </a:moveTo>
                <a:lnTo>
                  <a:pt x="21465" y="0"/>
                </a:lnTo>
                <a:lnTo>
                  <a:pt x="13745" y="0"/>
                </a:lnTo>
                <a:cubicBezTo>
                  <a:pt x="13286" y="2009"/>
                  <a:pt x="12186" y="3869"/>
                  <a:pt x="10447" y="5573"/>
                </a:cubicBezTo>
                <a:lnTo>
                  <a:pt x="6715" y="9228"/>
                </a:lnTo>
                <a:lnTo>
                  <a:pt x="833" y="12864"/>
                </a:lnTo>
                <a:cubicBezTo>
                  <a:pt x="86" y="13324"/>
                  <a:pt x="-119" y="14070"/>
                  <a:pt x="61" y="14802"/>
                </a:cubicBezTo>
                <a:lnTo>
                  <a:pt x="1128" y="19079"/>
                </a:lnTo>
                <a:lnTo>
                  <a:pt x="4163" y="21600"/>
                </a:lnTo>
                <a:lnTo>
                  <a:pt x="4254" y="21561"/>
                </a:lnTo>
                <a:cubicBezTo>
                  <a:pt x="4705" y="21347"/>
                  <a:pt x="4984" y="21030"/>
                  <a:pt x="5098" y="20628"/>
                </a:cubicBezTo>
                <a:cubicBezTo>
                  <a:pt x="5205" y="20226"/>
                  <a:pt x="5107" y="19844"/>
                  <a:pt x="4811" y="19507"/>
                </a:cubicBezTo>
                <a:lnTo>
                  <a:pt x="3778" y="18334"/>
                </a:lnTo>
                <a:lnTo>
                  <a:pt x="3630" y="15158"/>
                </a:lnTo>
                <a:lnTo>
                  <a:pt x="9824" y="13039"/>
                </a:lnTo>
                <a:lnTo>
                  <a:pt x="11850" y="12994"/>
                </a:lnTo>
                <a:cubicBezTo>
                  <a:pt x="12391" y="12981"/>
                  <a:pt x="12859" y="13208"/>
                  <a:pt x="13089" y="13590"/>
                </a:cubicBezTo>
                <a:cubicBezTo>
                  <a:pt x="13327" y="13972"/>
                  <a:pt x="13261" y="14400"/>
                  <a:pt x="12916" y="14731"/>
                </a:cubicBezTo>
                <a:lnTo>
                  <a:pt x="10874" y="16675"/>
                </a:lnTo>
                <a:lnTo>
                  <a:pt x="9848" y="18580"/>
                </a:lnTo>
                <a:cubicBezTo>
                  <a:pt x="9676" y="18904"/>
                  <a:pt x="9684" y="19254"/>
                  <a:pt x="9848" y="19552"/>
                </a:cubicBezTo>
                <a:cubicBezTo>
                  <a:pt x="9996" y="19818"/>
                  <a:pt x="10275" y="19993"/>
                  <a:pt x="10636" y="20045"/>
                </a:cubicBezTo>
                <a:cubicBezTo>
                  <a:pt x="10997" y="20096"/>
                  <a:pt x="11333" y="20006"/>
                  <a:pt x="11588" y="19798"/>
                </a:cubicBezTo>
                <a:lnTo>
                  <a:pt x="14475" y="17407"/>
                </a:lnTo>
                <a:lnTo>
                  <a:pt x="18659" y="14154"/>
                </a:lnTo>
                <a:lnTo>
                  <a:pt x="19159" y="13519"/>
                </a:lnTo>
                <a:cubicBezTo>
                  <a:pt x="20890" y="11315"/>
                  <a:pt x="21481" y="8989"/>
                  <a:pt x="20964" y="6429"/>
                </a:cubicBezTo>
                <a:lnTo>
                  <a:pt x="20431" y="3856"/>
                </a:lnTo>
                <a:close/>
              </a:path>
            </a:pathLst>
          </a:custGeom>
          <a:solidFill>
            <a:srgbClr val="F3B18E"/>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18" name="TextBox 17">
            <a:extLst>
              <a:ext uri="{FF2B5EF4-FFF2-40B4-BE49-F238E27FC236}">
                <a16:creationId xmlns:a16="http://schemas.microsoft.com/office/drawing/2014/main" id="{29D32807-7110-6C1C-5F2C-1911F4E31C9F}"/>
              </a:ext>
            </a:extLst>
          </p:cNvPr>
          <p:cNvSpPr txBox="1"/>
          <p:nvPr/>
        </p:nvSpPr>
        <p:spPr>
          <a:xfrm>
            <a:off x="6373701" y="3242481"/>
            <a:ext cx="1210588" cy="646331"/>
          </a:xfrm>
          <a:prstGeom prst="rect">
            <a:avLst/>
          </a:prstGeom>
          <a:noFill/>
        </p:spPr>
        <p:txBody>
          <a:bodyPr wrap="none" rtlCol="0">
            <a:spAutoFit/>
          </a:bodyPr>
          <a:lstStyle/>
          <a:p>
            <a:pPr algn="ctr"/>
            <a:r>
              <a:rPr lang="en-US" b="1" dirty="0">
                <a:solidFill>
                  <a:schemeClr val="bg1"/>
                </a:solidFill>
              </a:rPr>
              <a:t>QUICK</a:t>
            </a:r>
          </a:p>
          <a:p>
            <a:pPr algn="ctr"/>
            <a:r>
              <a:rPr lang="en-US" b="1" dirty="0">
                <a:solidFill>
                  <a:schemeClr val="bg1"/>
                </a:solidFill>
              </a:rPr>
              <a:t>ANSWER</a:t>
            </a:r>
          </a:p>
        </p:txBody>
      </p:sp>
      <p:sp>
        <p:nvSpPr>
          <p:cNvPr id="19" name="TextBox 18">
            <a:extLst>
              <a:ext uri="{FF2B5EF4-FFF2-40B4-BE49-F238E27FC236}">
                <a16:creationId xmlns:a16="http://schemas.microsoft.com/office/drawing/2014/main" id="{5ED1AA16-856D-6F22-0E33-BC1C36B0B888}"/>
              </a:ext>
            </a:extLst>
          </p:cNvPr>
          <p:cNvSpPr txBox="1"/>
          <p:nvPr/>
        </p:nvSpPr>
        <p:spPr>
          <a:xfrm rot="21069155">
            <a:off x="9233928" y="3242256"/>
            <a:ext cx="1210588" cy="646331"/>
          </a:xfrm>
          <a:prstGeom prst="rect">
            <a:avLst/>
          </a:prstGeom>
          <a:noFill/>
        </p:spPr>
        <p:txBody>
          <a:bodyPr wrap="none" rtlCol="0">
            <a:spAutoFit/>
          </a:bodyPr>
          <a:lstStyle/>
          <a:p>
            <a:pPr algn="ctr"/>
            <a:r>
              <a:rPr lang="en-US" b="1" dirty="0"/>
              <a:t>REASON</a:t>
            </a:r>
          </a:p>
          <a:p>
            <a:pPr algn="ctr"/>
            <a:r>
              <a:rPr lang="en-US" b="1" dirty="0"/>
              <a:t>ANSWER</a:t>
            </a:r>
          </a:p>
        </p:txBody>
      </p:sp>
      <p:sp>
        <p:nvSpPr>
          <p:cNvPr id="23" name="TextBox 22">
            <a:extLst>
              <a:ext uri="{FF2B5EF4-FFF2-40B4-BE49-F238E27FC236}">
                <a16:creationId xmlns:a16="http://schemas.microsoft.com/office/drawing/2014/main" id="{BFFA7BE2-0A37-1D13-9E08-654FFBD38256}"/>
              </a:ext>
            </a:extLst>
          </p:cNvPr>
          <p:cNvSpPr txBox="1"/>
          <p:nvPr/>
        </p:nvSpPr>
        <p:spPr>
          <a:xfrm>
            <a:off x="5425318" y="5835037"/>
            <a:ext cx="3454792" cy="369332"/>
          </a:xfrm>
          <a:prstGeom prst="rect">
            <a:avLst/>
          </a:prstGeom>
          <a:noFill/>
        </p:spPr>
        <p:txBody>
          <a:bodyPr wrap="none" rtlCol="0">
            <a:spAutoFit/>
          </a:bodyPr>
          <a:lstStyle/>
          <a:p>
            <a:r>
              <a:rPr lang="en-US" dirty="0"/>
              <a:t>What is the banking equivalent?</a:t>
            </a:r>
          </a:p>
        </p:txBody>
      </p:sp>
      <p:sp>
        <p:nvSpPr>
          <p:cNvPr id="24" name="TextBox 23">
            <a:extLst>
              <a:ext uri="{FF2B5EF4-FFF2-40B4-BE49-F238E27FC236}">
                <a16:creationId xmlns:a16="http://schemas.microsoft.com/office/drawing/2014/main" id="{964BF4B9-5633-5EEA-9402-A5D2BCC71332}"/>
              </a:ext>
            </a:extLst>
          </p:cNvPr>
          <p:cNvSpPr txBox="1"/>
          <p:nvPr/>
        </p:nvSpPr>
        <p:spPr>
          <a:xfrm>
            <a:off x="122787" y="6330382"/>
            <a:ext cx="5801653" cy="646331"/>
          </a:xfrm>
          <a:prstGeom prst="rect">
            <a:avLst/>
          </a:prstGeom>
          <a:noFill/>
        </p:spPr>
        <p:txBody>
          <a:bodyPr wrap="none" rtlCol="0">
            <a:spAutoFit/>
          </a:bodyPr>
          <a:lstStyle/>
          <a:p>
            <a:r>
              <a:rPr lang="en-US" dirty="0"/>
              <a:t>Lesson: Think carefully, deeply, and reason thoroughly!</a:t>
            </a:r>
          </a:p>
          <a:p>
            <a:endParaRPr lang="en-US" dirty="0"/>
          </a:p>
        </p:txBody>
      </p:sp>
    </p:spTree>
    <p:extLst>
      <p:ext uri="{BB962C8B-B14F-4D97-AF65-F5344CB8AC3E}">
        <p14:creationId xmlns:p14="http://schemas.microsoft.com/office/powerpoint/2010/main" val="328018095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981719-513F-A860-F90A-131A8D8E2FE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2E7A332-D6BB-136B-F4A3-80C998600D29}"/>
              </a:ext>
            </a:extLst>
          </p:cNvPr>
          <p:cNvSpPr>
            <a:spLocks noGrp="1"/>
          </p:cNvSpPr>
          <p:nvPr>
            <p:ph type="title"/>
          </p:nvPr>
        </p:nvSpPr>
        <p:spPr/>
        <p:txBody>
          <a:bodyPr/>
          <a:lstStyle/>
          <a:p>
            <a:r>
              <a:rPr lang="en-US" dirty="0"/>
              <a:t>Reasoning From Fast to Wise</a:t>
            </a:r>
          </a:p>
        </p:txBody>
      </p:sp>
      <p:sp>
        <p:nvSpPr>
          <p:cNvPr id="18" name="TextBox 17">
            <a:extLst>
              <a:ext uri="{FF2B5EF4-FFF2-40B4-BE49-F238E27FC236}">
                <a16:creationId xmlns:a16="http://schemas.microsoft.com/office/drawing/2014/main" id="{4DE4843C-C86B-DE45-4ADC-B1C40645EAE4}"/>
              </a:ext>
            </a:extLst>
          </p:cNvPr>
          <p:cNvSpPr txBox="1"/>
          <p:nvPr/>
        </p:nvSpPr>
        <p:spPr>
          <a:xfrm>
            <a:off x="6373701" y="3242481"/>
            <a:ext cx="1210588" cy="646331"/>
          </a:xfrm>
          <a:prstGeom prst="rect">
            <a:avLst/>
          </a:prstGeom>
          <a:noFill/>
        </p:spPr>
        <p:txBody>
          <a:bodyPr wrap="none" rtlCol="0">
            <a:spAutoFit/>
          </a:bodyPr>
          <a:lstStyle/>
          <a:p>
            <a:pPr algn="ctr"/>
            <a:r>
              <a:rPr lang="en-US" b="1" dirty="0">
                <a:solidFill>
                  <a:schemeClr val="bg1"/>
                </a:solidFill>
              </a:rPr>
              <a:t>QUICK</a:t>
            </a:r>
          </a:p>
          <a:p>
            <a:pPr algn="ctr"/>
            <a:r>
              <a:rPr lang="en-US" b="1" dirty="0">
                <a:solidFill>
                  <a:schemeClr val="bg1"/>
                </a:solidFill>
              </a:rPr>
              <a:t>ANSWER</a:t>
            </a:r>
          </a:p>
        </p:txBody>
      </p:sp>
      <p:grpSp>
        <p:nvGrpSpPr>
          <p:cNvPr id="2" name="Group 1">
            <a:extLst>
              <a:ext uri="{FF2B5EF4-FFF2-40B4-BE49-F238E27FC236}">
                <a16:creationId xmlns:a16="http://schemas.microsoft.com/office/drawing/2014/main" id="{0CD0A229-26A0-6AB2-F360-76BF6C6ED79A}"/>
              </a:ext>
            </a:extLst>
          </p:cNvPr>
          <p:cNvGrpSpPr/>
          <p:nvPr/>
        </p:nvGrpSpPr>
        <p:grpSpPr>
          <a:xfrm>
            <a:off x="124229" y="959287"/>
            <a:ext cx="3733632" cy="2475022"/>
            <a:chOff x="152817" y="981232"/>
            <a:chExt cx="3106199" cy="2475022"/>
          </a:xfrm>
        </p:grpSpPr>
        <p:sp>
          <p:nvSpPr>
            <p:cNvPr id="20" name="TextBox 19">
              <a:extLst>
                <a:ext uri="{FF2B5EF4-FFF2-40B4-BE49-F238E27FC236}">
                  <a16:creationId xmlns:a16="http://schemas.microsoft.com/office/drawing/2014/main" id="{B7EF8014-EF1E-F735-7ACD-A29869DCE118}"/>
                </a:ext>
              </a:extLst>
            </p:cNvPr>
            <p:cNvSpPr txBox="1"/>
            <p:nvPr/>
          </p:nvSpPr>
          <p:spPr>
            <a:xfrm>
              <a:off x="152817" y="981232"/>
              <a:ext cx="2926080" cy="1200329"/>
            </a:xfrm>
            <a:prstGeom prst="rect">
              <a:avLst/>
            </a:prstGeom>
            <a:noFill/>
          </p:spPr>
          <p:txBody>
            <a:bodyPr wrap="square" lIns="0" rIns="0" rtlCol="0" anchor="b">
              <a:spAutoFit/>
            </a:bodyPr>
            <a:lstStyle/>
            <a:p>
              <a:pPr algn="r"/>
              <a:r>
                <a:rPr lang="en-US" sz="2400" b="1" noProof="1"/>
                <a:t>Anthropomorphizing Is Sometimes Helpful!</a:t>
              </a:r>
            </a:p>
          </p:txBody>
        </p:sp>
        <p:sp>
          <p:nvSpPr>
            <p:cNvPr id="21" name="TextBox 20">
              <a:extLst>
                <a:ext uri="{FF2B5EF4-FFF2-40B4-BE49-F238E27FC236}">
                  <a16:creationId xmlns:a16="http://schemas.microsoft.com/office/drawing/2014/main" id="{FB13EB8B-F27A-60CE-7036-6201A7A62CC5}"/>
                </a:ext>
              </a:extLst>
            </p:cNvPr>
            <p:cNvSpPr txBox="1"/>
            <p:nvPr/>
          </p:nvSpPr>
          <p:spPr>
            <a:xfrm>
              <a:off x="332936" y="3086922"/>
              <a:ext cx="2926080" cy="369332"/>
            </a:xfrm>
            <a:prstGeom prst="rect">
              <a:avLst/>
            </a:prstGeom>
            <a:noFill/>
          </p:spPr>
          <p:txBody>
            <a:bodyPr wrap="square" lIns="0" rIns="0" rtlCol="0" anchor="t">
              <a:spAutoFit/>
            </a:bodyPr>
            <a:lstStyle/>
            <a:p>
              <a:pPr>
                <a:spcAft>
                  <a:spcPts val="1200"/>
                </a:spcAft>
              </a:pPr>
              <a:endParaRPr lang="en-US" noProof="1">
                <a:solidFill>
                  <a:schemeClr val="tx1">
                    <a:lumMod val="65000"/>
                    <a:lumOff val="35000"/>
                  </a:schemeClr>
                </a:solidFill>
              </a:endParaRPr>
            </a:p>
          </p:txBody>
        </p:sp>
      </p:grpSp>
      <p:grpSp>
        <p:nvGrpSpPr>
          <p:cNvPr id="22" name="Group 21">
            <a:extLst>
              <a:ext uri="{FF2B5EF4-FFF2-40B4-BE49-F238E27FC236}">
                <a16:creationId xmlns:a16="http://schemas.microsoft.com/office/drawing/2014/main" id="{4B3E3879-DD8A-4E76-35D0-018470636D08}"/>
              </a:ext>
            </a:extLst>
          </p:cNvPr>
          <p:cNvGrpSpPr/>
          <p:nvPr/>
        </p:nvGrpSpPr>
        <p:grpSpPr>
          <a:xfrm>
            <a:off x="8397520" y="545618"/>
            <a:ext cx="3430731" cy="5967568"/>
            <a:chOff x="332936" y="2738054"/>
            <a:chExt cx="2926080" cy="4541969"/>
          </a:xfrm>
        </p:grpSpPr>
        <p:sp>
          <p:nvSpPr>
            <p:cNvPr id="25" name="TextBox 24">
              <a:extLst>
                <a:ext uri="{FF2B5EF4-FFF2-40B4-BE49-F238E27FC236}">
                  <a16:creationId xmlns:a16="http://schemas.microsoft.com/office/drawing/2014/main" id="{9242C18A-FE0D-2B53-FE7C-F56D4D2EE2C0}"/>
                </a:ext>
              </a:extLst>
            </p:cNvPr>
            <p:cNvSpPr txBox="1"/>
            <p:nvPr/>
          </p:nvSpPr>
          <p:spPr>
            <a:xfrm>
              <a:off x="332936" y="2738054"/>
              <a:ext cx="2926080" cy="351377"/>
            </a:xfrm>
            <a:prstGeom prst="rect">
              <a:avLst/>
            </a:prstGeom>
            <a:noFill/>
          </p:spPr>
          <p:txBody>
            <a:bodyPr wrap="square" lIns="0" rIns="0" rtlCol="0" anchor="b">
              <a:spAutoFit/>
            </a:bodyPr>
            <a:lstStyle/>
            <a:p>
              <a:r>
                <a:rPr lang="en-US" sz="2400" b="1" noProof="1"/>
                <a:t>Apply to AI Agents</a:t>
              </a:r>
            </a:p>
          </p:txBody>
        </p:sp>
        <p:sp>
          <p:nvSpPr>
            <p:cNvPr id="26" name="TextBox 25">
              <a:extLst>
                <a:ext uri="{FF2B5EF4-FFF2-40B4-BE49-F238E27FC236}">
                  <a16:creationId xmlns:a16="http://schemas.microsoft.com/office/drawing/2014/main" id="{35944817-7EE0-CB14-F4AA-2370427E95E1}"/>
                </a:ext>
              </a:extLst>
            </p:cNvPr>
            <p:cNvSpPr txBox="1"/>
            <p:nvPr/>
          </p:nvSpPr>
          <p:spPr>
            <a:xfrm>
              <a:off x="332936" y="3086922"/>
              <a:ext cx="2926080" cy="4193101"/>
            </a:xfrm>
            <a:prstGeom prst="rect">
              <a:avLst/>
            </a:prstGeom>
            <a:noFill/>
          </p:spPr>
          <p:txBody>
            <a:bodyPr wrap="square" lIns="0" rIns="0" rtlCol="0" anchor="t">
              <a:spAutoFit/>
            </a:bodyPr>
            <a:lstStyle/>
            <a:p>
              <a:r>
                <a:rPr lang="en-US" sz="1600" b="1" dirty="0">
                  <a:solidFill>
                    <a:srgbClr val="000000"/>
                  </a:solidFill>
                </a:rPr>
                <a:t>The Need to Think.</a:t>
              </a:r>
            </a:p>
            <a:p>
              <a:endParaRPr lang="en-US" sz="1600" b="1" dirty="0">
                <a:solidFill>
                  <a:srgbClr val="000000"/>
                </a:solidFill>
              </a:endParaRPr>
            </a:p>
            <a:p>
              <a:r>
                <a:rPr lang="en-US" sz="1600" dirty="0">
                  <a:solidFill>
                    <a:srgbClr val="000000"/>
                  </a:solidFill>
                </a:rPr>
                <a:t>Thinking (via chain of thought) or broadly thinking out loud typically corrects bad behavior.</a:t>
              </a:r>
            </a:p>
            <a:p>
              <a:endParaRPr lang="en-US" sz="1600" dirty="0">
                <a:solidFill>
                  <a:srgbClr val="000000"/>
                </a:solidFill>
              </a:endParaRPr>
            </a:p>
            <a:p>
              <a:pPr marL="285750" indent="-285750">
                <a:buFont typeface="Arial" panose="020B0604020202020204" pitchFamily="34" charset="0"/>
                <a:buChar char="•"/>
              </a:pPr>
              <a:r>
                <a:rPr lang="en-US" sz="1600" b="1" dirty="0">
                  <a:solidFill>
                    <a:srgbClr val="000000"/>
                  </a:solidFill>
                </a:rPr>
                <a:t>Possibilities: </a:t>
              </a:r>
              <a:r>
                <a:rPr lang="en-US" sz="1600" dirty="0">
                  <a:solidFill>
                    <a:srgbClr val="000000"/>
                  </a:solidFill>
                </a:rPr>
                <a:t>Generate 2-3 tool plans, paths towards goal score by risk/benefit, and keep a fallback.</a:t>
              </a:r>
              <a:endParaRPr lang="en-US" sz="1600" b="1" dirty="0">
                <a:solidFill>
                  <a:srgbClr val="000000"/>
                </a:solidFill>
              </a:endParaRPr>
            </a:p>
            <a:p>
              <a:pPr marL="285750" indent="-285750">
                <a:buFont typeface="Arial" panose="020B0604020202020204" pitchFamily="34" charset="0"/>
                <a:buChar char="•"/>
              </a:pPr>
              <a:r>
                <a:rPr lang="en-US" sz="1600" b="1" dirty="0">
                  <a:solidFill>
                    <a:srgbClr val="000000"/>
                  </a:solidFill>
                </a:rPr>
                <a:t>Contradictions: </a:t>
              </a:r>
              <a:r>
                <a:rPr lang="en-US" sz="1600" dirty="0">
                  <a:solidFill>
                    <a:srgbClr val="000000"/>
                  </a:solidFill>
                </a:rPr>
                <a:t>Cross check outputs, flag conflicts, ask for clarification when unresolved.</a:t>
              </a:r>
              <a:endParaRPr lang="en-US" sz="1600" b="1" dirty="0">
                <a:solidFill>
                  <a:srgbClr val="000000"/>
                </a:solidFill>
              </a:endParaRPr>
            </a:p>
            <a:p>
              <a:pPr marL="285750" indent="-285750">
                <a:buFont typeface="Arial" panose="020B0604020202020204" pitchFamily="34" charset="0"/>
                <a:buChar char="•"/>
              </a:pPr>
              <a:r>
                <a:rPr lang="en-US" sz="1600" b="1" dirty="0">
                  <a:solidFill>
                    <a:srgbClr val="000000"/>
                  </a:solidFill>
                </a:rPr>
                <a:t>Logic Flaws:</a:t>
              </a:r>
              <a:r>
                <a:rPr lang="en-US" sz="1600" dirty="0">
                  <a:solidFill>
                    <a:srgbClr val="000000"/>
                  </a:solidFill>
                </a:rPr>
                <a:t> Validate preconditions/schemas; detect loops and dead ends; enforce guardrails.</a:t>
              </a:r>
              <a:endParaRPr lang="en-US" sz="1600" b="1" dirty="0">
                <a:solidFill>
                  <a:srgbClr val="000000"/>
                </a:solidFill>
              </a:endParaRPr>
            </a:p>
            <a:p>
              <a:pPr marL="285750" indent="-285750">
                <a:buFont typeface="Arial" panose="020B0604020202020204" pitchFamily="34" charset="0"/>
                <a:buChar char="•"/>
              </a:pPr>
              <a:r>
                <a:rPr lang="en-US" sz="1600" b="1" dirty="0">
                  <a:solidFill>
                    <a:srgbClr val="000000"/>
                  </a:solidFill>
                </a:rPr>
                <a:t>Quality Outputs: </a:t>
              </a:r>
              <a:r>
                <a:rPr lang="en-US" sz="1600" dirty="0">
                  <a:solidFill>
                    <a:srgbClr val="000000"/>
                  </a:solidFill>
                </a:rPr>
                <a:t>Enforce output requirements, double check citations; log steps for its own auditability</a:t>
              </a:r>
            </a:p>
            <a:p>
              <a:pPr marL="285750" indent="-285750">
                <a:buFont typeface="Arial" panose="020B0604020202020204" pitchFamily="34" charset="0"/>
                <a:buChar char="•"/>
              </a:pPr>
              <a:r>
                <a:rPr lang="en-US" sz="1600" b="1" dirty="0">
                  <a:solidFill>
                    <a:srgbClr val="000000"/>
                  </a:solidFill>
                </a:rPr>
                <a:t>Imagine</a:t>
              </a:r>
              <a:r>
                <a:rPr lang="en-US" sz="1600" dirty="0">
                  <a:solidFill>
                    <a:srgbClr val="000000"/>
                  </a:solidFill>
                </a:rPr>
                <a:t>: Not reasoning before our actions! Possibly fast, not wise.</a:t>
              </a:r>
              <a:endParaRPr lang="en-US" sz="1600" b="1" dirty="0">
                <a:solidFill>
                  <a:srgbClr val="000000"/>
                </a:solidFill>
              </a:endParaRPr>
            </a:p>
          </p:txBody>
        </p:sp>
      </p:grpSp>
      <p:grpSp>
        <p:nvGrpSpPr>
          <p:cNvPr id="27" name="Group 26">
            <a:extLst>
              <a:ext uri="{FF2B5EF4-FFF2-40B4-BE49-F238E27FC236}">
                <a16:creationId xmlns:a16="http://schemas.microsoft.com/office/drawing/2014/main" id="{DD501A25-4D0E-BDE8-AAEB-4A67E1736611}"/>
              </a:ext>
            </a:extLst>
          </p:cNvPr>
          <p:cNvGrpSpPr/>
          <p:nvPr/>
        </p:nvGrpSpPr>
        <p:grpSpPr>
          <a:xfrm>
            <a:off x="4035665" y="1527080"/>
            <a:ext cx="4053562" cy="4110750"/>
            <a:chOff x="4035665" y="1527080"/>
            <a:chExt cx="4053562" cy="4110750"/>
          </a:xfrm>
        </p:grpSpPr>
        <p:sp>
          <p:nvSpPr>
            <p:cNvPr id="28" name="Oval 27">
              <a:extLst>
                <a:ext uri="{FF2B5EF4-FFF2-40B4-BE49-F238E27FC236}">
                  <a16:creationId xmlns:a16="http://schemas.microsoft.com/office/drawing/2014/main" id="{7008DD88-F887-D988-4DAC-8CE01A4D1D08}"/>
                </a:ext>
              </a:extLst>
            </p:cNvPr>
            <p:cNvSpPr/>
            <p:nvPr/>
          </p:nvSpPr>
          <p:spPr>
            <a:xfrm>
              <a:off x="5362728" y="1645868"/>
              <a:ext cx="620374" cy="5510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Shape 84">
              <a:extLst>
                <a:ext uri="{FF2B5EF4-FFF2-40B4-BE49-F238E27FC236}">
                  <a16:creationId xmlns:a16="http://schemas.microsoft.com/office/drawing/2014/main" id="{BA4136B0-CF2F-103B-27AA-8592417B484D}"/>
                </a:ext>
              </a:extLst>
            </p:cNvPr>
            <p:cNvSpPr/>
            <p:nvPr/>
          </p:nvSpPr>
          <p:spPr>
            <a:xfrm>
              <a:off x="5642400" y="1818120"/>
              <a:ext cx="551072" cy="551072"/>
            </a:xfrm>
            <a:custGeom>
              <a:avLst/>
              <a:gdLst>
                <a:gd name="connsiteX0" fmla="*/ 453600 w 551072"/>
                <a:gd name="connsiteY0" fmla="*/ 69397 h 551072"/>
                <a:gd name="connsiteX1" fmla="*/ 470369 w 551072"/>
                <a:gd name="connsiteY1" fmla="*/ 80703 h 551072"/>
                <a:gd name="connsiteX2" fmla="*/ 551072 w 551072"/>
                <a:gd name="connsiteY2" fmla="*/ 275536 h 551072"/>
                <a:gd name="connsiteX3" fmla="*/ 470369 w 551072"/>
                <a:gd name="connsiteY3" fmla="*/ 470369 h 551072"/>
                <a:gd name="connsiteX4" fmla="*/ 453600 w 551072"/>
                <a:gd name="connsiteY4" fmla="*/ 481676 h 551072"/>
                <a:gd name="connsiteX5" fmla="*/ 275536 w 551072"/>
                <a:gd name="connsiteY5" fmla="*/ 0 h 551072"/>
                <a:gd name="connsiteX6" fmla="*/ 341358 w 551072"/>
                <a:gd name="connsiteY6" fmla="*/ 13289 h 551072"/>
                <a:gd name="connsiteX7" fmla="*/ 341358 w 551072"/>
                <a:gd name="connsiteY7" fmla="*/ 537783 h 551072"/>
                <a:gd name="connsiteX8" fmla="*/ 275536 w 551072"/>
                <a:gd name="connsiteY8" fmla="*/ 551072 h 551072"/>
                <a:gd name="connsiteX9" fmla="*/ 0 w 551072"/>
                <a:gd name="connsiteY9" fmla="*/ 275536 h 551072"/>
                <a:gd name="connsiteX10" fmla="*/ 275536 w 551072"/>
                <a:gd name="connsiteY10" fmla="*/ 0 h 551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1072" h="551072">
                  <a:moveTo>
                    <a:pt x="453600" y="69397"/>
                  </a:moveTo>
                  <a:lnTo>
                    <a:pt x="470369" y="80703"/>
                  </a:lnTo>
                  <a:cubicBezTo>
                    <a:pt x="520232" y="130565"/>
                    <a:pt x="551072" y="199449"/>
                    <a:pt x="551072" y="275536"/>
                  </a:cubicBezTo>
                  <a:cubicBezTo>
                    <a:pt x="551072" y="351623"/>
                    <a:pt x="520232" y="420507"/>
                    <a:pt x="470369" y="470369"/>
                  </a:cubicBezTo>
                  <a:lnTo>
                    <a:pt x="453600" y="481676"/>
                  </a:lnTo>
                  <a:close/>
                  <a:moveTo>
                    <a:pt x="275536" y="0"/>
                  </a:moveTo>
                  <a:lnTo>
                    <a:pt x="341358" y="13289"/>
                  </a:lnTo>
                  <a:lnTo>
                    <a:pt x="341358" y="537783"/>
                  </a:lnTo>
                  <a:lnTo>
                    <a:pt x="275536" y="551072"/>
                  </a:lnTo>
                  <a:cubicBezTo>
                    <a:pt x="123362" y="551072"/>
                    <a:pt x="0" y="427710"/>
                    <a:pt x="0" y="275536"/>
                  </a:cubicBezTo>
                  <a:cubicBezTo>
                    <a:pt x="0" y="123362"/>
                    <a:pt x="123362" y="0"/>
                    <a:pt x="27553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0" name="Oval 29">
              <a:extLst>
                <a:ext uri="{FF2B5EF4-FFF2-40B4-BE49-F238E27FC236}">
                  <a16:creationId xmlns:a16="http://schemas.microsoft.com/office/drawing/2014/main" id="{5F675F18-726F-E864-7961-1A8548B3E3D0}"/>
                </a:ext>
              </a:extLst>
            </p:cNvPr>
            <p:cNvSpPr/>
            <p:nvPr/>
          </p:nvSpPr>
          <p:spPr>
            <a:xfrm>
              <a:off x="5107755" y="1957277"/>
              <a:ext cx="551072" cy="5510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Shape 86">
              <a:extLst>
                <a:ext uri="{FF2B5EF4-FFF2-40B4-BE49-F238E27FC236}">
                  <a16:creationId xmlns:a16="http://schemas.microsoft.com/office/drawing/2014/main" id="{21FF362F-3C11-5C10-16BB-2A0DEE7FFC65}"/>
                </a:ext>
              </a:extLst>
            </p:cNvPr>
            <p:cNvSpPr/>
            <p:nvPr/>
          </p:nvSpPr>
          <p:spPr>
            <a:xfrm>
              <a:off x="5539760" y="2022920"/>
              <a:ext cx="443998" cy="551072"/>
            </a:xfrm>
            <a:custGeom>
              <a:avLst/>
              <a:gdLst>
                <a:gd name="connsiteX0" fmla="*/ 275536 w 443998"/>
                <a:gd name="connsiteY0" fmla="*/ 0 h 551072"/>
                <a:gd name="connsiteX1" fmla="*/ 382787 w 443998"/>
                <a:gd name="connsiteY1" fmla="*/ 21653 h 551072"/>
                <a:gd name="connsiteX2" fmla="*/ 443998 w 443998"/>
                <a:gd name="connsiteY2" fmla="*/ 62923 h 551072"/>
                <a:gd name="connsiteX3" fmla="*/ 443998 w 443998"/>
                <a:gd name="connsiteY3" fmla="*/ 488149 h 551072"/>
                <a:gd name="connsiteX4" fmla="*/ 382787 w 443998"/>
                <a:gd name="connsiteY4" fmla="*/ 529419 h 551072"/>
                <a:gd name="connsiteX5" fmla="*/ 275536 w 443998"/>
                <a:gd name="connsiteY5" fmla="*/ 551072 h 551072"/>
                <a:gd name="connsiteX6" fmla="*/ 0 w 443998"/>
                <a:gd name="connsiteY6" fmla="*/ 275536 h 551072"/>
                <a:gd name="connsiteX7" fmla="*/ 275536 w 443998"/>
                <a:gd name="connsiteY7" fmla="*/ 0 h 551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3998" h="551072">
                  <a:moveTo>
                    <a:pt x="275536" y="0"/>
                  </a:moveTo>
                  <a:cubicBezTo>
                    <a:pt x="313580" y="0"/>
                    <a:pt x="349823" y="7710"/>
                    <a:pt x="382787" y="21653"/>
                  </a:cubicBezTo>
                  <a:lnTo>
                    <a:pt x="443998" y="62923"/>
                  </a:lnTo>
                  <a:lnTo>
                    <a:pt x="443998" y="488149"/>
                  </a:lnTo>
                  <a:lnTo>
                    <a:pt x="382787" y="529419"/>
                  </a:lnTo>
                  <a:cubicBezTo>
                    <a:pt x="349823" y="543362"/>
                    <a:pt x="313580" y="551072"/>
                    <a:pt x="275536" y="551072"/>
                  </a:cubicBezTo>
                  <a:cubicBezTo>
                    <a:pt x="123362" y="551072"/>
                    <a:pt x="0" y="427710"/>
                    <a:pt x="0" y="275536"/>
                  </a:cubicBezTo>
                  <a:cubicBezTo>
                    <a:pt x="0" y="123362"/>
                    <a:pt x="123362" y="0"/>
                    <a:pt x="275536"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2" name="Oval 31">
              <a:extLst>
                <a:ext uri="{FF2B5EF4-FFF2-40B4-BE49-F238E27FC236}">
                  <a16:creationId xmlns:a16="http://schemas.microsoft.com/office/drawing/2014/main" id="{FD28ECBA-34BA-E604-8929-EBB26E1E8911}"/>
                </a:ext>
              </a:extLst>
            </p:cNvPr>
            <p:cNvSpPr/>
            <p:nvPr/>
          </p:nvSpPr>
          <p:spPr>
            <a:xfrm>
              <a:off x="5056479" y="2274006"/>
              <a:ext cx="551072" cy="55107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1F2CBC21-C420-3A89-9E57-4435837F49A6}"/>
                </a:ext>
              </a:extLst>
            </p:cNvPr>
            <p:cNvSpPr/>
            <p:nvPr/>
          </p:nvSpPr>
          <p:spPr>
            <a:xfrm>
              <a:off x="5437293" y="2387002"/>
              <a:ext cx="551072" cy="55107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Shape 76">
              <a:extLst>
                <a:ext uri="{FF2B5EF4-FFF2-40B4-BE49-F238E27FC236}">
                  <a16:creationId xmlns:a16="http://schemas.microsoft.com/office/drawing/2014/main" id="{626E2CFE-35DC-8965-9F2C-704EA071DC94}"/>
                </a:ext>
              </a:extLst>
            </p:cNvPr>
            <p:cNvSpPr/>
            <p:nvPr/>
          </p:nvSpPr>
          <p:spPr>
            <a:xfrm>
              <a:off x="5489654" y="2755265"/>
              <a:ext cx="494105" cy="551072"/>
            </a:xfrm>
            <a:custGeom>
              <a:avLst/>
              <a:gdLst>
                <a:gd name="connsiteX0" fmla="*/ 275536 w 494105"/>
                <a:gd name="connsiteY0" fmla="*/ 0 h 551072"/>
                <a:gd name="connsiteX1" fmla="*/ 470370 w 494105"/>
                <a:gd name="connsiteY1" fmla="*/ 80703 h 551072"/>
                <a:gd name="connsiteX2" fmla="*/ 494105 w 494105"/>
                <a:gd name="connsiteY2" fmla="*/ 109471 h 551072"/>
                <a:gd name="connsiteX3" fmla="*/ 494105 w 494105"/>
                <a:gd name="connsiteY3" fmla="*/ 441601 h 551072"/>
                <a:gd name="connsiteX4" fmla="*/ 470370 w 494105"/>
                <a:gd name="connsiteY4" fmla="*/ 470369 h 551072"/>
                <a:gd name="connsiteX5" fmla="*/ 275536 w 494105"/>
                <a:gd name="connsiteY5" fmla="*/ 551072 h 551072"/>
                <a:gd name="connsiteX6" fmla="*/ 0 w 494105"/>
                <a:gd name="connsiteY6" fmla="*/ 275536 h 551072"/>
                <a:gd name="connsiteX7" fmla="*/ 275536 w 494105"/>
                <a:gd name="connsiteY7" fmla="*/ 0 h 551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4105" h="551072">
                  <a:moveTo>
                    <a:pt x="275536" y="0"/>
                  </a:moveTo>
                  <a:cubicBezTo>
                    <a:pt x="351623" y="0"/>
                    <a:pt x="420507" y="30841"/>
                    <a:pt x="470370" y="80703"/>
                  </a:cubicBezTo>
                  <a:lnTo>
                    <a:pt x="494105" y="109471"/>
                  </a:lnTo>
                  <a:lnTo>
                    <a:pt x="494105" y="441601"/>
                  </a:lnTo>
                  <a:lnTo>
                    <a:pt x="470370" y="470369"/>
                  </a:lnTo>
                  <a:cubicBezTo>
                    <a:pt x="420507" y="520232"/>
                    <a:pt x="351623" y="551072"/>
                    <a:pt x="275536" y="551072"/>
                  </a:cubicBezTo>
                  <a:cubicBezTo>
                    <a:pt x="123362" y="551072"/>
                    <a:pt x="0" y="427710"/>
                    <a:pt x="0" y="275536"/>
                  </a:cubicBezTo>
                  <a:cubicBezTo>
                    <a:pt x="0" y="123362"/>
                    <a:pt x="123362" y="0"/>
                    <a:pt x="275536"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Oval 34">
              <a:extLst>
                <a:ext uri="{FF2B5EF4-FFF2-40B4-BE49-F238E27FC236}">
                  <a16:creationId xmlns:a16="http://schemas.microsoft.com/office/drawing/2014/main" id="{51C45888-DBFB-28D9-EA04-4479962452F7}"/>
                </a:ext>
              </a:extLst>
            </p:cNvPr>
            <p:cNvSpPr/>
            <p:nvPr/>
          </p:nvSpPr>
          <p:spPr>
            <a:xfrm>
              <a:off x="5082977" y="2677932"/>
              <a:ext cx="551072" cy="55107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EA0B1DCA-B8DB-BBE6-E4EB-7DD7DB0B3361}"/>
                </a:ext>
              </a:extLst>
            </p:cNvPr>
            <p:cNvSpPr/>
            <p:nvPr/>
          </p:nvSpPr>
          <p:spPr>
            <a:xfrm>
              <a:off x="4905563" y="2448945"/>
              <a:ext cx="551072" cy="5510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FC1FD36D-B796-8850-3667-C102E6259983}"/>
                </a:ext>
              </a:extLst>
            </p:cNvPr>
            <p:cNvSpPr/>
            <p:nvPr/>
          </p:nvSpPr>
          <p:spPr>
            <a:xfrm>
              <a:off x="4829699" y="3022253"/>
              <a:ext cx="631562" cy="59500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0A48C22E-0C3C-F320-6B3B-34B83579C356}"/>
                </a:ext>
              </a:extLst>
            </p:cNvPr>
            <p:cNvSpPr/>
            <p:nvPr/>
          </p:nvSpPr>
          <p:spPr>
            <a:xfrm>
              <a:off x="5286498" y="3057243"/>
              <a:ext cx="551072" cy="55107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Shape 72">
              <a:extLst>
                <a:ext uri="{FF2B5EF4-FFF2-40B4-BE49-F238E27FC236}">
                  <a16:creationId xmlns:a16="http://schemas.microsoft.com/office/drawing/2014/main" id="{136D02C2-1AA7-B9DE-4ED6-E15679A5878D}"/>
                </a:ext>
              </a:extLst>
            </p:cNvPr>
            <p:cNvSpPr/>
            <p:nvPr/>
          </p:nvSpPr>
          <p:spPr>
            <a:xfrm>
              <a:off x="5766796" y="3203037"/>
              <a:ext cx="551072" cy="529402"/>
            </a:xfrm>
            <a:custGeom>
              <a:avLst/>
              <a:gdLst>
                <a:gd name="connsiteX0" fmla="*/ 216962 w 551072"/>
                <a:gd name="connsiteY0" fmla="*/ 991 h 529402"/>
                <a:gd name="connsiteX1" fmla="*/ 216962 w 551072"/>
                <a:gd name="connsiteY1" fmla="*/ 528412 h 529402"/>
                <a:gd name="connsiteX2" fmla="*/ 168285 w 551072"/>
                <a:gd name="connsiteY2" fmla="*/ 518584 h 529402"/>
                <a:gd name="connsiteX3" fmla="*/ 0 w 551072"/>
                <a:gd name="connsiteY3" fmla="*/ 264701 h 529402"/>
                <a:gd name="connsiteX4" fmla="*/ 168285 w 551072"/>
                <a:gd name="connsiteY4" fmla="*/ 10818 h 529402"/>
                <a:gd name="connsiteX5" fmla="*/ 329204 w 551072"/>
                <a:gd name="connsiteY5" fmla="*/ 0 h 529402"/>
                <a:gd name="connsiteX6" fmla="*/ 382787 w 551072"/>
                <a:gd name="connsiteY6" fmla="*/ 10818 h 529402"/>
                <a:gd name="connsiteX7" fmla="*/ 551072 w 551072"/>
                <a:gd name="connsiteY7" fmla="*/ 264701 h 529402"/>
                <a:gd name="connsiteX8" fmla="*/ 382787 w 551072"/>
                <a:gd name="connsiteY8" fmla="*/ 518584 h 529402"/>
                <a:gd name="connsiteX9" fmla="*/ 329204 w 551072"/>
                <a:gd name="connsiteY9" fmla="*/ 529402 h 529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1072" h="529402">
                  <a:moveTo>
                    <a:pt x="216962" y="991"/>
                  </a:moveTo>
                  <a:lnTo>
                    <a:pt x="216962" y="528412"/>
                  </a:lnTo>
                  <a:lnTo>
                    <a:pt x="168285" y="518584"/>
                  </a:lnTo>
                  <a:cubicBezTo>
                    <a:pt x="69391" y="476755"/>
                    <a:pt x="0" y="378832"/>
                    <a:pt x="0" y="264701"/>
                  </a:cubicBezTo>
                  <a:cubicBezTo>
                    <a:pt x="0" y="150571"/>
                    <a:pt x="69391" y="52647"/>
                    <a:pt x="168285" y="10818"/>
                  </a:cubicBezTo>
                  <a:close/>
                  <a:moveTo>
                    <a:pt x="329204" y="0"/>
                  </a:moveTo>
                  <a:lnTo>
                    <a:pt x="382787" y="10818"/>
                  </a:lnTo>
                  <a:cubicBezTo>
                    <a:pt x="481681" y="52647"/>
                    <a:pt x="551072" y="150571"/>
                    <a:pt x="551072" y="264701"/>
                  </a:cubicBezTo>
                  <a:cubicBezTo>
                    <a:pt x="551072" y="378832"/>
                    <a:pt x="481681" y="476755"/>
                    <a:pt x="382787" y="518584"/>
                  </a:cubicBezTo>
                  <a:lnTo>
                    <a:pt x="329204" y="52940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0" name="Freeform: Shape 74">
              <a:extLst>
                <a:ext uri="{FF2B5EF4-FFF2-40B4-BE49-F238E27FC236}">
                  <a16:creationId xmlns:a16="http://schemas.microsoft.com/office/drawing/2014/main" id="{3E77A496-1927-DF3C-3ACF-DCE1AF6DA6D6}"/>
                </a:ext>
              </a:extLst>
            </p:cNvPr>
            <p:cNvSpPr/>
            <p:nvPr/>
          </p:nvSpPr>
          <p:spPr>
            <a:xfrm>
              <a:off x="5883391" y="2707683"/>
              <a:ext cx="551072" cy="551072"/>
            </a:xfrm>
            <a:custGeom>
              <a:avLst/>
              <a:gdLst>
                <a:gd name="connsiteX0" fmla="*/ 100367 w 551072"/>
                <a:gd name="connsiteY0" fmla="*/ 67445 h 551072"/>
                <a:gd name="connsiteX1" fmla="*/ 100367 w 551072"/>
                <a:gd name="connsiteY1" fmla="*/ 483627 h 551072"/>
                <a:gd name="connsiteX2" fmla="*/ 80703 w 551072"/>
                <a:gd name="connsiteY2" fmla="*/ 470369 h 551072"/>
                <a:gd name="connsiteX3" fmla="*/ 0 w 551072"/>
                <a:gd name="connsiteY3" fmla="*/ 275536 h 551072"/>
                <a:gd name="connsiteX4" fmla="*/ 80703 w 551072"/>
                <a:gd name="connsiteY4" fmla="*/ 80703 h 551072"/>
                <a:gd name="connsiteX5" fmla="*/ 275536 w 551072"/>
                <a:gd name="connsiteY5" fmla="*/ 0 h 551072"/>
                <a:gd name="connsiteX6" fmla="*/ 551072 w 551072"/>
                <a:gd name="connsiteY6" fmla="*/ 275536 h 551072"/>
                <a:gd name="connsiteX7" fmla="*/ 275536 w 551072"/>
                <a:gd name="connsiteY7" fmla="*/ 551072 h 551072"/>
                <a:gd name="connsiteX8" fmla="*/ 212609 w 551072"/>
                <a:gd name="connsiteY8" fmla="*/ 538368 h 551072"/>
                <a:gd name="connsiteX9" fmla="*/ 212609 w 551072"/>
                <a:gd name="connsiteY9" fmla="*/ 12705 h 551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1072" h="551072">
                  <a:moveTo>
                    <a:pt x="100367" y="67445"/>
                  </a:moveTo>
                  <a:lnTo>
                    <a:pt x="100367" y="483627"/>
                  </a:lnTo>
                  <a:lnTo>
                    <a:pt x="80703" y="470369"/>
                  </a:lnTo>
                  <a:cubicBezTo>
                    <a:pt x="30841" y="420507"/>
                    <a:pt x="0" y="351623"/>
                    <a:pt x="0" y="275536"/>
                  </a:cubicBezTo>
                  <a:cubicBezTo>
                    <a:pt x="0" y="199449"/>
                    <a:pt x="30841" y="130565"/>
                    <a:pt x="80703" y="80703"/>
                  </a:cubicBezTo>
                  <a:close/>
                  <a:moveTo>
                    <a:pt x="275536" y="0"/>
                  </a:moveTo>
                  <a:cubicBezTo>
                    <a:pt x="427710" y="0"/>
                    <a:pt x="551072" y="123362"/>
                    <a:pt x="551072" y="275536"/>
                  </a:cubicBezTo>
                  <a:cubicBezTo>
                    <a:pt x="551072" y="427710"/>
                    <a:pt x="427710" y="551072"/>
                    <a:pt x="275536" y="551072"/>
                  </a:cubicBezTo>
                  <a:lnTo>
                    <a:pt x="212609" y="538368"/>
                  </a:lnTo>
                  <a:lnTo>
                    <a:pt x="212609" y="1270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 name="Freeform: Shape 78">
              <a:extLst>
                <a:ext uri="{FF2B5EF4-FFF2-40B4-BE49-F238E27FC236}">
                  <a16:creationId xmlns:a16="http://schemas.microsoft.com/office/drawing/2014/main" id="{343C8F60-5CE1-EFC3-CBDD-9111C8286B92}"/>
                </a:ext>
              </a:extLst>
            </p:cNvPr>
            <p:cNvSpPr/>
            <p:nvPr/>
          </p:nvSpPr>
          <p:spPr>
            <a:xfrm>
              <a:off x="5846181" y="2353372"/>
              <a:ext cx="551072" cy="551072"/>
            </a:xfrm>
            <a:custGeom>
              <a:avLst/>
              <a:gdLst>
                <a:gd name="connsiteX0" fmla="*/ 137577 w 551072"/>
                <a:gd name="connsiteY0" fmla="*/ 42357 h 551072"/>
                <a:gd name="connsiteX1" fmla="*/ 137577 w 551072"/>
                <a:gd name="connsiteY1" fmla="*/ 508715 h 551072"/>
                <a:gd name="connsiteX2" fmla="*/ 80703 w 551072"/>
                <a:gd name="connsiteY2" fmla="*/ 470369 h 551072"/>
                <a:gd name="connsiteX3" fmla="*/ 0 w 551072"/>
                <a:gd name="connsiteY3" fmla="*/ 275536 h 551072"/>
                <a:gd name="connsiteX4" fmla="*/ 80703 w 551072"/>
                <a:gd name="connsiteY4" fmla="*/ 80703 h 551072"/>
                <a:gd name="connsiteX5" fmla="*/ 275536 w 551072"/>
                <a:gd name="connsiteY5" fmla="*/ 0 h 551072"/>
                <a:gd name="connsiteX6" fmla="*/ 551072 w 551072"/>
                <a:gd name="connsiteY6" fmla="*/ 275536 h 551072"/>
                <a:gd name="connsiteX7" fmla="*/ 275536 w 551072"/>
                <a:gd name="connsiteY7" fmla="*/ 551072 h 551072"/>
                <a:gd name="connsiteX8" fmla="*/ 249819 w 551072"/>
                <a:gd name="connsiteY8" fmla="*/ 545880 h 551072"/>
                <a:gd name="connsiteX9" fmla="*/ 249819 w 551072"/>
                <a:gd name="connsiteY9" fmla="*/ 5192 h 551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1072" h="551072">
                  <a:moveTo>
                    <a:pt x="137577" y="42357"/>
                  </a:moveTo>
                  <a:lnTo>
                    <a:pt x="137577" y="508715"/>
                  </a:lnTo>
                  <a:lnTo>
                    <a:pt x="80703" y="470369"/>
                  </a:lnTo>
                  <a:cubicBezTo>
                    <a:pt x="30841" y="420507"/>
                    <a:pt x="0" y="351623"/>
                    <a:pt x="0" y="275536"/>
                  </a:cubicBezTo>
                  <a:cubicBezTo>
                    <a:pt x="0" y="199449"/>
                    <a:pt x="30841" y="130565"/>
                    <a:pt x="80703" y="80703"/>
                  </a:cubicBezTo>
                  <a:close/>
                  <a:moveTo>
                    <a:pt x="275536" y="0"/>
                  </a:moveTo>
                  <a:cubicBezTo>
                    <a:pt x="427710" y="0"/>
                    <a:pt x="551072" y="123362"/>
                    <a:pt x="551072" y="275536"/>
                  </a:cubicBezTo>
                  <a:cubicBezTo>
                    <a:pt x="551072" y="427710"/>
                    <a:pt x="427710" y="551072"/>
                    <a:pt x="275536" y="551072"/>
                  </a:cubicBezTo>
                  <a:lnTo>
                    <a:pt x="249819" y="545880"/>
                  </a:lnTo>
                  <a:lnTo>
                    <a:pt x="249819" y="519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2" name="Freeform: Shape 82">
              <a:extLst>
                <a:ext uri="{FF2B5EF4-FFF2-40B4-BE49-F238E27FC236}">
                  <a16:creationId xmlns:a16="http://schemas.microsoft.com/office/drawing/2014/main" id="{796140D3-A23E-5899-D010-9E9CE3072629}"/>
                </a:ext>
              </a:extLst>
            </p:cNvPr>
            <p:cNvSpPr/>
            <p:nvPr/>
          </p:nvSpPr>
          <p:spPr>
            <a:xfrm>
              <a:off x="6096001" y="1915021"/>
              <a:ext cx="459403" cy="551072"/>
            </a:xfrm>
            <a:custGeom>
              <a:avLst/>
              <a:gdLst>
                <a:gd name="connsiteX0" fmla="*/ 183867 w 459403"/>
                <a:gd name="connsiteY0" fmla="*/ 0 h 551072"/>
                <a:gd name="connsiteX1" fmla="*/ 459403 w 459403"/>
                <a:gd name="connsiteY1" fmla="*/ 275536 h 551072"/>
                <a:gd name="connsiteX2" fmla="*/ 183867 w 459403"/>
                <a:gd name="connsiteY2" fmla="*/ 551072 h 551072"/>
                <a:gd name="connsiteX3" fmla="*/ 76616 w 459403"/>
                <a:gd name="connsiteY3" fmla="*/ 529419 h 551072"/>
                <a:gd name="connsiteX4" fmla="*/ 0 w 459403"/>
                <a:gd name="connsiteY4" fmla="*/ 477763 h 551072"/>
                <a:gd name="connsiteX5" fmla="*/ 0 w 459403"/>
                <a:gd name="connsiteY5" fmla="*/ 73309 h 551072"/>
                <a:gd name="connsiteX6" fmla="*/ 76616 w 459403"/>
                <a:gd name="connsiteY6" fmla="*/ 21653 h 551072"/>
                <a:gd name="connsiteX7" fmla="*/ 183867 w 459403"/>
                <a:gd name="connsiteY7" fmla="*/ 0 h 551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403" h="551072">
                  <a:moveTo>
                    <a:pt x="183867" y="0"/>
                  </a:moveTo>
                  <a:cubicBezTo>
                    <a:pt x="336041" y="0"/>
                    <a:pt x="459403" y="123362"/>
                    <a:pt x="459403" y="275536"/>
                  </a:cubicBezTo>
                  <a:cubicBezTo>
                    <a:pt x="459403" y="427710"/>
                    <a:pt x="336041" y="551072"/>
                    <a:pt x="183867" y="551072"/>
                  </a:cubicBezTo>
                  <a:cubicBezTo>
                    <a:pt x="145824" y="551072"/>
                    <a:pt x="109581" y="543362"/>
                    <a:pt x="76616" y="529419"/>
                  </a:cubicBezTo>
                  <a:lnTo>
                    <a:pt x="0" y="477763"/>
                  </a:lnTo>
                  <a:lnTo>
                    <a:pt x="0" y="73309"/>
                  </a:lnTo>
                  <a:lnTo>
                    <a:pt x="76616" y="21653"/>
                  </a:lnTo>
                  <a:cubicBezTo>
                    <a:pt x="109581" y="7710"/>
                    <a:pt x="145824" y="0"/>
                    <a:pt x="183867"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3" name="Freeform: Shape 80">
              <a:extLst>
                <a:ext uri="{FF2B5EF4-FFF2-40B4-BE49-F238E27FC236}">
                  <a16:creationId xmlns:a16="http://schemas.microsoft.com/office/drawing/2014/main" id="{7911D505-BCC8-CF7A-649A-53D4071FBB51}"/>
                </a:ext>
              </a:extLst>
            </p:cNvPr>
            <p:cNvSpPr/>
            <p:nvPr/>
          </p:nvSpPr>
          <p:spPr>
            <a:xfrm>
              <a:off x="5943272" y="1649871"/>
              <a:ext cx="551072" cy="551072"/>
            </a:xfrm>
            <a:custGeom>
              <a:avLst/>
              <a:gdLst>
                <a:gd name="connsiteX0" fmla="*/ 40486 w 551072"/>
                <a:gd name="connsiteY0" fmla="*/ 133588 h 551072"/>
                <a:gd name="connsiteX1" fmla="*/ 40486 w 551072"/>
                <a:gd name="connsiteY1" fmla="*/ 417484 h 551072"/>
                <a:gd name="connsiteX2" fmla="*/ 21653 w 551072"/>
                <a:gd name="connsiteY2" fmla="*/ 382787 h 551072"/>
                <a:gd name="connsiteX3" fmla="*/ 0 w 551072"/>
                <a:gd name="connsiteY3" fmla="*/ 275536 h 551072"/>
                <a:gd name="connsiteX4" fmla="*/ 21653 w 551072"/>
                <a:gd name="connsiteY4" fmla="*/ 168285 h 551072"/>
                <a:gd name="connsiteX5" fmla="*/ 275536 w 551072"/>
                <a:gd name="connsiteY5" fmla="*/ 0 h 551072"/>
                <a:gd name="connsiteX6" fmla="*/ 551072 w 551072"/>
                <a:gd name="connsiteY6" fmla="*/ 275536 h 551072"/>
                <a:gd name="connsiteX7" fmla="*/ 275536 w 551072"/>
                <a:gd name="connsiteY7" fmla="*/ 551072 h 551072"/>
                <a:gd name="connsiteX8" fmla="*/ 168285 w 551072"/>
                <a:gd name="connsiteY8" fmla="*/ 529419 h 551072"/>
                <a:gd name="connsiteX9" fmla="*/ 152728 w 551072"/>
                <a:gd name="connsiteY9" fmla="*/ 518930 h 551072"/>
                <a:gd name="connsiteX10" fmla="*/ 152728 w 551072"/>
                <a:gd name="connsiteY10" fmla="*/ 32142 h 551072"/>
                <a:gd name="connsiteX11" fmla="*/ 168285 w 551072"/>
                <a:gd name="connsiteY11" fmla="*/ 21653 h 551072"/>
                <a:gd name="connsiteX12" fmla="*/ 275536 w 551072"/>
                <a:gd name="connsiteY12" fmla="*/ 0 h 551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1072" h="551072">
                  <a:moveTo>
                    <a:pt x="40486" y="133588"/>
                  </a:moveTo>
                  <a:lnTo>
                    <a:pt x="40486" y="417484"/>
                  </a:lnTo>
                  <a:lnTo>
                    <a:pt x="21653" y="382787"/>
                  </a:lnTo>
                  <a:cubicBezTo>
                    <a:pt x="7710" y="349822"/>
                    <a:pt x="0" y="313580"/>
                    <a:pt x="0" y="275536"/>
                  </a:cubicBezTo>
                  <a:cubicBezTo>
                    <a:pt x="0" y="237493"/>
                    <a:pt x="7710" y="201250"/>
                    <a:pt x="21653" y="168285"/>
                  </a:cubicBezTo>
                  <a:close/>
                  <a:moveTo>
                    <a:pt x="275536" y="0"/>
                  </a:moveTo>
                  <a:cubicBezTo>
                    <a:pt x="427710" y="0"/>
                    <a:pt x="551072" y="123362"/>
                    <a:pt x="551072" y="275536"/>
                  </a:cubicBezTo>
                  <a:cubicBezTo>
                    <a:pt x="551072" y="427710"/>
                    <a:pt x="427710" y="551072"/>
                    <a:pt x="275536" y="551072"/>
                  </a:cubicBezTo>
                  <a:cubicBezTo>
                    <a:pt x="237493" y="551072"/>
                    <a:pt x="201250" y="543362"/>
                    <a:pt x="168285" y="529419"/>
                  </a:cubicBezTo>
                  <a:lnTo>
                    <a:pt x="152728" y="518930"/>
                  </a:lnTo>
                  <a:lnTo>
                    <a:pt x="152728" y="32142"/>
                  </a:lnTo>
                  <a:lnTo>
                    <a:pt x="168285" y="21653"/>
                  </a:lnTo>
                  <a:cubicBezTo>
                    <a:pt x="201250" y="7710"/>
                    <a:pt x="237493" y="0"/>
                    <a:pt x="275536"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4" name="Oval 43">
              <a:extLst>
                <a:ext uri="{FF2B5EF4-FFF2-40B4-BE49-F238E27FC236}">
                  <a16:creationId xmlns:a16="http://schemas.microsoft.com/office/drawing/2014/main" id="{99B2AF36-553C-0E36-1C04-9C6BABD441A4}"/>
                </a:ext>
              </a:extLst>
            </p:cNvPr>
            <p:cNvSpPr/>
            <p:nvPr/>
          </p:nvSpPr>
          <p:spPr>
            <a:xfrm>
              <a:off x="6220652" y="1736833"/>
              <a:ext cx="595985" cy="5518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2E8451C0-61F5-9661-F6FE-F79CF11485A4}"/>
                </a:ext>
              </a:extLst>
            </p:cNvPr>
            <p:cNvSpPr/>
            <p:nvPr/>
          </p:nvSpPr>
          <p:spPr>
            <a:xfrm>
              <a:off x="6401946" y="1940491"/>
              <a:ext cx="622954" cy="62755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A653FC62-46D6-F601-CBE2-0C6A0D718736}"/>
                </a:ext>
              </a:extLst>
            </p:cNvPr>
            <p:cNvSpPr/>
            <p:nvPr/>
          </p:nvSpPr>
          <p:spPr>
            <a:xfrm>
              <a:off x="6265566" y="2336471"/>
              <a:ext cx="551072" cy="5510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59C8003E-854A-95B6-7E5F-AFBE23036183}"/>
                </a:ext>
              </a:extLst>
            </p:cNvPr>
            <p:cNvSpPr/>
            <p:nvPr/>
          </p:nvSpPr>
          <p:spPr>
            <a:xfrm>
              <a:off x="6766958" y="2394889"/>
              <a:ext cx="551072" cy="5510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3B336A25-D1BC-4720-7221-9E7BA2382C6E}"/>
                </a:ext>
              </a:extLst>
            </p:cNvPr>
            <p:cNvSpPr/>
            <p:nvPr/>
          </p:nvSpPr>
          <p:spPr>
            <a:xfrm>
              <a:off x="6400360" y="2594483"/>
              <a:ext cx="551072" cy="55107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BFDF6FCE-F66A-E02A-F158-36354128D613}"/>
                </a:ext>
              </a:extLst>
            </p:cNvPr>
            <p:cNvSpPr/>
            <p:nvPr/>
          </p:nvSpPr>
          <p:spPr>
            <a:xfrm>
              <a:off x="6180698" y="2952189"/>
              <a:ext cx="551072" cy="5510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435F4DFD-36DA-6C8B-DBBB-ECC2BDCC00A2}"/>
                </a:ext>
              </a:extLst>
            </p:cNvPr>
            <p:cNvSpPr/>
            <p:nvPr/>
          </p:nvSpPr>
          <p:spPr>
            <a:xfrm>
              <a:off x="6118740" y="3359247"/>
              <a:ext cx="551072" cy="55107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Freeform: Shape 70">
              <a:extLst>
                <a:ext uri="{FF2B5EF4-FFF2-40B4-BE49-F238E27FC236}">
                  <a16:creationId xmlns:a16="http://schemas.microsoft.com/office/drawing/2014/main" id="{7053E077-A0BC-4B68-0BCC-9298BA4EC46A}"/>
                </a:ext>
              </a:extLst>
            </p:cNvPr>
            <p:cNvSpPr/>
            <p:nvPr/>
          </p:nvSpPr>
          <p:spPr>
            <a:xfrm>
              <a:off x="5498426" y="3395860"/>
              <a:ext cx="485333" cy="551072"/>
            </a:xfrm>
            <a:custGeom>
              <a:avLst/>
              <a:gdLst>
                <a:gd name="connsiteX0" fmla="*/ 275536 w 485333"/>
                <a:gd name="connsiteY0" fmla="*/ 0 h 551072"/>
                <a:gd name="connsiteX1" fmla="*/ 470370 w 485333"/>
                <a:gd name="connsiteY1" fmla="*/ 80703 h 551072"/>
                <a:gd name="connsiteX2" fmla="*/ 485333 w 485333"/>
                <a:gd name="connsiteY2" fmla="*/ 98839 h 551072"/>
                <a:gd name="connsiteX3" fmla="*/ 485333 w 485333"/>
                <a:gd name="connsiteY3" fmla="*/ 452233 h 551072"/>
                <a:gd name="connsiteX4" fmla="*/ 470370 w 485333"/>
                <a:gd name="connsiteY4" fmla="*/ 470369 h 551072"/>
                <a:gd name="connsiteX5" fmla="*/ 275536 w 485333"/>
                <a:gd name="connsiteY5" fmla="*/ 551072 h 551072"/>
                <a:gd name="connsiteX6" fmla="*/ 0 w 485333"/>
                <a:gd name="connsiteY6" fmla="*/ 275536 h 551072"/>
                <a:gd name="connsiteX7" fmla="*/ 275536 w 485333"/>
                <a:gd name="connsiteY7" fmla="*/ 0 h 551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5333" h="551072">
                  <a:moveTo>
                    <a:pt x="275536" y="0"/>
                  </a:moveTo>
                  <a:cubicBezTo>
                    <a:pt x="351623" y="0"/>
                    <a:pt x="420507" y="30841"/>
                    <a:pt x="470370" y="80703"/>
                  </a:cubicBezTo>
                  <a:lnTo>
                    <a:pt x="485333" y="98839"/>
                  </a:lnTo>
                  <a:lnTo>
                    <a:pt x="485333" y="452233"/>
                  </a:lnTo>
                  <a:lnTo>
                    <a:pt x="470370" y="470369"/>
                  </a:lnTo>
                  <a:cubicBezTo>
                    <a:pt x="420507" y="520232"/>
                    <a:pt x="351623" y="551072"/>
                    <a:pt x="275536" y="551072"/>
                  </a:cubicBezTo>
                  <a:cubicBezTo>
                    <a:pt x="123362" y="551072"/>
                    <a:pt x="0" y="427710"/>
                    <a:pt x="0" y="275536"/>
                  </a:cubicBezTo>
                  <a:cubicBezTo>
                    <a:pt x="0" y="123362"/>
                    <a:pt x="123362" y="0"/>
                    <a:pt x="275536"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2" name="Oval 51">
              <a:extLst>
                <a:ext uri="{FF2B5EF4-FFF2-40B4-BE49-F238E27FC236}">
                  <a16:creationId xmlns:a16="http://schemas.microsoft.com/office/drawing/2014/main" id="{DA21D9F0-8D70-CE2B-23EE-1075FD5A431A}"/>
                </a:ext>
              </a:extLst>
            </p:cNvPr>
            <p:cNvSpPr/>
            <p:nvPr/>
          </p:nvSpPr>
          <p:spPr>
            <a:xfrm>
              <a:off x="5091433" y="3425506"/>
              <a:ext cx="579489" cy="55107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Freeform: Shape 68">
              <a:extLst>
                <a:ext uri="{FF2B5EF4-FFF2-40B4-BE49-F238E27FC236}">
                  <a16:creationId xmlns:a16="http://schemas.microsoft.com/office/drawing/2014/main" id="{1D87A604-5D54-8996-FBF5-8A785B678537}"/>
                </a:ext>
              </a:extLst>
            </p:cNvPr>
            <p:cNvSpPr/>
            <p:nvPr/>
          </p:nvSpPr>
          <p:spPr>
            <a:xfrm>
              <a:off x="5496002" y="3633127"/>
              <a:ext cx="487756" cy="551072"/>
            </a:xfrm>
            <a:custGeom>
              <a:avLst/>
              <a:gdLst>
                <a:gd name="connsiteX0" fmla="*/ 275536 w 487756"/>
                <a:gd name="connsiteY0" fmla="*/ 0 h 551072"/>
                <a:gd name="connsiteX1" fmla="*/ 470369 w 487756"/>
                <a:gd name="connsiteY1" fmla="*/ 80703 h 551072"/>
                <a:gd name="connsiteX2" fmla="*/ 487756 w 487756"/>
                <a:gd name="connsiteY2" fmla="*/ 101776 h 551072"/>
                <a:gd name="connsiteX3" fmla="*/ 487756 w 487756"/>
                <a:gd name="connsiteY3" fmla="*/ 449296 h 551072"/>
                <a:gd name="connsiteX4" fmla="*/ 470369 w 487756"/>
                <a:gd name="connsiteY4" fmla="*/ 470369 h 551072"/>
                <a:gd name="connsiteX5" fmla="*/ 275536 w 487756"/>
                <a:gd name="connsiteY5" fmla="*/ 551072 h 551072"/>
                <a:gd name="connsiteX6" fmla="*/ 0 w 487756"/>
                <a:gd name="connsiteY6" fmla="*/ 275536 h 551072"/>
                <a:gd name="connsiteX7" fmla="*/ 275536 w 487756"/>
                <a:gd name="connsiteY7" fmla="*/ 0 h 551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756" h="551072">
                  <a:moveTo>
                    <a:pt x="275536" y="0"/>
                  </a:moveTo>
                  <a:cubicBezTo>
                    <a:pt x="351623" y="0"/>
                    <a:pt x="420507" y="30841"/>
                    <a:pt x="470369" y="80703"/>
                  </a:cubicBezTo>
                  <a:lnTo>
                    <a:pt x="487756" y="101776"/>
                  </a:lnTo>
                  <a:lnTo>
                    <a:pt x="487756" y="449296"/>
                  </a:lnTo>
                  <a:lnTo>
                    <a:pt x="470369" y="470369"/>
                  </a:lnTo>
                  <a:cubicBezTo>
                    <a:pt x="420507" y="520232"/>
                    <a:pt x="351623" y="551072"/>
                    <a:pt x="275536" y="551072"/>
                  </a:cubicBezTo>
                  <a:cubicBezTo>
                    <a:pt x="123362" y="551072"/>
                    <a:pt x="0" y="427710"/>
                    <a:pt x="0" y="275536"/>
                  </a:cubicBezTo>
                  <a:cubicBezTo>
                    <a:pt x="0" y="123362"/>
                    <a:pt x="123362" y="0"/>
                    <a:pt x="27553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4" name="Freeform: Shape 66">
              <a:extLst>
                <a:ext uri="{FF2B5EF4-FFF2-40B4-BE49-F238E27FC236}">
                  <a16:creationId xmlns:a16="http://schemas.microsoft.com/office/drawing/2014/main" id="{1D0EEEC2-9640-1376-9554-8EC48EFA8039}"/>
                </a:ext>
              </a:extLst>
            </p:cNvPr>
            <p:cNvSpPr/>
            <p:nvPr/>
          </p:nvSpPr>
          <p:spPr>
            <a:xfrm>
              <a:off x="5975266" y="3617259"/>
              <a:ext cx="551072" cy="551072"/>
            </a:xfrm>
            <a:custGeom>
              <a:avLst/>
              <a:gdLst>
                <a:gd name="connsiteX0" fmla="*/ 8492 w 551072"/>
                <a:gd name="connsiteY0" fmla="*/ 210683 h 551072"/>
                <a:gd name="connsiteX1" fmla="*/ 8492 w 551072"/>
                <a:gd name="connsiteY1" fmla="*/ 340389 h 551072"/>
                <a:gd name="connsiteX2" fmla="*/ 5598 w 551072"/>
                <a:gd name="connsiteY2" fmla="*/ 331066 h 551072"/>
                <a:gd name="connsiteX3" fmla="*/ 0 w 551072"/>
                <a:gd name="connsiteY3" fmla="*/ 275536 h 551072"/>
                <a:gd name="connsiteX4" fmla="*/ 5598 w 551072"/>
                <a:gd name="connsiteY4" fmla="*/ 220006 h 551072"/>
                <a:gd name="connsiteX5" fmla="*/ 275536 w 551072"/>
                <a:gd name="connsiteY5" fmla="*/ 0 h 551072"/>
                <a:gd name="connsiteX6" fmla="*/ 551072 w 551072"/>
                <a:gd name="connsiteY6" fmla="*/ 275536 h 551072"/>
                <a:gd name="connsiteX7" fmla="*/ 275536 w 551072"/>
                <a:gd name="connsiteY7" fmla="*/ 551072 h 551072"/>
                <a:gd name="connsiteX8" fmla="*/ 168285 w 551072"/>
                <a:gd name="connsiteY8" fmla="*/ 529419 h 551072"/>
                <a:gd name="connsiteX9" fmla="*/ 120734 w 551072"/>
                <a:gd name="connsiteY9" fmla="*/ 497359 h 551072"/>
                <a:gd name="connsiteX10" fmla="*/ 120734 w 551072"/>
                <a:gd name="connsiteY10" fmla="*/ 53713 h 551072"/>
                <a:gd name="connsiteX11" fmla="*/ 168285 w 551072"/>
                <a:gd name="connsiteY11" fmla="*/ 21653 h 551072"/>
                <a:gd name="connsiteX12" fmla="*/ 275536 w 551072"/>
                <a:gd name="connsiteY12" fmla="*/ 0 h 551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1072" h="551072">
                  <a:moveTo>
                    <a:pt x="8492" y="210683"/>
                  </a:moveTo>
                  <a:lnTo>
                    <a:pt x="8492" y="340389"/>
                  </a:lnTo>
                  <a:lnTo>
                    <a:pt x="5598" y="331066"/>
                  </a:lnTo>
                  <a:cubicBezTo>
                    <a:pt x="1928" y="313129"/>
                    <a:pt x="0" y="294558"/>
                    <a:pt x="0" y="275536"/>
                  </a:cubicBezTo>
                  <a:cubicBezTo>
                    <a:pt x="0" y="256514"/>
                    <a:pt x="1928" y="237943"/>
                    <a:pt x="5598" y="220006"/>
                  </a:cubicBezTo>
                  <a:close/>
                  <a:moveTo>
                    <a:pt x="275536" y="0"/>
                  </a:moveTo>
                  <a:cubicBezTo>
                    <a:pt x="427710" y="0"/>
                    <a:pt x="551072" y="123362"/>
                    <a:pt x="551072" y="275536"/>
                  </a:cubicBezTo>
                  <a:cubicBezTo>
                    <a:pt x="551072" y="427710"/>
                    <a:pt x="427710" y="551072"/>
                    <a:pt x="275536" y="551072"/>
                  </a:cubicBezTo>
                  <a:cubicBezTo>
                    <a:pt x="237493" y="551072"/>
                    <a:pt x="201250" y="543362"/>
                    <a:pt x="168285" y="529419"/>
                  </a:cubicBezTo>
                  <a:lnTo>
                    <a:pt x="120734" y="497359"/>
                  </a:lnTo>
                  <a:lnTo>
                    <a:pt x="120734" y="53713"/>
                  </a:lnTo>
                  <a:lnTo>
                    <a:pt x="168285" y="21653"/>
                  </a:lnTo>
                  <a:cubicBezTo>
                    <a:pt x="201250" y="7710"/>
                    <a:pt x="237493" y="0"/>
                    <a:pt x="275536"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5" name="Oval 54">
              <a:extLst>
                <a:ext uri="{FF2B5EF4-FFF2-40B4-BE49-F238E27FC236}">
                  <a16:creationId xmlns:a16="http://schemas.microsoft.com/office/drawing/2014/main" id="{726504EA-320F-1DD0-57D2-BDD48D5BCD04}"/>
                </a:ext>
              </a:extLst>
            </p:cNvPr>
            <p:cNvSpPr/>
            <p:nvPr/>
          </p:nvSpPr>
          <p:spPr>
            <a:xfrm>
              <a:off x="6287747" y="3638424"/>
              <a:ext cx="551072" cy="5510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FBAFF6C2-390C-3455-E02C-C3E9A5CCE73E}"/>
                </a:ext>
              </a:extLst>
            </p:cNvPr>
            <p:cNvSpPr/>
            <p:nvPr/>
          </p:nvSpPr>
          <p:spPr>
            <a:xfrm>
              <a:off x="6640368" y="3015335"/>
              <a:ext cx="551072" cy="5510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711C7BF1-DA1D-B0EC-2903-B446F02FAFE2}"/>
                </a:ext>
              </a:extLst>
            </p:cNvPr>
            <p:cNvSpPr/>
            <p:nvPr/>
          </p:nvSpPr>
          <p:spPr>
            <a:xfrm>
              <a:off x="6768934" y="2748212"/>
              <a:ext cx="551072" cy="55107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90F75165-8600-41E2-7861-DC9D6A9F3A2E}"/>
                </a:ext>
              </a:extLst>
            </p:cNvPr>
            <p:cNvSpPr/>
            <p:nvPr/>
          </p:nvSpPr>
          <p:spPr>
            <a:xfrm>
              <a:off x="6637254" y="2138481"/>
              <a:ext cx="551072" cy="5510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5E0B831F-83B9-A253-181F-869E6A87AE7A}"/>
                </a:ext>
              </a:extLst>
            </p:cNvPr>
            <p:cNvSpPr/>
            <p:nvPr/>
          </p:nvSpPr>
          <p:spPr>
            <a:xfrm>
              <a:off x="6473828" y="3283181"/>
              <a:ext cx="551072" cy="55107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8C5591BF-D022-6E34-3CA0-3B188F8ACD1F}"/>
                </a:ext>
              </a:extLst>
            </p:cNvPr>
            <p:cNvSpPr/>
            <p:nvPr/>
          </p:nvSpPr>
          <p:spPr>
            <a:xfrm>
              <a:off x="4839854" y="2877928"/>
              <a:ext cx="551072" cy="5510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Shape 3">
              <a:extLst>
                <a:ext uri="{FF2B5EF4-FFF2-40B4-BE49-F238E27FC236}">
                  <a16:creationId xmlns:a16="http://schemas.microsoft.com/office/drawing/2014/main" id="{D03ED491-8EDB-AEC0-C721-A05FAC6A5D9D}"/>
                </a:ext>
              </a:extLst>
            </p:cNvPr>
            <p:cNvSpPr/>
            <p:nvPr/>
          </p:nvSpPr>
          <p:spPr>
            <a:xfrm>
              <a:off x="6096000" y="1612178"/>
              <a:ext cx="1246812" cy="2602646"/>
            </a:xfrm>
            <a:custGeom>
              <a:avLst/>
              <a:gdLst>
                <a:gd name="connsiteX0" fmla="*/ 0 w 1246812"/>
                <a:gd name="connsiteY0" fmla="*/ 0 h 2602646"/>
                <a:gd name="connsiteX1" fmla="*/ 1246812 w 1246812"/>
                <a:gd name="connsiteY1" fmla="*/ 1246813 h 2602646"/>
                <a:gd name="connsiteX2" fmla="*/ 1246812 w 1246812"/>
                <a:gd name="connsiteY2" fmla="*/ 1289553 h 2602646"/>
                <a:gd name="connsiteX3" fmla="*/ 1160084 w 1246812"/>
                <a:gd name="connsiteY3" fmla="*/ 1721200 h 2602646"/>
                <a:gd name="connsiteX4" fmla="*/ 943637 w 1246812"/>
                <a:gd name="connsiteY4" fmla="*/ 2075893 h 2602646"/>
                <a:gd name="connsiteX5" fmla="*/ 651883 w 1246812"/>
                <a:gd name="connsiteY5" fmla="*/ 2549682 h 2602646"/>
                <a:gd name="connsiteX6" fmla="*/ 566551 w 1246812"/>
                <a:gd name="connsiteY6" fmla="*/ 2602646 h 2602646"/>
                <a:gd name="connsiteX7" fmla="*/ 0 w 1246812"/>
                <a:gd name="connsiteY7" fmla="*/ 2602646 h 2602646"/>
                <a:gd name="connsiteX8" fmla="*/ 0 w 1246812"/>
                <a:gd name="connsiteY8" fmla="*/ 2502851 h 2602646"/>
                <a:gd name="connsiteX9" fmla="*/ 563559 w 1246812"/>
                <a:gd name="connsiteY9" fmla="*/ 2502851 h 2602646"/>
                <a:gd name="connsiteX10" fmla="*/ 870025 w 1246812"/>
                <a:gd name="connsiteY10" fmla="*/ 2008565 h 2602646"/>
                <a:gd name="connsiteX11" fmla="*/ 1067022 w 1246812"/>
                <a:gd name="connsiteY11" fmla="*/ 1685142 h 2602646"/>
                <a:gd name="connsiteX12" fmla="*/ 1147067 w 1246812"/>
                <a:gd name="connsiteY12" fmla="*/ 1288157 h 2602646"/>
                <a:gd name="connsiteX13" fmla="*/ 1147067 w 1246812"/>
                <a:gd name="connsiteY13" fmla="*/ 1246813 h 2602646"/>
                <a:gd name="connsiteX14" fmla="*/ 116438 w 1246812"/>
                <a:gd name="connsiteY14" fmla="*/ 106429 h 2602646"/>
                <a:gd name="connsiteX15" fmla="*/ 0 w 1246812"/>
                <a:gd name="connsiteY15" fmla="*/ 100635 h 260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46812" h="2602646">
                  <a:moveTo>
                    <a:pt x="0" y="0"/>
                  </a:moveTo>
                  <a:cubicBezTo>
                    <a:pt x="688594" y="0"/>
                    <a:pt x="1246812" y="558218"/>
                    <a:pt x="1246812" y="1246813"/>
                  </a:cubicBezTo>
                  <a:lnTo>
                    <a:pt x="1246812" y="1289553"/>
                  </a:lnTo>
                  <a:cubicBezTo>
                    <a:pt x="1242299" y="1437281"/>
                    <a:pt x="1212984" y="1583198"/>
                    <a:pt x="1160084" y="1721200"/>
                  </a:cubicBezTo>
                  <a:cubicBezTo>
                    <a:pt x="1109603" y="1851362"/>
                    <a:pt x="1036305" y="1971475"/>
                    <a:pt x="943637" y="2075893"/>
                  </a:cubicBezTo>
                  <a:cubicBezTo>
                    <a:pt x="829429" y="2200574"/>
                    <a:pt x="704748" y="2441957"/>
                    <a:pt x="651883" y="2549682"/>
                  </a:cubicBezTo>
                  <a:cubicBezTo>
                    <a:pt x="635804" y="2582109"/>
                    <a:pt x="602744" y="2602627"/>
                    <a:pt x="566551" y="2602646"/>
                  </a:cubicBezTo>
                  <a:lnTo>
                    <a:pt x="0" y="2602646"/>
                  </a:lnTo>
                  <a:lnTo>
                    <a:pt x="0" y="2502851"/>
                  </a:lnTo>
                  <a:lnTo>
                    <a:pt x="563559" y="2502851"/>
                  </a:lnTo>
                  <a:cubicBezTo>
                    <a:pt x="627545" y="2372983"/>
                    <a:pt x="751379" y="2138034"/>
                    <a:pt x="870025" y="2008565"/>
                  </a:cubicBezTo>
                  <a:cubicBezTo>
                    <a:pt x="954425" y="1913349"/>
                    <a:pt x="1021134" y="1803819"/>
                    <a:pt x="1067022" y="1685142"/>
                  </a:cubicBezTo>
                  <a:cubicBezTo>
                    <a:pt x="1115722" y="1558221"/>
                    <a:pt x="1142778" y="1424029"/>
                    <a:pt x="1147067" y="1288157"/>
                  </a:cubicBezTo>
                  <a:lnTo>
                    <a:pt x="1147067" y="1246813"/>
                  </a:lnTo>
                  <a:cubicBezTo>
                    <a:pt x="1146628" y="652901"/>
                    <a:pt x="694899" y="164743"/>
                    <a:pt x="116438" y="106429"/>
                  </a:cubicBezTo>
                  <a:lnTo>
                    <a:pt x="0" y="100635"/>
                  </a:lnTo>
                  <a:close/>
                </a:path>
              </a:pathLst>
            </a:custGeom>
            <a:solidFill>
              <a:srgbClr val="000000"/>
            </a:solidFill>
            <a:ln w="49808" cap="flat">
              <a:noFill/>
              <a:prstDash val="solid"/>
              <a:miter/>
            </a:ln>
          </p:spPr>
          <p:txBody>
            <a:bodyPr rtlCol="0" anchor="ctr"/>
            <a:lstStyle/>
            <a:p>
              <a:endParaRPr lang="en-US"/>
            </a:p>
          </p:txBody>
        </p:sp>
        <p:sp>
          <p:nvSpPr>
            <p:cNvPr id="62" name="Freeform: Shape 4">
              <a:extLst>
                <a:ext uri="{FF2B5EF4-FFF2-40B4-BE49-F238E27FC236}">
                  <a16:creationId xmlns:a16="http://schemas.microsoft.com/office/drawing/2014/main" id="{FF2EBD82-4496-DD78-4A7C-DAF8BFA6378D}"/>
                </a:ext>
              </a:extLst>
            </p:cNvPr>
            <p:cNvSpPr/>
            <p:nvPr/>
          </p:nvSpPr>
          <p:spPr>
            <a:xfrm>
              <a:off x="5505409" y="4516802"/>
              <a:ext cx="1196940" cy="99745"/>
            </a:xfrm>
            <a:custGeom>
              <a:avLst/>
              <a:gdLst>
                <a:gd name="connsiteX0" fmla="*/ 1147068 w 1196940"/>
                <a:gd name="connsiteY0" fmla="*/ 0 h 99745"/>
                <a:gd name="connsiteX1" fmla="*/ 49873 w 1196940"/>
                <a:gd name="connsiteY1" fmla="*/ 0 h 99745"/>
                <a:gd name="connsiteX2" fmla="*/ 0 w 1196940"/>
                <a:gd name="connsiteY2" fmla="*/ 49873 h 99745"/>
                <a:gd name="connsiteX3" fmla="*/ 49873 w 1196940"/>
                <a:gd name="connsiteY3" fmla="*/ 99745 h 99745"/>
                <a:gd name="connsiteX4" fmla="*/ 1147068 w 1196940"/>
                <a:gd name="connsiteY4" fmla="*/ 99745 h 99745"/>
                <a:gd name="connsiteX5" fmla="*/ 1196940 w 1196940"/>
                <a:gd name="connsiteY5" fmla="*/ 49873 h 99745"/>
                <a:gd name="connsiteX6" fmla="*/ 1147068 w 1196940"/>
                <a:gd name="connsiteY6" fmla="*/ 0 h 99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6940" h="99745">
                  <a:moveTo>
                    <a:pt x="1147068" y="0"/>
                  </a:moveTo>
                  <a:lnTo>
                    <a:pt x="49873" y="0"/>
                  </a:lnTo>
                  <a:cubicBezTo>
                    <a:pt x="22328" y="0"/>
                    <a:pt x="0" y="22328"/>
                    <a:pt x="0" y="49873"/>
                  </a:cubicBezTo>
                  <a:cubicBezTo>
                    <a:pt x="0" y="77417"/>
                    <a:pt x="22328" y="99745"/>
                    <a:pt x="49873" y="99745"/>
                  </a:cubicBezTo>
                  <a:lnTo>
                    <a:pt x="1147068" y="99745"/>
                  </a:lnTo>
                  <a:cubicBezTo>
                    <a:pt x="1174612" y="99745"/>
                    <a:pt x="1196940" y="77417"/>
                    <a:pt x="1196940" y="49873"/>
                  </a:cubicBezTo>
                  <a:cubicBezTo>
                    <a:pt x="1196940" y="22328"/>
                    <a:pt x="1174612" y="0"/>
                    <a:pt x="1147068" y="0"/>
                  </a:cubicBezTo>
                  <a:close/>
                </a:path>
              </a:pathLst>
            </a:custGeom>
            <a:solidFill>
              <a:srgbClr val="000000"/>
            </a:solidFill>
            <a:ln w="49808" cap="flat">
              <a:noFill/>
              <a:prstDash val="solid"/>
              <a:miter/>
            </a:ln>
          </p:spPr>
          <p:txBody>
            <a:bodyPr rtlCol="0" anchor="ctr"/>
            <a:lstStyle/>
            <a:p>
              <a:endParaRPr lang="en-US"/>
            </a:p>
          </p:txBody>
        </p:sp>
        <p:sp>
          <p:nvSpPr>
            <p:cNvPr id="63" name="Freeform: Shape 5">
              <a:extLst>
                <a:ext uri="{FF2B5EF4-FFF2-40B4-BE49-F238E27FC236}">
                  <a16:creationId xmlns:a16="http://schemas.microsoft.com/office/drawing/2014/main" id="{3C0FF1F8-0DA8-DA63-884D-3269769EFC30}"/>
                </a:ext>
              </a:extLst>
            </p:cNvPr>
            <p:cNvSpPr/>
            <p:nvPr/>
          </p:nvSpPr>
          <p:spPr>
            <a:xfrm>
              <a:off x="5505409" y="4922216"/>
              <a:ext cx="1196940" cy="99745"/>
            </a:xfrm>
            <a:custGeom>
              <a:avLst/>
              <a:gdLst>
                <a:gd name="connsiteX0" fmla="*/ 1196940 w 1196940"/>
                <a:gd name="connsiteY0" fmla="*/ 49873 h 99745"/>
                <a:gd name="connsiteX1" fmla="*/ 1147068 w 1196940"/>
                <a:gd name="connsiteY1" fmla="*/ 0 h 99745"/>
                <a:gd name="connsiteX2" fmla="*/ 49873 w 1196940"/>
                <a:gd name="connsiteY2" fmla="*/ 0 h 99745"/>
                <a:gd name="connsiteX3" fmla="*/ 0 w 1196940"/>
                <a:gd name="connsiteY3" fmla="*/ 49873 h 99745"/>
                <a:gd name="connsiteX4" fmla="*/ 49873 w 1196940"/>
                <a:gd name="connsiteY4" fmla="*/ 99745 h 99745"/>
                <a:gd name="connsiteX5" fmla="*/ 1147068 w 1196940"/>
                <a:gd name="connsiteY5" fmla="*/ 99745 h 99745"/>
                <a:gd name="connsiteX6" fmla="*/ 1196940 w 1196940"/>
                <a:gd name="connsiteY6" fmla="*/ 49873 h 99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6940" h="99745">
                  <a:moveTo>
                    <a:pt x="1196940" y="49873"/>
                  </a:moveTo>
                  <a:cubicBezTo>
                    <a:pt x="1196940" y="22328"/>
                    <a:pt x="1174612" y="0"/>
                    <a:pt x="1147068" y="0"/>
                  </a:cubicBezTo>
                  <a:lnTo>
                    <a:pt x="49873" y="0"/>
                  </a:lnTo>
                  <a:cubicBezTo>
                    <a:pt x="22328" y="0"/>
                    <a:pt x="0" y="22328"/>
                    <a:pt x="0" y="49873"/>
                  </a:cubicBezTo>
                  <a:cubicBezTo>
                    <a:pt x="0" y="77417"/>
                    <a:pt x="22328" y="99745"/>
                    <a:pt x="49873" y="99745"/>
                  </a:cubicBezTo>
                  <a:lnTo>
                    <a:pt x="1147068" y="99745"/>
                  </a:lnTo>
                  <a:cubicBezTo>
                    <a:pt x="1174612" y="99745"/>
                    <a:pt x="1196940" y="77417"/>
                    <a:pt x="1196940" y="49873"/>
                  </a:cubicBezTo>
                  <a:close/>
                </a:path>
              </a:pathLst>
            </a:custGeom>
            <a:solidFill>
              <a:srgbClr val="000000"/>
            </a:solidFill>
            <a:ln w="49808" cap="flat">
              <a:noFill/>
              <a:prstDash val="solid"/>
              <a:miter/>
            </a:ln>
          </p:spPr>
          <p:txBody>
            <a:bodyPr rtlCol="0" anchor="ctr"/>
            <a:lstStyle/>
            <a:p>
              <a:endParaRPr lang="en-US"/>
            </a:p>
          </p:txBody>
        </p:sp>
        <p:sp>
          <p:nvSpPr>
            <p:cNvPr id="64" name="Freeform: Shape 6">
              <a:extLst>
                <a:ext uri="{FF2B5EF4-FFF2-40B4-BE49-F238E27FC236}">
                  <a16:creationId xmlns:a16="http://schemas.microsoft.com/office/drawing/2014/main" id="{CCED35F0-3B93-BB19-5939-A25D423D1CD3}"/>
                </a:ext>
              </a:extLst>
            </p:cNvPr>
            <p:cNvSpPr/>
            <p:nvPr/>
          </p:nvSpPr>
          <p:spPr>
            <a:xfrm>
              <a:off x="5808868" y="5317704"/>
              <a:ext cx="576554" cy="320126"/>
            </a:xfrm>
            <a:custGeom>
              <a:avLst/>
              <a:gdLst>
                <a:gd name="connsiteX0" fmla="*/ 576392 w 576554"/>
                <a:gd name="connsiteY0" fmla="*/ 53863 h 320126"/>
                <a:gd name="connsiteX1" fmla="*/ 530669 w 576554"/>
                <a:gd name="connsiteY1" fmla="*/ 160 h 320126"/>
                <a:gd name="connsiteX2" fmla="*/ 526519 w 576554"/>
                <a:gd name="connsiteY2" fmla="*/ 0 h 320126"/>
                <a:gd name="connsiteX3" fmla="*/ 50037 w 576554"/>
                <a:gd name="connsiteY3" fmla="*/ 0 h 320126"/>
                <a:gd name="connsiteX4" fmla="*/ 0 w 576554"/>
                <a:gd name="connsiteY4" fmla="*/ 49708 h 320126"/>
                <a:gd name="connsiteX5" fmla="*/ 165 w 576554"/>
                <a:gd name="connsiteY5" fmla="*/ 53913 h 320126"/>
                <a:gd name="connsiteX6" fmla="*/ 310990 w 576554"/>
                <a:gd name="connsiteY6" fmla="*/ 319214 h 320126"/>
                <a:gd name="connsiteX7" fmla="*/ 576292 w 576554"/>
                <a:gd name="connsiteY7" fmla="*/ 53913 h 320126"/>
                <a:gd name="connsiteX8" fmla="*/ 288627 w 576554"/>
                <a:gd name="connsiteY8" fmla="*/ 220287 h 320126"/>
                <a:gd name="connsiteX9" fmla="*/ 112578 w 576554"/>
                <a:gd name="connsiteY9" fmla="*/ 99745 h 320126"/>
                <a:gd name="connsiteX10" fmla="*/ 464727 w 576554"/>
                <a:gd name="connsiteY10" fmla="*/ 99745 h 320126"/>
                <a:gd name="connsiteX11" fmla="*/ 288677 w 576554"/>
                <a:gd name="connsiteY11" fmla="*/ 220287 h 320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6554" h="320126">
                  <a:moveTo>
                    <a:pt x="576392" y="53863"/>
                  </a:moveTo>
                  <a:cubicBezTo>
                    <a:pt x="578596" y="26408"/>
                    <a:pt x="558124" y="2364"/>
                    <a:pt x="530669" y="160"/>
                  </a:cubicBezTo>
                  <a:cubicBezTo>
                    <a:pt x="529287" y="50"/>
                    <a:pt x="527906" y="-5"/>
                    <a:pt x="526519" y="0"/>
                  </a:cubicBezTo>
                  <a:lnTo>
                    <a:pt x="50037" y="0"/>
                  </a:lnTo>
                  <a:cubicBezTo>
                    <a:pt x="22493" y="-89"/>
                    <a:pt x="90" y="22163"/>
                    <a:pt x="0" y="49708"/>
                  </a:cubicBezTo>
                  <a:cubicBezTo>
                    <a:pt x="-5" y="51110"/>
                    <a:pt x="50" y="52516"/>
                    <a:pt x="165" y="53913"/>
                  </a:cubicBezTo>
                  <a:cubicBezTo>
                    <a:pt x="12733" y="213006"/>
                    <a:pt x="151897" y="331787"/>
                    <a:pt x="310990" y="319214"/>
                  </a:cubicBezTo>
                  <a:cubicBezTo>
                    <a:pt x="452618" y="308028"/>
                    <a:pt x="565101" y="195540"/>
                    <a:pt x="576292" y="53913"/>
                  </a:cubicBezTo>
                  <a:close/>
                  <a:moveTo>
                    <a:pt x="288627" y="220287"/>
                  </a:moveTo>
                  <a:cubicBezTo>
                    <a:pt x="210901" y="219614"/>
                    <a:pt x="141314" y="171966"/>
                    <a:pt x="112578" y="99745"/>
                  </a:cubicBezTo>
                  <a:lnTo>
                    <a:pt x="464727" y="99745"/>
                  </a:lnTo>
                  <a:cubicBezTo>
                    <a:pt x="436091" y="172045"/>
                    <a:pt x="366444" y="219734"/>
                    <a:pt x="288677" y="220287"/>
                  </a:cubicBezTo>
                  <a:close/>
                </a:path>
              </a:pathLst>
            </a:custGeom>
            <a:solidFill>
              <a:srgbClr val="000000"/>
            </a:solidFill>
            <a:ln w="49808" cap="flat">
              <a:noFill/>
              <a:prstDash val="solid"/>
              <a:miter/>
            </a:ln>
          </p:spPr>
          <p:txBody>
            <a:bodyPr rtlCol="0" anchor="ctr"/>
            <a:lstStyle/>
            <a:p>
              <a:endParaRPr lang="en-US"/>
            </a:p>
          </p:txBody>
        </p:sp>
        <p:grpSp>
          <p:nvGrpSpPr>
            <p:cNvPr id="65" name="Group 64">
              <a:extLst>
                <a:ext uri="{FF2B5EF4-FFF2-40B4-BE49-F238E27FC236}">
                  <a16:creationId xmlns:a16="http://schemas.microsoft.com/office/drawing/2014/main" id="{D87F39D6-16BD-5E87-3F7A-EADCB247709B}"/>
                </a:ext>
              </a:extLst>
            </p:cNvPr>
            <p:cNvGrpSpPr/>
            <p:nvPr/>
          </p:nvGrpSpPr>
          <p:grpSpPr>
            <a:xfrm>
              <a:off x="4035665" y="1527080"/>
              <a:ext cx="746415" cy="2616176"/>
              <a:chOff x="3971356" y="1527080"/>
              <a:chExt cx="746415" cy="2616176"/>
            </a:xfrm>
          </p:grpSpPr>
          <p:sp>
            <p:nvSpPr>
              <p:cNvPr id="79" name="Freeform: Shape 21">
                <a:extLst>
                  <a:ext uri="{FF2B5EF4-FFF2-40B4-BE49-F238E27FC236}">
                    <a16:creationId xmlns:a16="http://schemas.microsoft.com/office/drawing/2014/main" id="{C98750CA-31CC-3C15-9CF0-259BF37F0D2B}"/>
                  </a:ext>
                </a:extLst>
              </p:cNvPr>
              <p:cNvSpPr/>
              <p:nvPr/>
            </p:nvSpPr>
            <p:spPr>
              <a:xfrm>
                <a:off x="4447706" y="1527080"/>
                <a:ext cx="270065" cy="268592"/>
              </a:xfrm>
              <a:custGeom>
                <a:avLst/>
                <a:gdLst>
                  <a:gd name="connsiteX0" fmla="*/ 229963 w 270065"/>
                  <a:gd name="connsiteY0" fmla="*/ 268592 h 268592"/>
                  <a:gd name="connsiteX1" fmla="*/ 201996 w 270065"/>
                  <a:gd name="connsiteY1" fmla="*/ 257006 h 268592"/>
                  <a:gd name="connsiteX2" fmla="*/ 12304 w 270065"/>
                  <a:gd name="connsiteY2" fmla="*/ 68792 h 268592"/>
                  <a:gd name="connsiteX3" fmla="*/ 11113 w 270065"/>
                  <a:gd name="connsiteY3" fmla="*/ 12304 h 268592"/>
                  <a:gd name="connsiteX4" fmla="*/ 67601 w 270065"/>
                  <a:gd name="connsiteY4" fmla="*/ 11113 h 268592"/>
                  <a:gd name="connsiteX5" fmla="*/ 68556 w 270065"/>
                  <a:gd name="connsiteY5" fmla="*/ 12060 h 268592"/>
                  <a:gd name="connsiteX6" fmla="*/ 258249 w 270065"/>
                  <a:gd name="connsiteY6" fmla="*/ 200274 h 268592"/>
                  <a:gd name="connsiteX7" fmla="*/ 258480 w 270065"/>
                  <a:gd name="connsiteY7" fmla="*/ 256775 h 268592"/>
                  <a:gd name="connsiteX8" fmla="*/ 230282 w 270065"/>
                  <a:gd name="connsiteY8" fmla="*/ 268592 h 26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0065" h="268592">
                    <a:moveTo>
                      <a:pt x="229963" y="268592"/>
                    </a:moveTo>
                    <a:cubicBezTo>
                      <a:pt x="219483" y="268548"/>
                      <a:pt x="209439" y="264385"/>
                      <a:pt x="201996" y="257006"/>
                    </a:cubicBezTo>
                    <a:lnTo>
                      <a:pt x="12304" y="68792"/>
                    </a:lnTo>
                    <a:cubicBezTo>
                      <a:pt x="-3625" y="53522"/>
                      <a:pt x="-4157" y="28233"/>
                      <a:pt x="11113" y="12304"/>
                    </a:cubicBezTo>
                    <a:cubicBezTo>
                      <a:pt x="26383" y="-3625"/>
                      <a:pt x="51672" y="-4157"/>
                      <a:pt x="67601" y="11113"/>
                    </a:cubicBezTo>
                    <a:cubicBezTo>
                      <a:pt x="67925" y="11421"/>
                      <a:pt x="68245" y="11740"/>
                      <a:pt x="68556" y="12060"/>
                    </a:cubicBezTo>
                    <a:lnTo>
                      <a:pt x="258249" y="200274"/>
                    </a:lnTo>
                    <a:cubicBezTo>
                      <a:pt x="273914" y="215812"/>
                      <a:pt x="274018" y="241109"/>
                      <a:pt x="258480" y="256775"/>
                    </a:cubicBezTo>
                    <a:cubicBezTo>
                      <a:pt x="251021" y="264297"/>
                      <a:pt x="240878" y="268548"/>
                      <a:pt x="230282" y="268592"/>
                    </a:cubicBezTo>
                    <a:close/>
                  </a:path>
                </a:pathLst>
              </a:custGeom>
              <a:solidFill>
                <a:srgbClr val="000000"/>
              </a:solidFill>
              <a:ln w="39886" cap="flat">
                <a:noFill/>
                <a:prstDash val="solid"/>
                <a:miter/>
              </a:ln>
            </p:spPr>
            <p:txBody>
              <a:bodyPr rtlCol="0" anchor="ctr"/>
              <a:lstStyle/>
              <a:p>
                <a:endParaRPr lang="en-US"/>
              </a:p>
            </p:txBody>
          </p:sp>
          <p:sp>
            <p:nvSpPr>
              <p:cNvPr id="80" name="Freeform: Shape 22">
                <a:extLst>
                  <a:ext uri="{FF2B5EF4-FFF2-40B4-BE49-F238E27FC236}">
                    <a16:creationId xmlns:a16="http://schemas.microsoft.com/office/drawing/2014/main" id="{F124E15E-CD92-902B-2733-3521E06864B9}"/>
                  </a:ext>
                </a:extLst>
              </p:cNvPr>
              <p:cNvSpPr/>
              <p:nvPr/>
            </p:nvSpPr>
            <p:spPr>
              <a:xfrm>
                <a:off x="4107230" y="2111440"/>
                <a:ext cx="351848" cy="195339"/>
              </a:xfrm>
              <a:custGeom>
                <a:avLst/>
                <a:gdLst>
                  <a:gd name="connsiteX0" fmla="*/ 311829 w 351848"/>
                  <a:gd name="connsiteY0" fmla="*/ 195340 h 195339"/>
                  <a:gd name="connsiteX1" fmla="*/ 296248 w 351848"/>
                  <a:gd name="connsiteY1" fmla="*/ 192144 h 195339"/>
                  <a:gd name="connsiteX2" fmla="*/ 23855 w 351848"/>
                  <a:gd name="connsiteY2" fmla="*/ 76522 h 195339"/>
                  <a:gd name="connsiteX3" fmla="*/ 3401 w 351848"/>
                  <a:gd name="connsiteY3" fmla="*/ 23853 h 195339"/>
                  <a:gd name="connsiteX4" fmla="*/ 55057 w 351848"/>
                  <a:gd name="connsiteY4" fmla="*/ 2971 h 195339"/>
                  <a:gd name="connsiteX5" fmla="*/ 327450 w 351848"/>
                  <a:gd name="connsiteY5" fmla="*/ 118592 h 195339"/>
                  <a:gd name="connsiteX6" fmla="*/ 348681 w 351848"/>
                  <a:gd name="connsiteY6" fmla="*/ 170953 h 195339"/>
                  <a:gd name="connsiteX7" fmla="*/ 311829 w 351848"/>
                  <a:gd name="connsiteY7" fmla="*/ 195340 h 19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848" h="195339">
                    <a:moveTo>
                      <a:pt x="311829" y="195340"/>
                    </a:moveTo>
                    <a:cubicBezTo>
                      <a:pt x="306476" y="195328"/>
                      <a:pt x="301174" y="194241"/>
                      <a:pt x="296248" y="192144"/>
                    </a:cubicBezTo>
                    <a:lnTo>
                      <a:pt x="23855" y="76522"/>
                    </a:lnTo>
                    <a:cubicBezTo>
                      <a:pt x="3662" y="67625"/>
                      <a:pt x="-5495" y="44045"/>
                      <a:pt x="3401" y="23853"/>
                    </a:cubicBezTo>
                    <a:cubicBezTo>
                      <a:pt x="12124" y="4053"/>
                      <a:pt x="35024" y="-5204"/>
                      <a:pt x="55057" y="2971"/>
                    </a:cubicBezTo>
                    <a:lnTo>
                      <a:pt x="327450" y="118592"/>
                    </a:lnTo>
                    <a:cubicBezTo>
                      <a:pt x="347774" y="127186"/>
                      <a:pt x="357279" y="150629"/>
                      <a:pt x="348681" y="170953"/>
                    </a:cubicBezTo>
                    <a:cubicBezTo>
                      <a:pt x="342420" y="185755"/>
                      <a:pt x="327902" y="195364"/>
                      <a:pt x="311829" y="195340"/>
                    </a:cubicBezTo>
                    <a:close/>
                  </a:path>
                </a:pathLst>
              </a:custGeom>
              <a:solidFill>
                <a:srgbClr val="000000"/>
              </a:solidFill>
              <a:ln w="39886" cap="flat">
                <a:noFill/>
                <a:prstDash val="solid"/>
                <a:miter/>
              </a:ln>
            </p:spPr>
            <p:txBody>
              <a:bodyPr rtlCol="0" anchor="ctr"/>
              <a:lstStyle/>
              <a:p>
                <a:endParaRPr lang="en-US"/>
              </a:p>
            </p:txBody>
          </p:sp>
          <p:sp>
            <p:nvSpPr>
              <p:cNvPr id="81" name="Freeform: Shape 23">
                <a:extLst>
                  <a:ext uri="{FF2B5EF4-FFF2-40B4-BE49-F238E27FC236}">
                    <a16:creationId xmlns:a16="http://schemas.microsoft.com/office/drawing/2014/main" id="{F0755246-EDDD-F2C7-A2E1-631B16AFAC0E}"/>
                  </a:ext>
                </a:extLst>
              </p:cNvPr>
              <p:cNvSpPr/>
              <p:nvPr/>
            </p:nvSpPr>
            <p:spPr>
              <a:xfrm>
                <a:off x="3971356" y="2789799"/>
                <a:ext cx="363244" cy="79904"/>
              </a:xfrm>
              <a:custGeom>
                <a:avLst/>
                <a:gdLst>
                  <a:gd name="connsiteX0" fmla="*/ 323292 w 363244"/>
                  <a:gd name="connsiteY0" fmla="*/ 79904 h 79904"/>
                  <a:gd name="connsiteX1" fmla="*/ 39952 w 363244"/>
                  <a:gd name="connsiteY1" fmla="*/ 79904 h 79904"/>
                  <a:gd name="connsiteX2" fmla="*/ 0 w 363244"/>
                  <a:gd name="connsiteY2" fmla="*/ 39952 h 79904"/>
                  <a:gd name="connsiteX3" fmla="*/ 39952 w 363244"/>
                  <a:gd name="connsiteY3" fmla="*/ 0 h 79904"/>
                  <a:gd name="connsiteX4" fmla="*/ 323292 w 363244"/>
                  <a:gd name="connsiteY4" fmla="*/ 0 h 79904"/>
                  <a:gd name="connsiteX5" fmla="*/ 363244 w 363244"/>
                  <a:gd name="connsiteY5" fmla="*/ 39952 h 79904"/>
                  <a:gd name="connsiteX6" fmla="*/ 323292 w 363244"/>
                  <a:gd name="connsiteY6" fmla="*/ 79904 h 7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3244" h="79904">
                    <a:moveTo>
                      <a:pt x="323292" y="79904"/>
                    </a:moveTo>
                    <a:lnTo>
                      <a:pt x="39952" y="79904"/>
                    </a:lnTo>
                    <a:cubicBezTo>
                      <a:pt x="17887" y="79904"/>
                      <a:pt x="0" y="62018"/>
                      <a:pt x="0" y="39952"/>
                    </a:cubicBezTo>
                    <a:cubicBezTo>
                      <a:pt x="0" y="17886"/>
                      <a:pt x="17887" y="0"/>
                      <a:pt x="39952" y="0"/>
                    </a:cubicBezTo>
                    <a:lnTo>
                      <a:pt x="323292" y="0"/>
                    </a:lnTo>
                    <a:cubicBezTo>
                      <a:pt x="345358" y="0"/>
                      <a:pt x="363244" y="17886"/>
                      <a:pt x="363244" y="39952"/>
                    </a:cubicBezTo>
                    <a:cubicBezTo>
                      <a:pt x="363244" y="62018"/>
                      <a:pt x="345358" y="79904"/>
                      <a:pt x="323292" y="79904"/>
                    </a:cubicBezTo>
                    <a:close/>
                  </a:path>
                </a:pathLst>
              </a:custGeom>
              <a:solidFill>
                <a:srgbClr val="000000"/>
              </a:solidFill>
              <a:ln w="39886" cap="flat">
                <a:noFill/>
                <a:prstDash val="solid"/>
                <a:miter/>
              </a:ln>
            </p:spPr>
            <p:txBody>
              <a:bodyPr rtlCol="0" anchor="ctr"/>
              <a:lstStyle/>
              <a:p>
                <a:endParaRPr lang="en-US"/>
              </a:p>
            </p:txBody>
          </p:sp>
          <p:sp>
            <p:nvSpPr>
              <p:cNvPr id="82" name="Freeform: Shape 24">
                <a:extLst>
                  <a:ext uri="{FF2B5EF4-FFF2-40B4-BE49-F238E27FC236}">
                    <a16:creationId xmlns:a16="http://schemas.microsoft.com/office/drawing/2014/main" id="{EFAB4029-6C23-694B-219A-8996CE244044}"/>
                  </a:ext>
                </a:extLst>
              </p:cNvPr>
              <p:cNvSpPr/>
              <p:nvPr/>
            </p:nvSpPr>
            <p:spPr>
              <a:xfrm>
                <a:off x="4046234" y="3384878"/>
                <a:ext cx="312720" cy="184746"/>
              </a:xfrm>
              <a:custGeom>
                <a:avLst/>
                <a:gdLst>
                  <a:gd name="connsiteX0" fmla="*/ 39984 w 312720"/>
                  <a:gd name="connsiteY0" fmla="*/ 184746 h 184746"/>
                  <a:gd name="connsiteX1" fmla="*/ 0 w 312720"/>
                  <a:gd name="connsiteY1" fmla="*/ 144826 h 184746"/>
                  <a:gd name="connsiteX2" fmla="*/ 23564 w 312720"/>
                  <a:gd name="connsiteY2" fmla="*/ 108358 h 184746"/>
                  <a:gd name="connsiteX3" fmla="*/ 255766 w 312720"/>
                  <a:gd name="connsiteY3" fmla="*/ 3803 h 184746"/>
                  <a:gd name="connsiteX4" fmla="*/ 308918 w 312720"/>
                  <a:gd name="connsiteY4" fmla="*/ 22968 h 184746"/>
                  <a:gd name="connsiteX5" fmla="*/ 289749 w 312720"/>
                  <a:gd name="connsiteY5" fmla="*/ 76120 h 184746"/>
                  <a:gd name="connsiteX6" fmla="*/ 288606 w 312720"/>
                  <a:gd name="connsiteY6" fmla="*/ 76636 h 184746"/>
                  <a:gd name="connsiteX7" fmla="*/ 56405 w 312720"/>
                  <a:gd name="connsiteY7" fmla="*/ 181190 h 184746"/>
                  <a:gd name="connsiteX8" fmla="*/ 39984 w 312720"/>
                  <a:gd name="connsiteY8" fmla="*/ 184746 h 18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720" h="184746">
                    <a:moveTo>
                      <a:pt x="39984" y="184746"/>
                    </a:moveTo>
                    <a:cubicBezTo>
                      <a:pt x="17920" y="184766"/>
                      <a:pt x="18" y="166892"/>
                      <a:pt x="0" y="144826"/>
                    </a:cubicBezTo>
                    <a:cubicBezTo>
                      <a:pt x="-13" y="129089"/>
                      <a:pt x="9213" y="114814"/>
                      <a:pt x="23564" y="108358"/>
                    </a:cubicBezTo>
                    <a:lnTo>
                      <a:pt x="255766" y="3803"/>
                    </a:lnTo>
                    <a:cubicBezTo>
                      <a:pt x="275734" y="-5582"/>
                      <a:pt x="299533" y="3000"/>
                      <a:pt x="308918" y="22968"/>
                    </a:cubicBezTo>
                    <a:cubicBezTo>
                      <a:pt x="318303" y="42940"/>
                      <a:pt x="309721" y="66736"/>
                      <a:pt x="289749" y="76120"/>
                    </a:cubicBezTo>
                    <a:cubicBezTo>
                      <a:pt x="289373" y="76296"/>
                      <a:pt x="288990" y="76468"/>
                      <a:pt x="288606" y="76636"/>
                    </a:cubicBezTo>
                    <a:lnTo>
                      <a:pt x="56405" y="181190"/>
                    </a:lnTo>
                    <a:cubicBezTo>
                      <a:pt x="51245" y="183528"/>
                      <a:pt x="45648" y="184738"/>
                      <a:pt x="39984" y="184746"/>
                    </a:cubicBezTo>
                    <a:close/>
                  </a:path>
                </a:pathLst>
              </a:custGeom>
              <a:solidFill>
                <a:srgbClr val="000000"/>
              </a:solidFill>
              <a:ln w="39886" cap="flat">
                <a:noFill/>
                <a:prstDash val="solid"/>
                <a:miter/>
              </a:ln>
            </p:spPr>
            <p:txBody>
              <a:bodyPr rtlCol="0" anchor="ctr"/>
              <a:lstStyle/>
              <a:p>
                <a:endParaRPr lang="en-US"/>
              </a:p>
            </p:txBody>
          </p:sp>
          <p:sp>
            <p:nvSpPr>
              <p:cNvPr id="83" name="Freeform: Shape 25">
                <a:extLst>
                  <a:ext uri="{FF2B5EF4-FFF2-40B4-BE49-F238E27FC236}">
                    <a16:creationId xmlns:a16="http://schemas.microsoft.com/office/drawing/2014/main" id="{267E8FD6-AA4F-0057-28A1-9D884BED3C42}"/>
                  </a:ext>
                </a:extLst>
              </p:cNvPr>
              <p:cNvSpPr/>
              <p:nvPr/>
            </p:nvSpPr>
            <p:spPr>
              <a:xfrm>
                <a:off x="4434233" y="3892795"/>
                <a:ext cx="258698" cy="250461"/>
              </a:xfrm>
              <a:custGeom>
                <a:avLst/>
                <a:gdLst>
                  <a:gd name="connsiteX0" fmla="*/ 39920 w 258698"/>
                  <a:gd name="connsiteY0" fmla="*/ 250461 h 250461"/>
                  <a:gd name="connsiteX1" fmla="*/ 0 w 258698"/>
                  <a:gd name="connsiteY1" fmla="*/ 210473 h 250461"/>
                  <a:gd name="connsiteX2" fmla="*/ 12353 w 258698"/>
                  <a:gd name="connsiteY2" fmla="*/ 181623 h 250461"/>
                  <a:gd name="connsiteX3" fmla="*/ 191019 w 258698"/>
                  <a:gd name="connsiteY3" fmla="*/ 11108 h 250461"/>
                  <a:gd name="connsiteX4" fmla="*/ 247591 w 258698"/>
                  <a:gd name="connsiteY4" fmla="*/ 12346 h 250461"/>
                  <a:gd name="connsiteX5" fmla="*/ 246353 w 258698"/>
                  <a:gd name="connsiteY5" fmla="*/ 68918 h 250461"/>
                  <a:gd name="connsiteX6" fmla="*/ 67687 w 258698"/>
                  <a:gd name="connsiteY6" fmla="*/ 239434 h 250461"/>
                  <a:gd name="connsiteX7" fmla="*/ 39920 w 258698"/>
                  <a:gd name="connsiteY7" fmla="*/ 250461 h 250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698" h="250461">
                    <a:moveTo>
                      <a:pt x="39920" y="250461"/>
                    </a:moveTo>
                    <a:cubicBezTo>
                      <a:pt x="17855" y="250441"/>
                      <a:pt x="-16" y="232538"/>
                      <a:pt x="0" y="210473"/>
                    </a:cubicBezTo>
                    <a:cubicBezTo>
                      <a:pt x="12" y="199574"/>
                      <a:pt x="4475" y="189154"/>
                      <a:pt x="12353" y="181623"/>
                    </a:cubicBezTo>
                    <a:lnTo>
                      <a:pt x="191019" y="11108"/>
                    </a:lnTo>
                    <a:cubicBezTo>
                      <a:pt x="206984" y="-4174"/>
                      <a:pt x="232309" y="-3618"/>
                      <a:pt x="247591" y="12346"/>
                    </a:cubicBezTo>
                    <a:cubicBezTo>
                      <a:pt x="262873" y="28311"/>
                      <a:pt x="262317" y="53637"/>
                      <a:pt x="246353" y="68918"/>
                    </a:cubicBezTo>
                    <a:lnTo>
                      <a:pt x="67687" y="239434"/>
                    </a:lnTo>
                    <a:cubicBezTo>
                      <a:pt x="60204" y="246562"/>
                      <a:pt x="50252" y="250513"/>
                      <a:pt x="39920" y="250461"/>
                    </a:cubicBezTo>
                    <a:close/>
                  </a:path>
                </a:pathLst>
              </a:custGeom>
              <a:solidFill>
                <a:srgbClr val="000000"/>
              </a:solidFill>
              <a:ln w="39886" cap="flat">
                <a:noFill/>
                <a:prstDash val="solid"/>
                <a:miter/>
              </a:ln>
            </p:spPr>
            <p:txBody>
              <a:bodyPr rtlCol="0" anchor="ctr"/>
              <a:lstStyle/>
              <a:p>
                <a:endParaRPr lang="en-US"/>
              </a:p>
            </p:txBody>
          </p:sp>
        </p:grpSp>
        <p:sp>
          <p:nvSpPr>
            <p:cNvPr id="66" name="Freeform: Shape 8">
              <a:extLst>
                <a:ext uri="{FF2B5EF4-FFF2-40B4-BE49-F238E27FC236}">
                  <a16:creationId xmlns:a16="http://schemas.microsoft.com/office/drawing/2014/main" id="{C3F551E1-F0A3-CEC9-C3C6-E7BD6FF69E42}"/>
                </a:ext>
              </a:extLst>
            </p:cNvPr>
            <p:cNvSpPr/>
            <p:nvPr/>
          </p:nvSpPr>
          <p:spPr>
            <a:xfrm>
              <a:off x="4783480" y="1612177"/>
              <a:ext cx="1246811" cy="2601417"/>
            </a:xfrm>
            <a:custGeom>
              <a:avLst/>
              <a:gdLst>
                <a:gd name="connsiteX0" fmla="*/ 884662 w 1238477"/>
                <a:gd name="connsiteY0" fmla="*/ 79904 h 2584028"/>
                <a:gd name="connsiteX1" fmla="*/ 1158573 w 1238477"/>
                <a:gd name="connsiteY1" fmla="*/ 354015 h 2584028"/>
                <a:gd name="connsiteX2" fmla="*/ 1158573 w 1238477"/>
                <a:gd name="connsiteY2" fmla="*/ 2318300 h 2584028"/>
                <a:gd name="connsiteX3" fmla="*/ 972816 w 1238477"/>
                <a:gd name="connsiteY3" fmla="*/ 2503538 h 2584028"/>
                <a:gd name="connsiteX4" fmla="*/ 796168 w 1238477"/>
                <a:gd name="connsiteY4" fmla="*/ 2373833 h 2584028"/>
                <a:gd name="connsiteX5" fmla="*/ 774194 w 1238477"/>
                <a:gd name="connsiteY5" fmla="*/ 2304237 h 2584028"/>
                <a:gd name="connsiteX6" fmla="*/ 702880 w 1238477"/>
                <a:gd name="connsiteY6" fmla="*/ 2319858 h 2584028"/>
                <a:gd name="connsiteX7" fmla="*/ 636360 w 1238477"/>
                <a:gd name="connsiteY7" fmla="*/ 2327049 h 2584028"/>
                <a:gd name="connsiteX8" fmla="*/ 327570 w 1238477"/>
                <a:gd name="connsiteY8" fmla="*/ 2017940 h 2584028"/>
                <a:gd name="connsiteX9" fmla="*/ 327570 w 1238477"/>
                <a:gd name="connsiteY9" fmla="*/ 2017580 h 2584028"/>
                <a:gd name="connsiteX10" fmla="*/ 327570 w 1238477"/>
                <a:gd name="connsiteY10" fmla="*/ 1962726 h 2584028"/>
                <a:gd name="connsiteX11" fmla="*/ 280866 w 1238477"/>
                <a:gd name="connsiteY11" fmla="*/ 1941392 h 2584028"/>
                <a:gd name="connsiteX12" fmla="*/ 110710 w 1238477"/>
                <a:gd name="connsiteY12" fmla="*/ 1485347 h 2584028"/>
                <a:gd name="connsiteX13" fmla="*/ 184262 w 1238477"/>
                <a:gd name="connsiteY13" fmla="*/ 1381144 h 2584028"/>
                <a:gd name="connsiteX14" fmla="*/ 229847 w 1238477"/>
                <a:gd name="connsiteY14" fmla="*/ 1336957 h 2584028"/>
                <a:gd name="connsiteX15" fmla="*/ 197086 w 1238477"/>
                <a:gd name="connsiteY15" fmla="*/ 1282582 h 2584028"/>
                <a:gd name="connsiteX16" fmla="*/ 183902 w 1238477"/>
                <a:gd name="connsiteY16" fmla="*/ 1258611 h 2584028"/>
                <a:gd name="connsiteX17" fmla="*/ 332364 w 1238477"/>
                <a:gd name="connsiteY17" fmla="*/ 822334 h 2584028"/>
                <a:gd name="connsiteX18" fmla="*/ 392852 w 1238477"/>
                <a:gd name="connsiteY18" fmla="*/ 792530 h 2584028"/>
                <a:gd name="connsiteX19" fmla="*/ 373635 w 1238477"/>
                <a:gd name="connsiteY19" fmla="*/ 727967 h 2584028"/>
                <a:gd name="connsiteX20" fmla="*/ 371637 w 1238477"/>
                <a:gd name="connsiteY20" fmla="*/ 720935 h 2584028"/>
                <a:gd name="connsiteX21" fmla="*/ 552580 w 1238477"/>
                <a:gd name="connsiteY21" fmla="*/ 407711 h 2584028"/>
                <a:gd name="connsiteX22" fmla="*/ 607914 w 1238477"/>
                <a:gd name="connsiteY22" fmla="*/ 392929 h 2584028"/>
                <a:gd name="connsiteX23" fmla="*/ 611669 w 1238477"/>
                <a:gd name="connsiteY23" fmla="*/ 335797 h 2584028"/>
                <a:gd name="connsiteX24" fmla="*/ 884662 w 1238477"/>
                <a:gd name="connsiteY24" fmla="*/ 80104 h 2584028"/>
                <a:gd name="connsiteX25" fmla="*/ 884662 w 1238477"/>
                <a:gd name="connsiteY25" fmla="*/ 200 h 2584028"/>
                <a:gd name="connsiteX26" fmla="*/ 884662 w 1238477"/>
                <a:gd name="connsiteY26" fmla="*/ 200 h 2584028"/>
                <a:gd name="connsiteX27" fmla="*/ 531965 w 1238477"/>
                <a:gd name="connsiteY27" fmla="*/ 330603 h 2584028"/>
                <a:gd name="connsiteX28" fmla="*/ 294446 w 1238477"/>
                <a:gd name="connsiteY28" fmla="*/ 741499 h 2584028"/>
                <a:gd name="connsiteX29" fmla="*/ 294490 w 1238477"/>
                <a:gd name="connsiteY29" fmla="*/ 741671 h 2584028"/>
                <a:gd name="connsiteX30" fmla="*/ 297086 w 1238477"/>
                <a:gd name="connsiteY30" fmla="*/ 750820 h 2584028"/>
                <a:gd name="connsiteX31" fmla="*/ 112428 w 1238477"/>
                <a:gd name="connsiteY31" fmla="*/ 1293928 h 2584028"/>
                <a:gd name="connsiteX32" fmla="*/ 128848 w 1238477"/>
                <a:gd name="connsiteY32" fmla="*/ 1323972 h 2584028"/>
                <a:gd name="connsiteX33" fmla="*/ 119651 w 1238477"/>
                <a:gd name="connsiteY33" fmla="*/ 1923657 h 2584028"/>
                <a:gd name="connsiteX34" fmla="*/ 247666 w 1238477"/>
                <a:gd name="connsiteY34" fmla="*/ 2014065 h 2584028"/>
                <a:gd name="connsiteX35" fmla="*/ 247666 w 1238477"/>
                <a:gd name="connsiteY35" fmla="*/ 2017580 h 2584028"/>
                <a:gd name="connsiteX36" fmla="*/ 636120 w 1238477"/>
                <a:gd name="connsiteY36" fmla="*/ 2406953 h 2584028"/>
                <a:gd name="connsiteX37" fmla="*/ 636599 w 1238477"/>
                <a:gd name="connsiteY37" fmla="*/ 2406953 h 2584028"/>
                <a:gd name="connsiteX38" fmla="*/ 719820 w 1238477"/>
                <a:gd name="connsiteY38" fmla="*/ 2397924 h 2584028"/>
                <a:gd name="connsiteX39" fmla="*/ 1052445 w 1238477"/>
                <a:gd name="connsiteY39" fmla="*/ 2571812 h 2584028"/>
                <a:gd name="connsiteX40" fmla="*/ 1238477 w 1238477"/>
                <a:gd name="connsiteY40" fmla="*/ 2318460 h 2584028"/>
                <a:gd name="connsiteX41" fmla="*/ 1238477 w 1238477"/>
                <a:gd name="connsiteY41" fmla="*/ 354015 h 2584028"/>
                <a:gd name="connsiteX42" fmla="*/ 884662 w 1238477"/>
                <a:gd name="connsiteY42" fmla="*/ 0 h 258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38477" h="2584028">
                  <a:moveTo>
                    <a:pt x="884662" y="79904"/>
                  </a:moveTo>
                  <a:cubicBezTo>
                    <a:pt x="1035916" y="80148"/>
                    <a:pt x="1158441" y="202761"/>
                    <a:pt x="1158573" y="354015"/>
                  </a:cubicBezTo>
                  <a:lnTo>
                    <a:pt x="1158573" y="2318300"/>
                  </a:lnTo>
                  <a:cubicBezTo>
                    <a:pt x="1158429" y="2420749"/>
                    <a:pt x="1075265" y="2503681"/>
                    <a:pt x="972816" y="2503538"/>
                  </a:cubicBezTo>
                  <a:cubicBezTo>
                    <a:pt x="891957" y="2503422"/>
                    <a:pt x="820487" y="2450948"/>
                    <a:pt x="796168" y="2373833"/>
                  </a:cubicBezTo>
                  <a:lnTo>
                    <a:pt x="774194" y="2304237"/>
                  </a:lnTo>
                  <a:lnTo>
                    <a:pt x="702880" y="2319858"/>
                  </a:lnTo>
                  <a:cubicBezTo>
                    <a:pt x="681030" y="2324644"/>
                    <a:pt x="658729" y="2327057"/>
                    <a:pt x="636360" y="2327049"/>
                  </a:cubicBezTo>
                  <a:cubicBezTo>
                    <a:pt x="465732" y="2326961"/>
                    <a:pt x="327482" y="2188567"/>
                    <a:pt x="327570" y="2017940"/>
                  </a:cubicBezTo>
                  <a:cubicBezTo>
                    <a:pt x="327570" y="2017820"/>
                    <a:pt x="327570" y="2017700"/>
                    <a:pt x="327570" y="2017580"/>
                  </a:cubicBezTo>
                  <a:lnTo>
                    <a:pt x="327570" y="1962726"/>
                  </a:lnTo>
                  <a:lnTo>
                    <a:pt x="280866" y="1941392"/>
                  </a:lnTo>
                  <a:cubicBezTo>
                    <a:pt x="107945" y="1862446"/>
                    <a:pt x="31765" y="1658267"/>
                    <a:pt x="110710" y="1485347"/>
                  </a:cubicBezTo>
                  <a:cubicBezTo>
                    <a:pt x="128521" y="1446333"/>
                    <a:pt x="153467" y="1410992"/>
                    <a:pt x="184262" y="1381144"/>
                  </a:cubicBezTo>
                  <a:lnTo>
                    <a:pt x="229847" y="1336957"/>
                  </a:lnTo>
                  <a:lnTo>
                    <a:pt x="197086" y="1282582"/>
                  </a:lnTo>
                  <a:cubicBezTo>
                    <a:pt x="192372" y="1274591"/>
                    <a:pt x="187937" y="1266601"/>
                    <a:pt x="183902" y="1258611"/>
                  </a:cubicBezTo>
                  <a:cubicBezTo>
                    <a:pt x="104581" y="1097128"/>
                    <a:pt x="171010" y="901914"/>
                    <a:pt x="332364" y="822334"/>
                  </a:cubicBezTo>
                  <a:lnTo>
                    <a:pt x="392852" y="792530"/>
                  </a:lnTo>
                  <a:lnTo>
                    <a:pt x="373635" y="727967"/>
                  </a:lnTo>
                  <a:cubicBezTo>
                    <a:pt x="372955" y="725650"/>
                    <a:pt x="372276" y="723333"/>
                    <a:pt x="371637" y="720935"/>
                  </a:cubicBezTo>
                  <a:cubicBezTo>
                    <a:pt x="335317" y="584503"/>
                    <a:pt x="416248" y="444403"/>
                    <a:pt x="552580" y="407711"/>
                  </a:cubicBezTo>
                  <a:lnTo>
                    <a:pt x="607914" y="392929"/>
                  </a:lnTo>
                  <a:lnTo>
                    <a:pt x="611669" y="335797"/>
                  </a:lnTo>
                  <a:cubicBezTo>
                    <a:pt x="621501" y="192150"/>
                    <a:pt x="740678" y="80523"/>
                    <a:pt x="884662" y="80104"/>
                  </a:cubicBezTo>
                  <a:moveTo>
                    <a:pt x="884662" y="200"/>
                  </a:moveTo>
                  <a:lnTo>
                    <a:pt x="884662" y="200"/>
                  </a:lnTo>
                  <a:cubicBezTo>
                    <a:pt x="698445" y="304"/>
                    <a:pt x="544210" y="144790"/>
                    <a:pt x="531965" y="330603"/>
                  </a:cubicBezTo>
                  <a:cubicBezTo>
                    <a:pt x="352911" y="378478"/>
                    <a:pt x="246567" y="562446"/>
                    <a:pt x="294446" y="741499"/>
                  </a:cubicBezTo>
                  <a:cubicBezTo>
                    <a:pt x="294458" y="741555"/>
                    <a:pt x="294474" y="741615"/>
                    <a:pt x="294490" y="741671"/>
                  </a:cubicBezTo>
                  <a:cubicBezTo>
                    <a:pt x="295289" y="744747"/>
                    <a:pt x="296168" y="747783"/>
                    <a:pt x="297086" y="750820"/>
                  </a:cubicBezTo>
                  <a:cubicBezTo>
                    <a:pt x="96159" y="849837"/>
                    <a:pt x="13495" y="1092957"/>
                    <a:pt x="112428" y="1293928"/>
                  </a:cubicBezTo>
                  <a:cubicBezTo>
                    <a:pt x="117462" y="1304208"/>
                    <a:pt x="122935" y="1314224"/>
                    <a:pt x="128848" y="1323972"/>
                  </a:cubicBezTo>
                  <a:cubicBezTo>
                    <a:pt x="-39290" y="1487033"/>
                    <a:pt x="-43409" y="1755519"/>
                    <a:pt x="119651" y="1923657"/>
                  </a:cubicBezTo>
                  <a:cubicBezTo>
                    <a:pt x="156335" y="1961484"/>
                    <a:pt x="199747" y="1992143"/>
                    <a:pt x="247666" y="2014065"/>
                  </a:cubicBezTo>
                  <a:lnTo>
                    <a:pt x="247666" y="2017580"/>
                  </a:lnTo>
                  <a:cubicBezTo>
                    <a:pt x="247422" y="2232367"/>
                    <a:pt x="421333" y="2406690"/>
                    <a:pt x="636120" y="2406953"/>
                  </a:cubicBezTo>
                  <a:lnTo>
                    <a:pt x="636599" y="2406953"/>
                  </a:lnTo>
                  <a:cubicBezTo>
                    <a:pt x="664582" y="2406949"/>
                    <a:pt x="692484" y="2403921"/>
                    <a:pt x="719820" y="2397924"/>
                  </a:cubicBezTo>
                  <a:cubicBezTo>
                    <a:pt x="763655" y="2537793"/>
                    <a:pt x="912576" y="2615647"/>
                    <a:pt x="1052445" y="2571812"/>
                  </a:cubicBezTo>
                  <a:cubicBezTo>
                    <a:pt x="1163172" y="2537109"/>
                    <a:pt x="1238521" y="2434500"/>
                    <a:pt x="1238477" y="2318460"/>
                  </a:cubicBezTo>
                  <a:lnTo>
                    <a:pt x="1238477" y="354015"/>
                  </a:lnTo>
                  <a:cubicBezTo>
                    <a:pt x="1238521" y="158558"/>
                    <a:pt x="1080119" y="68"/>
                    <a:pt x="884662" y="0"/>
                  </a:cubicBezTo>
                  <a:close/>
                </a:path>
              </a:pathLst>
            </a:custGeom>
            <a:solidFill>
              <a:srgbClr val="000000"/>
            </a:solidFill>
            <a:ln w="39886" cap="flat">
              <a:noFill/>
              <a:prstDash val="solid"/>
              <a:miter/>
            </a:ln>
          </p:spPr>
          <p:txBody>
            <a:bodyPr rtlCol="0" anchor="ctr"/>
            <a:lstStyle/>
            <a:p>
              <a:endParaRPr lang="en-US"/>
            </a:p>
          </p:txBody>
        </p:sp>
        <p:grpSp>
          <p:nvGrpSpPr>
            <p:cNvPr id="67" name="Group 66">
              <a:extLst>
                <a:ext uri="{FF2B5EF4-FFF2-40B4-BE49-F238E27FC236}">
                  <a16:creationId xmlns:a16="http://schemas.microsoft.com/office/drawing/2014/main" id="{1DEEEF2F-2A00-754C-D4BB-9E3D10C50220}"/>
                </a:ext>
              </a:extLst>
            </p:cNvPr>
            <p:cNvGrpSpPr/>
            <p:nvPr/>
          </p:nvGrpSpPr>
          <p:grpSpPr>
            <a:xfrm rot="10800000">
              <a:off x="7342812" y="1527080"/>
              <a:ext cx="746415" cy="2616176"/>
              <a:chOff x="9240042" y="2521207"/>
              <a:chExt cx="746415" cy="2616176"/>
            </a:xfrm>
          </p:grpSpPr>
          <p:sp>
            <p:nvSpPr>
              <p:cNvPr id="74" name="Freeform: Shape 16">
                <a:extLst>
                  <a:ext uri="{FF2B5EF4-FFF2-40B4-BE49-F238E27FC236}">
                    <a16:creationId xmlns:a16="http://schemas.microsoft.com/office/drawing/2014/main" id="{C1AB726A-1864-7955-3E90-58E8FF0D7B27}"/>
                  </a:ext>
                </a:extLst>
              </p:cNvPr>
              <p:cNvSpPr/>
              <p:nvPr/>
            </p:nvSpPr>
            <p:spPr>
              <a:xfrm>
                <a:off x="9716392" y="2521207"/>
                <a:ext cx="270065" cy="268592"/>
              </a:xfrm>
              <a:custGeom>
                <a:avLst/>
                <a:gdLst>
                  <a:gd name="connsiteX0" fmla="*/ 229963 w 270065"/>
                  <a:gd name="connsiteY0" fmla="*/ 268592 h 268592"/>
                  <a:gd name="connsiteX1" fmla="*/ 201996 w 270065"/>
                  <a:gd name="connsiteY1" fmla="*/ 257006 h 268592"/>
                  <a:gd name="connsiteX2" fmla="*/ 12304 w 270065"/>
                  <a:gd name="connsiteY2" fmla="*/ 68792 h 268592"/>
                  <a:gd name="connsiteX3" fmla="*/ 11113 w 270065"/>
                  <a:gd name="connsiteY3" fmla="*/ 12304 h 268592"/>
                  <a:gd name="connsiteX4" fmla="*/ 67601 w 270065"/>
                  <a:gd name="connsiteY4" fmla="*/ 11113 h 268592"/>
                  <a:gd name="connsiteX5" fmla="*/ 68556 w 270065"/>
                  <a:gd name="connsiteY5" fmla="*/ 12060 h 268592"/>
                  <a:gd name="connsiteX6" fmla="*/ 258249 w 270065"/>
                  <a:gd name="connsiteY6" fmla="*/ 200274 h 268592"/>
                  <a:gd name="connsiteX7" fmla="*/ 258480 w 270065"/>
                  <a:gd name="connsiteY7" fmla="*/ 256775 h 268592"/>
                  <a:gd name="connsiteX8" fmla="*/ 230282 w 270065"/>
                  <a:gd name="connsiteY8" fmla="*/ 268592 h 26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0065" h="268592">
                    <a:moveTo>
                      <a:pt x="229963" y="268592"/>
                    </a:moveTo>
                    <a:cubicBezTo>
                      <a:pt x="219483" y="268548"/>
                      <a:pt x="209439" y="264385"/>
                      <a:pt x="201996" y="257006"/>
                    </a:cubicBezTo>
                    <a:lnTo>
                      <a:pt x="12304" y="68792"/>
                    </a:lnTo>
                    <a:cubicBezTo>
                      <a:pt x="-3625" y="53522"/>
                      <a:pt x="-4157" y="28233"/>
                      <a:pt x="11113" y="12304"/>
                    </a:cubicBezTo>
                    <a:cubicBezTo>
                      <a:pt x="26383" y="-3625"/>
                      <a:pt x="51672" y="-4157"/>
                      <a:pt x="67601" y="11113"/>
                    </a:cubicBezTo>
                    <a:cubicBezTo>
                      <a:pt x="67925" y="11421"/>
                      <a:pt x="68245" y="11740"/>
                      <a:pt x="68556" y="12060"/>
                    </a:cubicBezTo>
                    <a:lnTo>
                      <a:pt x="258249" y="200274"/>
                    </a:lnTo>
                    <a:cubicBezTo>
                      <a:pt x="273914" y="215812"/>
                      <a:pt x="274018" y="241109"/>
                      <a:pt x="258480" y="256775"/>
                    </a:cubicBezTo>
                    <a:cubicBezTo>
                      <a:pt x="251021" y="264297"/>
                      <a:pt x="240878" y="268548"/>
                      <a:pt x="230282" y="268592"/>
                    </a:cubicBezTo>
                    <a:close/>
                  </a:path>
                </a:pathLst>
              </a:custGeom>
              <a:solidFill>
                <a:srgbClr val="000000"/>
              </a:solidFill>
              <a:ln w="39886" cap="flat">
                <a:noFill/>
                <a:prstDash val="solid"/>
                <a:miter/>
              </a:ln>
            </p:spPr>
            <p:txBody>
              <a:bodyPr rtlCol="0" anchor="ctr"/>
              <a:lstStyle/>
              <a:p>
                <a:endParaRPr lang="en-US"/>
              </a:p>
            </p:txBody>
          </p:sp>
          <p:sp>
            <p:nvSpPr>
              <p:cNvPr id="75" name="Freeform: Shape 17">
                <a:extLst>
                  <a:ext uri="{FF2B5EF4-FFF2-40B4-BE49-F238E27FC236}">
                    <a16:creationId xmlns:a16="http://schemas.microsoft.com/office/drawing/2014/main" id="{240F089E-DB15-8D91-CCA1-078A634C6FEF}"/>
                  </a:ext>
                </a:extLst>
              </p:cNvPr>
              <p:cNvSpPr/>
              <p:nvPr/>
            </p:nvSpPr>
            <p:spPr>
              <a:xfrm>
                <a:off x="9375916" y="3105567"/>
                <a:ext cx="351848" cy="195339"/>
              </a:xfrm>
              <a:custGeom>
                <a:avLst/>
                <a:gdLst>
                  <a:gd name="connsiteX0" fmla="*/ 311829 w 351848"/>
                  <a:gd name="connsiteY0" fmla="*/ 195340 h 195339"/>
                  <a:gd name="connsiteX1" fmla="*/ 296248 w 351848"/>
                  <a:gd name="connsiteY1" fmla="*/ 192144 h 195339"/>
                  <a:gd name="connsiteX2" fmla="*/ 23855 w 351848"/>
                  <a:gd name="connsiteY2" fmla="*/ 76522 h 195339"/>
                  <a:gd name="connsiteX3" fmla="*/ 3401 w 351848"/>
                  <a:gd name="connsiteY3" fmla="*/ 23853 h 195339"/>
                  <a:gd name="connsiteX4" fmla="*/ 55057 w 351848"/>
                  <a:gd name="connsiteY4" fmla="*/ 2971 h 195339"/>
                  <a:gd name="connsiteX5" fmla="*/ 327450 w 351848"/>
                  <a:gd name="connsiteY5" fmla="*/ 118592 h 195339"/>
                  <a:gd name="connsiteX6" fmla="*/ 348681 w 351848"/>
                  <a:gd name="connsiteY6" fmla="*/ 170953 h 195339"/>
                  <a:gd name="connsiteX7" fmla="*/ 311829 w 351848"/>
                  <a:gd name="connsiteY7" fmla="*/ 195340 h 19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848" h="195339">
                    <a:moveTo>
                      <a:pt x="311829" y="195340"/>
                    </a:moveTo>
                    <a:cubicBezTo>
                      <a:pt x="306476" y="195328"/>
                      <a:pt x="301174" y="194241"/>
                      <a:pt x="296248" y="192144"/>
                    </a:cubicBezTo>
                    <a:lnTo>
                      <a:pt x="23855" y="76522"/>
                    </a:lnTo>
                    <a:cubicBezTo>
                      <a:pt x="3662" y="67625"/>
                      <a:pt x="-5495" y="44045"/>
                      <a:pt x="3401" y="23853"/>
                    </a:cubicBezTo>
                    <a:cubicBezTo>
                      <a:pt x="12124" y="4053"/>
                      <a:pt x="35024" y="-5204"/>
                      <a:pt x="55057" y="2971"/>
                    </a:cubicBezTo>
                    <a:lnTo>
                      <a:pt x="327450" y="118592"/>
                    </a:lnTo>
                    <a:cubicBezTo>
                      <a:pt x="347774" y="127186"/>
                      <a:pt x="357279" y="150629"/>
                      <a:pt x="348681" y="170953"/>
                    </a:cubicBezTo>
                    <a:cubicBezTo>
                      <a:pt x="342420" y="185755"/>
                      <a:pt x="327902" y="195364"/>
                      <a:pt x="311829" y="195340"/>
                    </a:cubicBezTo>
                    <a:close/>
                  </a:path>
                </a:pathLst>
              </a:custGeom>
              <a:solidFill>
                <a:srgbClr val="000000"/>
              </a:solidFill>
              <a:ln w="39886" cap="flat">
                <a:noFill/>
                <a:prstDash val="solid"/>
                <a:miter/>
              </a:ln>
            </p:spPr>
            <p:txBody>
              <a:bodyPr rtlCol="0" anchor="ctr"/>
              <a:lstStyle/>
              <a:p>
                <a:endParaRPr lang="en-US"/>
              </a:p>
            </p:txBody>
          </p:sp>
          <p:sp>
            <p:nvSpPr>
              <p:cNvPr id="76" name="Freeform: Shape 18">
                <a:extLst>
                  <a:ext uri="{FF2B5EF4-FFF2-40B4-BE49-F238E27FC236}">
                    <a16:creationId xmlns:a16="http://schemas.microsoft.com/office/drawing/2014/main" id="{4B7E1A22-8E15-7D33-CA1F-ACC066254697}"/>
                  </a:ext>
                </a:extLst>
              </p:cNvPr>
              <p:cNvSpPr/>
              <p:nvPr/>
            </p:nvSpPr>
            <p:spPr>
              <a:xfrm>
                <a:off x="9240042" y="3783926"/>
                <a:ext cx="363244" cy="79904"/>
              </a:xfrm>
              <a:custGeom>
                <a:avLst/>
                <a:gdLst>
                  <a:gd name="connsiteX0" fmla="*/ 323292 w 363244"/>
                  <a:gd name="connsiteY0" fmla="*/ 79904 h 79904"/>
                  <a:gd name="connsiteX1" fmla="*/ 39952 w 363244"/>
                  <a:gd name="connsiteY1" fmla="*/ 79904 h 79904"/>
                  <a:gd name="connsiteX2" fmla="*/ 0 w 363244"/>
                  <a:gd name="connsiteY2" fmla="*/ 39952 h 79904"/>
                  <a:gd name="connsiteX3" fmla="*/ 39952 w 363244"/>
                  <a:gd name="connsiteY3" fmla="*/ 0 h 79904"/>
                  <a:gd name="connsiteX4" fmla="*/ 323292 w 363244"/>
                  <a:gd name="connsiteY4" fmla="*/ 0 h 79904"/>
                  <a:gd name="connsiteX5" fmla="*/ 363244 w 363244"/>
                  <a:gd name="connsiteY5" fmla="*/ 39952 h 79904"/>
                  <a:gd name="connsiteX6" fmla="*/ 323292 w 363244"/>
                  <a:gd name="connsiteY6" fmla="*/ 79904 h 7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3244" h="79904">
                    <a:moveTo>
                      <a:pt x="323292" y="79904"/>
                    </a:moveTo>
                    <a:lnTo>
                      <a:pt x="39952" y="79904"/>
                    </a:lnTo>
                    <a:cubicBezTo>
                      <a:pt x="17887" y="79904"/>
                      <a:pt x="0" y="62018"/>
                      <a:pt x="0" y="39952"/>
                    </a:cubicBezTo>
                    <a:cubicBezTo>
                      <a:pt x="0" y="17886"/>
                      <a:pt x="17887" y="0"/>
                      <a:pt x="39952" y="0"/>
                    </a:cubicBezTo>
                    <a:lnTo>
                      <a:pt x="323292" y="0"/>
                    </a:lnTo>
                    <a:cubicBezTo>
                      <a:pt x="345358" y="0"/>
                      <a:pt x="363244" y="17886"/>
                      <a:pt x="363244" y="39952"/>
                    </a:cubicBezTo>
                    <a:cubicBezTo>
                      <a:pt x="363244" y="62018"/>
                      <a:pt x="345358" y="79904"/>
                      <a:pt x="323292" y="79904"/>
                    </a:cubicBezTo>
                    <a:close/>
                  </a:path>
                </a:pathLst>
              </a:custGeom>
              <a:solidFill>
                <a:srgbClr val="000000"/>
              </a:solidFill>
              <a:ln w="39886" cap="flat">
                <a:noFill/>
                <a:prstDash val="solid"/>
                <a:miter/>
              </a:ln>
            </p:spPr>
            <p:txBody>
              <a:bodyPr rtlCol="0" anchor="ctr"/>
              <a:lstStyle/>
              <a:p>
                <a:endParaRPr lang="en-US"/>
              </a:p>
            </p:txBody>
          </p:sp>
          <p:sp>
            <p:nvSpPr>
              <p:cNvPr id="77" name="Freeform: Shape 19">
                <a:extLst>
                  <a:ext uri="{FF2B5EF4-FFF2-40B4-BE49-F238E27FC236}">
                    <a16:creationId xmlns:a16="http://schemas.microsoft.com/office/drawing/2014/main" id="{CBCD94C9-CA93-CA27-9B43-887BD782CA3E}"/>
                  </a:ext>
                </a:extLst>
              </p:cNvPr>
              <p:cNvSpPr/>
              <p:nvPr/>
            </p:nvSpPr>
            <p:spPr>
              <a:xfrm>
                <a:off x="9314920" y="4379005"/>
                <a:ext cx="312720" cy="184746"/>
              </a:xfrm>
              <a:custGeom>
                <a:avLst/>
                <a:gdLst>
                  <a:gd name="connsiteX0" fmla="*/ 39984 w 312720"/>
                  <a:gd name="connsiteY0" fmla="*/ 184746 h 184746"/>
                  <a:gd name="connsiteX1" fmla="*/ 0 w 312720"/>
                  <a:gd name="connsiteY1" fmla="*/ 144826 h 184746"/>
                  <a:gd name="connsiteX2" fmla="*/ 23564 w 312720"/>
                  <a:gd name="connsiteY2" fmla="*/ 108358 h 184746"/>
                  <a:gd name="connsiteX3" fmla="*/ 255766 w 312720"/>
                  <a:gd name="connsiteY3" fmla="*/ 3803 h 184746"/>
                  <a:gd name="connsiteX4" fmla="*/ 308918 w 312720"/>
                  <a:gd name="connsiteY4" fmla="*/ 22968 h 184746"/>
                  <a:gd name="connsiteX5" fmla="*/ 289749 w 312720"/>
                  <a:gd name="connsiteY5" fmla="*/ 76120 h 184746"/>
                  <a:gd name="connsiteX6" fmla="*/ 288606 w 312720"/>
                  <a:gd name="connsiteY6" fmla="*/ 76636 h 184746"/>
                  <a:gd name="connsiteX7" fmla="*/ 56405 w 312720"/>
                  <a:gd name="connsiteY7" fmla="*/ 181190 h 184746"/>
                  <a:gd name="connsiteX8" fmla="*/ 39984 w 312720"/>
                  <a:gd name="connsiteY8" fmla="*/ 184746 h 18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720" h="184746">
                    <a:moveTo>
                      <a:pt x="39984" y="184746"/>
                    </a:moveTo>
                    <a:cubicBezTo>
                      <a:pt x="17920" y="184766"/>
                      <a:pt x="18" y="166892"/>
                      <a:pt x="0" y="144826"/>
                    </a:cubicBezTo>
                    <a:cubicBezTo>
                      <a:pt x="-13" y="129089"/>
                      <a:pt x="9213" y="114814"/>
                      <a:pt x="23564" y="108358"/>
                    </a:cubicBezTo>
                    <a:lnTo>
                      <a:pt x="255766" y="3803"/>
                    </a:lnTo>
                    <a:cubicBezTo>
                      <a:pt x="275734" y="-5582"/>
                      <a:pt x="299533" y="3000"/>
                      <a:pt x="308918" y="22968"/>
                    </a:cubicBezTo>
                    <a:cubicBezTo>
                      <a:pt x="318303" y="42940"/>
                      <a:pt x="309721" y="66736"/>
                      <a:pt x="289749" y="76120"/>
                    </a:cubicBezTo>
                    <a:cubicBezTo>
                      <a:pt x="289373" y="76296"/>
                      <a:pt x="288990" y="76468"/>
                      <a:pt x="288606" y="76636"/>
                    </a:cubicBezTo>
                    <a:lnTo>
                      <a:pt x="56405" y="181190"/>
                    </a:lnTo>
                    <a:cubicBezTo>
                      <a:pt x="51245" y="183528"/>
                      <a:pt x="45648" y="184738"/>
                      <a:pt x="39984" y="184746"/>
                    </a:cubicBezTo>
                    <a:close/>
                  </a:path>
                </a:pathLst>
              </a:custGeom>
              <a:solidFill>
                <a:srgbClr val="000000"/>
              </a:solidFill>
              <a:ln w="39886" cap="flat">
                <a:noFill/>
                <a:prstDash val="solid"/>
                <a:miter/>
              </a:ln>
            </p:spPr>
            <p:txBody>
              <a:bodyPr rtlCol="0" anchor="ctr"/>
              <a:lstStyle/>
              <a:p>
                <a:endParaRPr lang="en-US"/>
              </a:p>
            </p:txBody>
          </p:sp>
          <p:sp>
            <p:nvSpPr>
              <p:cNvPr id="78" name="Freeform: Shape 20">
                <a:extLst>
                  <a:ext uri="{FF2B5EF4-FFF2-40B4-BE49-F238E27FC236}">
                    <a16:creationId xmlns:a16="http://schemas.microsoft.com/office/drawing/2014/main" id="{E5AA656A-0B03-4B91-F3D8-1E911299CB11}"/>
                  </a:ext>
                </a:extLst>
              </p:cNvPr>
              <p:cNvSpPr/>
              <p:nvPr/>
            </p:nvSpPr>
            <p:spPr>
              <a:xfrm>
                <a:off x="9702919" y="4886922"/>
                <a:ext cx="258698" cy="250461"/>
              </a:xfrm>
              <a:custGeom>
                <a:avLst/>
                <a:gdLst>
                  <a:gd name="connsiteX0" fmla="*/ 39920 w 258698"/>
                  <a:gd name="connsiteY0" fmla="*/ 250461 h 250461"/>
                  <a:gd name="connsiteX1" fmla="*/ 0 w 258698"/>
                  <a:gd name="connsiteY1" fmla="*/ 210473 h 250461"/>
                  <a:gd name="connsiteX2" fmla="*/ 12353 w 258698"/>
                  <a:gd name="connsiteY2" fmla="*/ 181623 h 250461"/>
                  <a:gd name="connsiteX3" fmla="*/ 191019 w 258698"/>
                  <a:gd name="connsiteY3" fmla="*/ 11108 h 250461"/>
                  <a:gd name="connsiteX4" fmla="*/ 247591 w 258698"/>
                  <a:gd name="connsiteY4" fmla="*/ 12346 h 250461"/>
                  <a:gd name="connsiteX5" fmla="*/ 246353 w 258698"/>
                  <a:gd name="connsiteY5" fmla="*/ 68918 h 250461"/>
                  <a:gd name="connsiteX6" fmla="*/ 67687 w 258698"/>
                  <a:gd name="connsiteY6" fmla="*/ 239434 h 250461"/>
                  <a:gd name="connsiteX7" fmla="*/ 39920 w 258698"/>
                  <a:gd name="connsiteY7" fmla="*/ 250461 h 250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698" h="250461">
                    <a:moveTo>
                      <a:pt x="39920" y="250461"/>
                    </a:moveTo>
                    <a:cubicBezTo>
                      <a:pt x="17855" y="250441"/>
                      <a:pt x="-16" y="232538"/>
                      <a:pt x="0" y="210473"/>
                    </a:cubicBezTo>
                    <a:cubicBezTo>
                      <a:pt x="12" y="199574"/>
                      <a:pt x="4475" y="189154"/>
                      <a:pt x="12353" y="181623"/>
                    </a:cubicBezTo>
                    <a:lnTo>
                      <a:pt x="191019" y="11108"/>
                    </a:lnTo>
                    <a:cubicBezTo>
                      <a:pt x="206984" y="-4174"/>
                      <a:pt x="232309" y="-3618"/>
                      <a:pt x="247591" y="12346"/>
                    </a:cubicBezTo>
                    <a:cubicBezTo>
                      <a:pt x="262873" y="28311"/>
                      <a:pt x="262317" y="53637"/>
                      <a:pt x="246353" y="68918"/>
                    </a:cubicBezTo>
                    <a:lnTo>
                      <a:pt x="67687" y="239434"/>
                    </a:lnTo>
                    <a:cubicBezTo>
                      <a:pt x="60204" y="246562"/>
                      <a:pt x="50252" y="250513"/>
                      <a:pt x="39920" y="250461"/>
                    </a:cubicBezTo>
                    <a:close/>
                  </a:path>
                </a:pathLst>
              </a:custGeom>
              <a:solidFill>
                <a:srgbClr val="000000"/>
              </a:solidFill>
              <a:ln w="39886" cap="flat">
                <a:noFill/>
                <a:prstDash val="solid"/>
                <a:miter/>
              </a:ln>
            </p:spPr>
            <p:txBody>
              <a:bodyPr rtlCol="0" anchor="ctr"/>
              <a:lstStyle/>
              <a:p>
                <a:endParaRPr lang="en-US"/>
              </a:p>
            </p:txBody>
          </p:sp>
        </p:grpSp>
        <p:sp>
          <p:nvSpPr>
            <p:cNvPr id="68" name="Arc 67">
              <a:extLst>
                <a:ext uri="{FF2B5EF4-FFF2-40B4-BE49-F238E27FC236}">
                  <a16:creationId xmlns:a16="http://schemas.microsoft.com/office/drawing/2014/main" id="{7B84B72C-73D3-CA17-D7AA-E562740EE96C}"/>
                </a:ext>
              </a:extLst>
            </p:cNvPr>
            <p:cNvSpPr/>
            <p:nvPr/>
          </p:nvSpPr>
          <p:spPr>
            <a:xfrm>
              <a:off x="5118688" y="2605821"/>
              <a:ext cx="716280" cy="716280"/>
            </a:xfrm>
            <a:prstGeom prst="arc">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9" name="Arc 68">
              <a:extLst>
                <a:ext uri="{FF2B5EF4-FFF2-40B4-BE49-F238E27FC236}">
                  <a16:creationId xmlns:a16="http://schemas.microsoft.com/office/drawing/2014/main" id="{B0736A77-7B44-2DF0-6141-3E6F6A6347C0}"/>
                </a:ext>
              </a:extLst>
            </p:cNvPr>
            <p:cNvSpPr/>
            <p:nvPr/>
          </p:nvSpPr>
          <p:spPr>
            <a:xfrm rot="5853477">
              <a:off x="5115934" y="2209328"/>
              <a:ext cx="442137" cy="442137"/>
            </a:xfrm>
            <a:prstGeom prst="arc">
              <a:avLst>
                <a:gd name="adj1" fmla="val 16014103"/>
                <a:gd name="adj2" fmla="val 0"/>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0" name="Arc 69">
              <a:extLst>
                <a:ext uri="{FF2B5EF4-FFF2-40B4-BE49-F238E27FC236}">
                  <a16:creationId xmlns:a16="http://schemas.microsoft.com/office/drawing/2014/main" id="{4F24CC53-5DC7-1B82-2E47-638354DB9D51}"/>
                </a:ext>
              </a:extLst>
            </p:cNvPr>
            <p:cNvSpPr/>
            <p:nvPr/>
          </p:nvSpPr>
          <p:spPr>
            <a:xfrm rot="5962286">
              <a:off x="5067490" y="3071627"/>
              <a:ext cx="716280" cy="716280"/>
            </a:xfrm>
            <a:prstGeom prst="arc">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1" name="Arc 70">
              <a:extLst>
                <a:ext uri="{FF2B5EF4-FFF2-40B4-BE49-F238E27FC236}">
                  <a16:creationId xmlns:a16="http://schemas.microsoft.com/office/drawing/2014/main" id="{8F983623-DFAE-BB88-8AF9-32FAB7E70B89}"/>
                </a:ext>
              </a:extLst>
            </p:cNvPr>
            <p:cNvSpPr/>
            <p:nvPr/>
          </p:nvSpPr>
          <p:spPr>
            <a:xfrm rot="4500000">
              <a:off x="4729443" y="2741674"/>
              <a:ext cx="716280" cy="716280"/>
            </a:xfrm>
            <a:prstGeom prst="arc">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2" name="Arc 71">
              <a:extLst>
                <a:ext uri="{FF2B5EF4-FFF2-40B4-BE49-F238E27FC236}">
                  <a16:creationId xmlns:a16="http://schemas.microsoft.com/office/drawing/2014/main" id="{0A6CD659-35FB-B8C5-90F7-2DBAEC2D26D7}"/>
                </a:ext>
              </a:extLst>
            </p:cNvPr>
            <p:cNvSpPr/>
            <p:nvPr/>
          </p:nvSpPr>
          <p:spPr>
            <a:xfrm rot="10353477">
              <a:off x="5167464" y="2707739"/>
              <a:ext cx="442137" cy="442137"/>
            </a:xfrm>
            <a:prstGeom prst="arc">
              <a:avLst>
                <a:gd name="adj1" fmla="val 16014103"/>
                <a:gd name="adj2" fmla="val 19235039"/>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3" name="Arc 72">
              <a:extLst>
                <a:ext uri="{FF2B5EF4-FFF2-40B4-BE49-F238E27FC236}">
                  <a16:creationId xmlns:a16="http://schemas.microsoft.com/office/drawing/2014/main" id="{784531ED-738C-D6C3-D114-F6D4A4EB391F}"/>
                </a:ext>
              </a:extLst>
            </p:cNvPr>
            <p:cNvSpPr/>
            <p:nvPr/>
          </p:nvSpPr>
          <p:spPr>
            <a:xfrm rot="6030523">
              <a:off x="5238605" y="1784851"/>
              <a:ext cx="442137" cy="442137"/>
            </a:xfrm>
            <a:prstGeom prst="arc">
              <a:avLst>
                <a:gd name="adj1" fmla="val 16014103"/>
                <a:gd name="adj2" fmla="val 0"/>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89" name="TextBox 88">
            <a:extLst>
              <a:ext uri="{FF2B5EF4-FFF2-40B4-BE49-F238E27FC236}">
                <a16:creationId xmlns:a16="http://schemas.microsoft.com/office/drawing/2014/main" id="{A5212EA2-CCDA-C383-322C-9C489C6E26EB}"/>
              </a:ext>
            </a:extLst>
          </p:cNvPr>
          <p:cNvSpPr txBox="1"/>
          <p:nvPr/>
        </p:nvSpPr>
        <p:spPr>
          <a:xfrm>
            <a:off x="161183" y="2232813"/>
            <a:ext cx="3998986" cy="4616648"/>
          </a:xfrm>
          <a:prstGeom prst="rect">
            <a:avLst/>
          </a:prstGeom>
          <a:noFill/>
        </p:spPr>
        <p:txBody>
          <a:bodyPr wrap="square">
            <a:spAutoFit/>
          </a:bodyPr>
          <a:lstStyle/>
          <a:p>
            <a:pPr algn="l">
              <a:buNone/>
            </a:pPr>
            <a:r>
              <a:rPr lang="en-US" sz="1600" b="1" i="0" u="none" strike="noStrike" dirty="0">
                <a:solidFill>
                  <a:srgbClr val="000000"/>
                </a:solidFill>
                <a:effectLst/>
              </a:rPr>
              <a:t>How We Make Complex Decisions</a:t>
            </a:r>
          </a:p>
          <a:p>
            <a:pPr algn="l">
              <a:buNone/>
            </a:pPr>
            <a:endParaRPr lang="en-US" sz="1600" b="1" i="0" u="none" strike="noStrike" dirty="0">
              <a:solidFill>
                <a:srgbClr val="000000"/>
              </a:solidFill>
              <a:effectLst/>
            </a:endParaRPr>
          </a:p>
          <a:p>
            <a:pPr algn="l">
              <a:buNone/>
            </a:pPr>
            <a:r>
              <a:rPr lang="en-US" sz="1600" b="0" i="0" u="none" strike="noStrike" dirty="0">
                <a:solidFill>
                  <a:srgbClr val="000000"/>
                </a:solidFill>
                <a:effectLst/>
              </a:rPr>
              <a:t>Our process is guided by reasoning through several key areas:</a:t>
            </a:r>
          </a:p>
          <a:p>
            <a:pPr algn="l">
              <a:buNone/>
            </a:pPr>
            <a:endParaRPr lang="en-US" sz="1600" b="0" i="0" u="none" strike="noStrike" dirty="0">
              <a:solidFill>
                <a:srgbClr val="000000"/>
              </a:solidFill>
              <a:effectLst/>
            </a:endParaRPr>
          </a:p>
          <a:p>
            <a:pPr marL="285750" indent="-285750" algn="l">
              <a:buFont typeface="Arial" panose="020B0604020202020204" pitchFamily="34" charset="0"/>
              <a:buChar char="•"/>
            </a:pPr>
            <a:r>
              <a:rPr lang="en-US" sz="1600" b="1" i="0" u="none" strike="noStrike" dirty="0">
                <a:solidFill>
                  <a:srgbClr val="000000"/>
                </a:solidFill>
                <a:effectLst/>
              </a:rPr>
              <a:t>Scenarios:</a:t>
            </a:r>
            <a:r>
              <a:rPr lang="en-US" sz="1600" b="0" i="0" u="none" strike="noStrike" dirty="0">
                <a:solidFill>
                  <a:srgbClr val="000000"/>
                </a:solidFill>
                <a:effectLst/>
              </a:rPr>
              <a:t> We reason through multiple potential outcomes.</a:t>
            </a:r>
          </a:p>
          <a:p>
            <a:pPr marL="285750" indent="-285750" algn="l">
              <a:buFont typeface="Arial" panose="020B0604020202020204" pitchFamily="34" charset="0"/>
              <a:buChar char="•"/>
            </a:pPr>
            <a:r>
              <a:rPr lang="en-US" sz="1600" b="1" i="0" u="none" strike="noStrike" dirty="0">
                <a:solidFill>
                  <a:srgbClr val="000000"/>
                </a:solidFill>
                <a:effectLst/>
              </a:rPr>
              <a:t>Customer Impact:</a:t>
            </a:r>
            <a:r>
              <a:rPr lang="en-US" sz="1600" b="0" i="0" u="none" strike="noStrike" dirty="0">
                <a:solidFill>
                  <a:srgbClr val="000000"/>
                </a:solidFill>
                <a:effectLst/>
              </a:rPr>
              <a:t> We consider the effects on our customers.</a:t>
            </a:r>
          </a:p>
          <a:p>
            <a:pPr marL="285750" indent="-285750" algn="l">
              <a:buFont typeface="Arial" panose="020B0604020202020204" pitchFamily="34" charset="0"/>
              <a:buChar char="•"/>
            </a:pPr>
            <a:r>
              <a:rPr lang="en-US" sz="1600" b="1" i="0" u="none" strike="noStrike" dirty="0">
                <a:solidFill>
                  <a:srgbClr val="000000"/>
                </a:solidFill>
                <a:effectLst/>
              </a:rPr>
              <a:t>Ripple Effects:</a:t>
            </a:r>
            <a:r>
              <a:rPr lang="en-US" sz="1600" b="0" i="0" u="none" strike="noStrike" dirty="0">
                <a:solidFill>
                  <a:srgbClr val="000000"/>
                </a:solidFill>
                <a:effectLst/>
              </a:rPr>
              <a:t> We check the implications for other timelines and projects.</a:t>
            </a:r>
          </a:p>
          <a:p>
            <a:pPr marL="285750" indent="-285750" algn="l">
              <a:buFont typeface="Arial" panose="020B0604020202020204" pitchFamily="34" charset="0"/>
              <a:buChar char="•"/>
            </a:pPr>
            <a:r>
              <a:rPr lang="en-US" sz="1600" b="1" i="0" u="none" strike="noStrike" dirty="0">
                <a:solidFill>
                  <a:srgbClr val="000000"/>
                </a:solidFill>
                <a:effectLst/>
              </a:rPr>
              <a:t>Contingencies:</a:t>
            </a:r>
            <a:r>
              <a:rPr lang="en-US" sz="1600" b="0" i="0" u="none" strike="noStrike" dirty="0">
                <a:solidFill>
                  <a:srgbClr val="000000"/>
                </a:solidFill>
                <a:effectLst/>
              </a:rPr>
              <a:t> We anticipate potential problems and plan accordingly.</a:t>
            </a:r>
          </a:p>
          <a:p>
            <a:pPr marL="285750" indent="-285750" algn="l">
              <a:buFont typeface="Arial" panose="020B0604020202020204" pitchFamily="34" charset="0"/>
              <a:buChar char="•"/>
            </a:pPr>
            <a:r>
              <a:rPr lang="en-US" sz="1600" b="1" i="0" u="none" strike="noStrike" dirty="0">
                <a:solidFill>
                  <a:srgbClr val="000000"/>
                </a:solidFill>
                <a:effectLst/>
              </a:rPr>
              <a:t>Guiding Principle:</a:t>
            </a:r>
            <a:r>
              <a:rPr lang="en-US" sz="1600" b="0" i="0" u="none" strike="noStrike" dirty="0">
                <a:solidFill>
                  <a:srgbClr val="000000"/>
                </a:solidFill>
                <a:effectLst/>
              </a:rPr>
              <a:t> The solution framework from our prior lecture structures this entire process.</a:t>
            </a:r>
          </a:p>
        </p:txBody>
      </p:sp>
    </p:spTree>
    <p:extLst>
      <p:ext uri="{BB962C8B-B14F-4D97-AF65-F5344CB8AC3E}">
        <p14:creationId xmlns:p14="http://schemas.microsoft.com/office/powerpoint/2010/main" val="147317025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CB7791-D17C-5D61-A555-038CEFC2C7C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B12B1FA-14BE-3C4E-BB3F-49BE75897392}"/>
              </a:ext>
            </a:extLst>
          </p:cNvPr>
          <p:cNvSpPr>
            <a:spLocks noGrp="1"/>
          </p:cNvSpPr>
          <p:nvPr>
            <p:ph type="title"/>
          </p:nvPr>
        </p:nvSpPr>
        <p:spPr/>
        <p:txBody>
          <a:bodyPr/>
          <a:lstStyle/>
          <a:p>
            <a:r>
              <a:rPr lang="en-US" dirty="0"/>
              <a:t>The Tale of Two Minds: Fast and Slow Thinking</a:t>
            </a:r>
          </a:p>
        </p:txBody>
      </p:sp>
      <p:sp>
        <p:nvSpPr>
          <p:cNvPr id="4" name="Text Placeholder 3">
            <a:extLst>
              <a:ext uri="{FF2B5EF4-FFF2-40B4-BE49-F238E27FC236}">
                <a16:creationId xmlns:a16="http://schemas.microsoft.com/office/drawing/2014/main" id="{AC4880FF-2791-C04B-ED7D-3D8C1D5D471D}"/>
              </a:ext>
            </a:extLst>
          </p:cNvPr>
          <p:cNvSpPr>
            <a:spLocks noGrp="1"/>
          </p:cNvSpPr>
          <p:nvPr>
            <p:ph type="body" sz="quarter" idx="10"/>
          </p:nvPr>
        </p:nvSpPr>
        <p:spPr>
          <a:xfrm>
            <a:off x="384048" y="1193370"/>
            <a:ext cx="7334913" cy="4957763"/>
          </a:xfrm>
        </p:spPr>
        <p:txBody>
          <a:bodyPr/>
          <a:lstStyle/>
          <a:p>
            <a:r>
              <a:rPr lang="en-US" dirty="0"/>
              <a:t>Nobel laureate Daniel Kahneman introduced us to the concept of two distinct systems of thinking:</a:t>
            </a:r>
          </a:p>
          <a:p>
            <a:endParaRPr lang="en-US" dirty="0"/>
          </a:p>
          <a:p>
            <a:pPr lvl="1"/>
            <a:r>
              <a:rPr lang="en-US" dirty="0"/>
              <a:t>Fast: System 1 operates quickly automatically with little effort</a:t>
            </a:r>
            <a:br>
              <a:rPr lang="en-US" dirty="0"/>
            </a:br>
            <a:endParaRPr lang="en-US" dirty="0"/>
          </a:p>
          <a:p>
            <a:pPr lvl="1"/>
            <a:r>
              <a:rPr lang="en-US" dirty="0"/>
              <a:t>Slow: System 2 operates with reasoning and deliberation often in planning a strategic move in chess.</a:t>
            </a:r>
            <a:br>
              <a:rPr lang="en-US" dirty="0"/>
            </a:br>
            <a:endParaRPr lang="en-US" dirty="0"/>
          </a:p>
          <a:p>
            <a:r>
              <a:rPr lang="en-US" dirty="0"/>
              <a:t>Combined, these systems can be powerful, imagine, lightning-fast rule checking for fraud detection and reasoning to understand complex, multi-step fraud schemas.</a:t>
            </a:r>
          </a:p>
        </p:txBody>
      </p:sp>
      <p:pic>
        <p:nvPicPr>
          <p:cNvPr id="1026" name="Picture 2" descr="undefined">
            <a:extLst>
              <a:ext uri="{FF2B5EF4-FFF2-40B4-BE49-F238E27FC236}">
                <a16:creationId xmlns:a16="http://schemas.microsoft.com/office/drawing/2014/main" id="{98CC5ED1-2B99-F29D-2C4C-CF1EAD293E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51454" y="1165953"/>
            <a:ext cx="3289300" cy="4889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0435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452233-657E-EFEE-69D5-9A8B1F31A824}"/>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01C008E1-B04F-1E96-E2E5-A4A61E7D3D51}"/>
              </a:ext>
            </a:extLst>
          </p:cNvPr>
          <p:cNvSpPr/>
          <p:nvPr/>
        </p:nvSpPr>
        <p:spPr>
          <a:xfrm>
            <a:off x="2873832" y="277634"/>
            <a:ext cx="6095999" cy="1380013"/>
          </a:xfrm>
          <a:prstGeom prst="rect">
            <a:avLst/>
          </a:prstGeom>
          <a:solidFill>
            <a:srgbClr val="E3F6FD"/>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Track 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9:00 – 10:45</a:t>
            </a:r>
          </a:p>
        </p:txBody>
      </p:sp>
      <p:sp>
        <p:nvSpPr>
          <p:cNvPr id="7" name="Rectangle 6">
            <a:extLst>
              <a:ext uri="{FF2B5EF4-FFF2-40B4-BE49-F238E27FC236}">
                <a16:creationId xmlns:a16="http://schemas.microsoft.com/office/drawing/2014/main" id="{5AB8A560-E171-6EFF-169F-DAE8F740D846}"/>
              </a:ext>
            </a:extLst>
          </p:cNvPr>
          <p:cNvSpPr/>
          <p:nvPr/>
        </p:nvSpPr>
        <p:spPr>
          <a:xfrm>
            <a:off x="2873831" y="1963432"/>
            <a:ext cx="6096004" cy="482825"/>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Daily Scrum / Standu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11:00 – 11:15</a:t>
            </a:r>
          </a:p>
        </p:txBody>
      </p:sp>
      <p:sp>
        <p:nvSpPr>
          <p:cNvPr id="8" name="Rectangle 7">
            <a:extLst>
              <a:ext uri="{FF2B5EF4-FFF2-40B4-BE49-F238E27FC236}">
                <a16:creationId xmlns:a16="http://schemas.microsoft.com/office/drawing/2014/main" id="{A641461B-725D-DE89-7B79-55E483CC153B}"/>
              </a:ext>
            </a:extLst>
          </p:cNvPr>
          <p:cNvSpPr/>
          <p:nvPr/>
        </p:nvSpPr>
        <p:spPr>
          <a:xfrm>
            <a:off x="2873831" y="2446257"/>
            <a:ext cx="6096004" cy="66765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In-sprint Ceremon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11:15 – 12:00</a:t>
            </a:r>
          </a:p>
        </p:txBody>
      </p:sp>
      <p:sp>
        <p:nvSpPr>
          <p:cNvPr id="9" name="Rectangle 8">
            <a:extLst>
              <a:ext uri="{FF2B5EF4-FFF2-40B4-BE49-F238E27FC236}">
                <a16:creationId xmlns:a16="http://schemas.microsoft.com/office/drawing/2014/main" id="{BDFECCBC-D093-CFE1-2BD2-50C4472D8AC1}"/>
              </a:ext>
            </a:extLst>
          </p:cNvPr>
          <p:cNvSpPr/>
          <p:nvPr/>
        </p:nvSpPr>
        <p:spPr>
          <a:xfrm>
            <a:off x="2873831" y="3113913"/>
            <a:ext cx="6096004" cy="667656"/>
          </a:xfrm>
          <a:prstGeom prst="rect">
            <a:avLst/>
          </a:prstGeom>
          <a:solidFill>
            <a:schemeClr val="bg1">
              <a:lumMod val="8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Lun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12:00 – 1:00</a:t>
            </a:r>
          </a:p>
        </p:txBody>
      </p:sp>
      <p:sp>
        <p:nvSpPr>
          <p:cNvPr id="10" name="Rectangle 9">
            <a:extLst>
              <a:ext uri="{FF2B5EF4-FFF2-40B4-BE49-F238E27FC236}">
                <a16:creationId xmlns:a16="http://schemas.microsoft.com/office/drawing/2014/main" id="{CAFBEBCD-C208-41C4-79A0-F869D3567E3E}"/>
              </a:ext>
            </a:extLst>
          </p:cNvPr>
          <p:cNvSpPr/>
          <p:nvPr/>
        </p:nvSpPr>
        <p:spPr>
          <a:xfrm>
            <a:off x="2873831" y="3781569"/>
            <a:ext cx="6096004" cy="1229279"/>
          </a:xfrm>
          <a:prstGeom prst="rect">
            <a:avLst/>
          </a:prstGeom>
          <a:solidFill>
            <a:srgbClr val="E5E5FF"/>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Team Working Ti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1:00 – 4:15</a:t>
            </a:r>
          </a:p>
        </p:txBody>
      </p:sp>
      <p:sp>
        <p:nvSpPr>
          <p:cNvPr id="11" name="Rectangle 10">
            <a:extLst>
              <a:ext uri="{FF2B5EF4-FFF2-40B4-BE49-F238E27FC236}">
                <a16:creationId xmlns:a16="http://schemas.microsoft.com/office/drawing/2014/main" id="{B8291191-98B9-ECB3-DAF2-007A378692BB}"/>
              </a:ext>
            </a:extLst>
          </p:cNvPr>
          <p:cNvSpPr/>
          <p:nvPr/>
        </p:nvSpPr>
        <p:spPr>
          <a:xfrm>
            <a:off x="2873831" y="5293878"/>
            <a:ext cx="6096004" cy="482825"/>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Daily Neural Nugget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8555"/>
                </a:solidFill>
                <a:effectLst/>
                <a:uLnTx/>
                <a:uFillTx/>
                <a:latin typeface="Graphik" panose="020B0503030202060203" pitchFamily="34" charset="0"/>
                <a:ea typeface="+mn-ea"/>
                <a:cs typeface="+mn-cs"/>
              </a:rPr>
              <a:t>4:15 – 4:30</a:t>
            </a:r>
          </a:p>
        </p:txBody>
      </p:sp>
      <p:sp>
        <p:nvSpPr>
          <p:cNvPr id="12" name="Rectangle 11">
            <a:extLst>
              <a:ext uri="{FF2B5EF4-FFF2-40B4-BE49-F238E27FC236}">
                <a16:creationId xmlns:a16="http://schemas.microsoft.com/office/drawing/2014/main" id="{1C9B202F-A74C-2C63-E5DD-208DEAEDCB4C}"/>
              </a:ext>
            </a:extLst>
          </p:cNvPr>
          <p:cNvSpPr/>
          <p:nvPr/>
        </p:nvSpPr>
        <p:spPr>
          <a:xfrm>
            <a:off x="2873831" y="5776703"/>
            <a:ext cx="6096004" cy="667656"/>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Team Reflec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Graphik" panose="020B0503030202060203" pitchFamily="34" charset="0"/>
                <a:ea typeface="+mn-ea"/>
                <a:cs typeface="+mn-cs"/>
              </a:rPr>
              <a:t>4:30 – 5:00</a:t>
            </a:r>
          </a:p>
        </p:txBody>
      </p:sp>
      <p:grpSp>
        <p:nvGrpSpPr>
          <p:cNvPr id="14" name="Group 13">
            <a:extLst>
              <a:ext uri="{FF2B5EF4-FFF2-40B4-BE49-F238E27FC236}">
                <a16:creationId xmlns:a16="http://schemas.microsoft.com/office/drawing/2014/main" id="{26D6413A-BDFC-0AD7-1A76-4508B480C9C0}"/>
              </a:ext>
            </a:extLst>
          </p:cNvPr>
          <p:cNvGrpSpPr/>
          <p:nvPr/>
        </p:nvGrpSpPr>
        <p:grpSpPr>
          <a:xfrm>
            <a:off x="5130804" y="1658631"/>
            <a:ext cx="1582058" cy="367517"/>
            <a:chOff x="5304971" y="2202916"/>
            <a:chExt cx="1582058" cy="367517"/>
          </a:xfrm>
        </p:grpSpPr>
        <p:sp>
          <p:nvSpPr>
            <p:cNvPr id="13" name="Isosceles Triangle 12">
              <a:extLst>
                <a:ext uri="{FF2B5EF4-FFF2-40B4-BE49-F238E27FC236}">
                  <a16:creationId xmlns:a16="http://schemas.microsoft.com/office/drawing/2014/main" id="{698FC4E1-1F39-3089-3BA6-9EDB425DE53B}"/>
                </a:ext>
              </a:extLst>
            </p:cNvPr>
            <p:cNvSpPr/>
            <p:nvPr/>
          </p:nvSpPr>
          <p:spPr>
            <a:xfrm rot="10800000">
              <a:off x="5304971" y="2272890"/>
              <a:ext cx="1582058" cy="297543"/>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Isosceles Triangle 4">
              <a:extLst>
                <a:ext uri="{FF2B5EF4-FFF2-40B4-BE49-F238E27FC236}">
                  <a16:creationId xmlns:a16="http://schemas.microsoft.com/office/drawing/2014/main" id="{1B3BC8AA-E9FB-22B1-E1FE-0A7D457E95E1}"/>
                </a:ext>
              </a:extLst>
            </p:cNvPr>
            <p:cNvSpPr/>
            <p:nvPr/>
          </p:nvSpPr>
          <p:spPr>
            <a:xfrm rot="10800000">
              <a:off x="5304971" y="2202916"/>
              <a:ext cx="1582058" cy="297543"/>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cxnSp>
        <p:nvCxnSpPr>
          <p:cNvPr id="17" name="Straight Connector 16">
            <a:extLst>
              <a:ext uri="{FF2B5EF4-FFF2-40B4-BE49-F238E27FC236}">
                <a16:creationId xmlns:a16="http://schemas.microsoft.com/office/drawing/2014/main" id="{3C049F0E-C0F3-CE74-F9B7-3830D4A8F6E1}"/>
              </a:ext>
            </a:extLst>
          </p:cNvPr>
          <p:cNvCxnSpPr/>
          <p:nvPr/>
        </p:nvCxnSpPr>
        <p:spPr>
          <a:xfrm>
            <a:off x="1429662" y="1963431"/>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1B7D4FBF-7045-710E-1E17-5050793268D7}"/>
              </a:ext>
            </a:extLst>
          </p:cNvPr>
          <p:cNvCxnSpPr/>
          <p:nvPr/>
        </p:nvCxnSpPr>
        <p:spPr>
          <a:xfrm>
            <a:off x="1429662" y="3113913"/>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3EC9208F-BCFE-239B-2242-45EB1A13D889}"/>
              </a:ext>
            </a:extLst>
          </p:cNvPr>
          <p:cNvCxnSpPr>
            <a:cxnSpLocks/>
          </p:cNvCxnSpPr>
          <p:nvPr/>
        </p:nvCxnSpPr>
        <p:spPr>
          <a:xfrm>
            <a:off x="1429662" y="1963431"/>
            <a:ext cx="0" cy="1150482"/>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15" name="Rectangle 14">
            <a:extLst>
              <a:ext uri="{FF2B5EF4-FFF2-40B4-BE49-F238E27FC236}">
                <a16:creationId xmlns:a16="http://schemas.microsoft.com/office/drawing/2014/main" id="{C280489E-3917-5D19-C2C4-41E4D2B2704A}"/>
              </a:ext>
            </a:extLst>
          </p:cNvPr>
          <p:cNvSpPr/>
          <p:nvPr/>
        </p:nvSpPr>
        <p:spPr>
          <a:xfrm>
            <a:off x="209881" y="2291845"/>
            <a:ext cx="2198915" cy="53880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Individual Pod Teams Links</a:t>
            </a:r>
            <a:endParaRPr kumimoji="0" lang="en-US" sz="12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endParaRPr>
          </a:p>
        </p:txBody>
      </p:sp>
      <p:cxnSp>
        <p:nvCxnSpPr>
          <p:cNvPr id="22" name="Straight Connector 21">
            <a:extLst>
              <a:ext uri="{FF2B5EF4-FFF2-40B4-BE49-F238E27FC236}">
                <a16:creationId xmlns:a16="http://schemas.microsoft.com/office/drawing/2014/main" id="{F952B6FB-0DF6-A605-A696-BB63D2890780}"/>
              </a:ext>
            </a:extLst>
          </p:cNvPr>
          <p:cNvCxnSpPr/>
          <p:nvPr/>
        </p:nvCxnSpPr>
        <p:spPr>
          <a:xfrm>
            <a:off x="1429662" y="3814406"/>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435DB522-D688-9907-97AF-77A9FB639063}"/>
              </a:ext>
            </a:extLst>
          </p:cNvPr>
          <p:cNvCxnSpPr/>
          <p:nvPr/>
        </p:nvCxnSpPr>
        <p:spPr>
          <a:xfrm>
            <a:off x="1429662" y="4964888"/>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0B2A2616-CFE5-E74A-548D-73834AE3E7FE}"/>
              </a:ext>
            </a:extLst>
          </p:cNvPr>
          <p:cNvCxnSpPr>
            <a:cxnSpLocks/>
          </p:cNvCxnSpPr>
          <p:nvPr/>
        </p:nvCxnSpPr>
        <p:spPr>
          <a:xfrm>
            <a:off x="1429662" y="3814406"/>
            <a:ext cx="0" cy="1150482"/>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25" name="Rectangle 24">
            <a:extLst>
              <a:ext uri="{FF2B5EF4-FFF2-40B4-BE49-F238E27FC236}">
                <a16:creationId xmlns:a16="http://schemas.microsoft.com/office/drawing/2014/main" id="{BE3E09E2-7F03-437F-B737-6A77A058E70A}"/>
              </a:ext>
            </a:extLst>
          </p:cNvPr>
          <p:cNvSpPr/>
          <p:nvPr/>
        </p:nvSpPr>
        <p:spPr>
          <a:xfrm>
            <a:off x="209881" y="4142820"/>
            <a:ext cx="2198915" cy="53880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Individual Pod Teams Links</a:t>
            </a:r>
            <a:endParaRPr kumimoji="0" lang="en-US" sz="12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endParaRPr>
          </a:p>
        </p:txBody>
      </p:sp>
      <p:grpSp>
        <p:nvGrpSpPr>
          <p:cNvPr id="26" name="Group 25">
            <a:extLst>
              <a:ext uri="{FF2B5EF4-FFF2-40B4-BE49-F238E27FC236}">
                <a16:creationId xmlns:a16="http://schemas.microsoft.com/office/drawing/2014/main" id="{7A1FAC35-73B1-5E7B-CF6D-08F10C96E7FE}"/>
              </a:ext>
            </a:extLst>
          </p:cNvPr>
          <p:cNvGrpSpPr/>
          <p:nvPr/>
        </p:nvGrpSpPr>
        <p:grpSpPr>
          <a:xfrm>
            <a:off x="5130804" y="5010848"/>
            <a:ext cx="1582058" cy="367517"/>
            <a:chOff x="5304971" y="2202916"/>
            <a:chExt cx="1582058" cy="367517"/>
          </a:xfrm>
        </p:grpSpPr>
        <p:sp>
          <p:nvSpPr>
            <p:cNvPr id="27" name="Isosceles Triangle 26">
              <a:extLst>
                <a:ext uri="{FF2B5EF4-FFF2-40B4-BE49-F238E27FC236}">
                  <a16:creationId xmlns:a16="http://schemas.microsoft.com/office/drawing/2014/main" id="{56306474-AADA-D1DE-6788-005E926B9C5C}"/>
                </a:ext>
              </a:extLst>
            </p:cNvPr>
            <p:cNvSpPr/>
            <p:nvPr/>
          </p:nvSpPr>
          <p:spPr>
            <a:xfrm rot="10800000">
              <a:off x="5304971" y="2272890"/>
              <a:ext cx="1582058" cy="297543"/>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Isosceles Triangle 27">
              <a:extLst>
                <a:ext uri="{FF2B5EF4-FFF2-40B4-BE49-F238E27FC236}">
                  <a16:creationId xmlns:a16="http://schemas.microsoft.com/office/drawing/2014/main" id="{1BDB4C49-0399-F165-5F6E-B65E364883DF}"/>
                </a:ext>
              </a:extLst>
            </p:cNvPr>
            <p:cNvSpPr/>
            <p:nvPr/>
          </p:nvSpPr>
          <p:spPr>
            <a:xfrm rot="10800000">
              <a:off x="5304971" y="2202916"/>
              <a:ext cx="1582058" cy="297543"/>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cxnSp>
        <p:nvCxnSpPr>
          <p:cNvPr id="29" name="Straight Connector 28">
            <a:extLst>
              <a:ext uri="{FF2B5EF4-FFF2-40B4-BE49-F238E27FC236}">
                <a16:creationId xmlns:a16="http://schemas.microsoft.com/office/drawing/2014/main" id="{3805AD0E-B47F-8D7B-B16B-8775869BF873}"/>
              </a:ext>
            </a:extLst>
          </p:cNvPr>
          <p:cNvCxnSpPr/>
          <p:nvPr/>
        </p:nvCxnSpPr>
        <p:spPr>
          <a:xfrm>
            <a:off x="1429662" y="5266265"/>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E90B0ABA-D444-5257-4CBB-B65147CCB5D3}"/>
              </a:ext>
            </a:extLst>
          </p:cNvPr>
          <p:cNvCxnSpPr/>
          <p:nvPr/>
        </p:nvCxnSpPr>
        <p:spPr>
          <a:xfrm>
            <a:off x="1429662" y="6416747"/>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8CBCBCE2-DC1A-567D-1F1C-D8A9063C1753}"/>
              </a:ext>
            </a:extLst>
          </p:cNvPr>
          <p:cNvCxnSpPr>
            <a:cxnSpLocks/>
          </p:cNvCxnSpPr>
          <p:nvPr/>
        </p:nvCxnSpPr>
        <p:spPr>
          <a:xfrm>
            <a:off x="1429662" y="5266265"/>
            <a:ext cx="0" cy="1150482"/>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34" name="Rectangle 33">
            <a:extLst>
              <a:ext uri="{FF2B5EF4-FFF2-40B4-BE49-F238E27FC236}">
                <a16:creationId xmlns:a16="http://schemas.microsoft.com/office/drawing/2014/main" id="{32B3A757-DA98-CCDC-2A51-46631E8A4B9F}"/>
              </a:ext>
            </a:extLst>
          </p:cNvPr>
          <p:cNvSpPr/>
          <p:nvPr/>
        </p:nvSpPr>
        <p:spPr>
          <a:xfrm>
            <a:off x="209881" y="5594679"/>
            <a:ext cx="2198915" cy="53880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All Pods Together on Track C Teams Link</a:t>
            </a:r>
            <a:endParaRPr kumimoji="0" lang="en-US" sz="12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endParaRPr>
          </a:p>
        </p:txBody>
      </p:sp>
      <p:cxnSp>
        <p:nvCxnSpPr>
          <p:cNvPr id="39" name="Straight Connector 38">
            <a:extLst>
              <a:ext uri="{FF2B5EF4-FFF2-40B4-BE49-F238E27FC236}">
                <a16:creationId xmlns:a16="http://schemas.microsoft.com/office/drawing/2014/main" id="{010C7AE3-AF07-FAE2-A769-338DACB3CE56}"/>
              </a:ext>
            </a:extLst>
          </p:cNvPr>
          <p:cNvCxnSpPr/>
          <p:nvPr/>
        </p:nvCxnSpPr>
        <p:spPr>
          <a:xfrm>
            <a:off x="1429662" y="288662"/>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8A7C9DB2-DFEC-123E-363F-71377815065D}"/>
              </a:ext>
            </a:extLst>
          </p:cNvPr>
          <p:cNvCxnSpPr/>
          <p:nvPr/>
        </p:nvCxnSpPr>
        <p:spPr>
          <a:xfrm>
            <a:off x="1429662" y="1657648"/>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7985918A-6FD2-A50D-F8E7-A15FCAA07F89}"/>
              </a:ext>
            </a:extLst>
          </p:cNvPr>
          <p:cNvCxnSpPr>
            <a:cxnSpLocks/>
          </p:cNvCxnSpPr>
          <p:nvPr/>
        </p:nvCxnSpPr>
        <p:spPr>
          <a:xfrm>
            <a:off x="1429662" y="288662"/>
            <a:ext cx="0" cy="1368986"/>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42" name="Rectangle 41">
            <a:extLst>
              <a:ext uri="{FF2B5EF4-FFF2-40B4-BE49-F238E27FC236}">
                <a16:creationId xmlns:a16="http://schemas.microsoft.com/office/drawing/2014/main" id="{47136CD1-65FF-0688-D31B-D357FE3B207D}"/>
              </a:ext>
            </a:extLst>
          </p:cNvPr>
          <p:cNvSpPr/>
          <p:nvPr/>
        </p:nvSpPr>
        <p:spPr>
          <a:xfrm>
            <a:off x="330204" y="685092"/>
            <a:ext cx="2198915" cy="53880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Track C Teams Links</a:t>
            </a:r>
            <a:endParaRPr kumimoji="0" lang="en-US" sz="12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endParaRPr>
          </a:p>
        </p:txBody>
      </p:sp>
      <p:cxnSp>
        <p:nvCxnSpPr>
          <p:cNvPr id="43" name="Straight Connector 42">
            <a:extLst>
              <a:ext uri="{FF2B5EF4-FFF2-40B4-BE49-F238E27FC236}">
                <a16:creationId xmlns:a16="http://schemas.microsoft.com/office/drawing/2014/main" id="{294A0AE7-8D98-C7BA-08EA-EA8123E4991D}"/>
              </a:ext>
            </a:extLst>
          </p:cNvPr>
          <p:cNvCxnSpPr/>
          <p:nvPr/>
        </p:nvCxnSpPr>
        <p:spPr>
          <a:xfrm>
            <a:off x="9264328" y="1974690"/>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D53DFF28-1515-E1F0-AB19-6216B6B13F4B}"/>
              </a:ext>
            </a:extLst>
          </p:cNvPr>
          <p:cNvCxnSpPr/>
          <p:nvPr/>
        </p:nvCxnSpPr>
        <p:spPr>
          <a:xfrm>
            <a:off x="9264328" y="4986255"/>
            <a:ext cx="1277257" cy="0"/>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BBFE666E-303A-6EBB-52C7-8F919A28E124}"/>
              </a:ext>
            </a:extLst>
          </p:cNvPr>
          <p:cNvCxnSpPr>
            <a:cxnSpLocks/>
          </p:cNvCxnSpPr>
          <p:nvPr/>
        </p:nvCxnSpPr>
        <p:spPr>
          <a:xfrm>
            <a:off x="10534328" y="1963431"/>
            <a:ext cx="0" cy="3022824"/>
          </a:xfrm>
          <a:prstGeom prst="line">
            <a:avLst/>
          </a:prstGeom>
          <a:ln>
            <a:solidFill>
              <a:schemeClr val="tx2"/>
            </a:solidFill>
          </a:ln>
          <a:effectLst/>
          <a:scene3d>
            <a:camera prst="orthographicFront"/>
            <a:lightRig rig="threePt" dir="t"/>
          </a:scene3d>
          <a:sp3d>
            <a:bevelT w="0" h="0"/>
            <a:bevelB w="0" h="0"/>
          </a:sp3d>
        </p:spPr>
        <p:style>
          <a:lnRef idx="2">
            <a:schemeClr val="accent1"/>
          </a:lnRef>
          <a:fillRef idx="0">
            <a:schemeClr val="accent1"/>
          </a:fillRef>
          <a:effectRef idx="1">
            <a:schemeClr val="accent1"/>
          </a:effectRef>
          <a:fontRef idx="minor">
            <a:schemeClr val="tx1"/>
          </a:fontRef>
        </p:style>
      </p:cxnSp>
      <p:sp>
        <p:nvSpPr>
          <p:cNvPr id="46" name="Rectangle 45">
            <a:extLst>
              <a:ext uri="{FF2B5EF4-FFF2-40B4-BE49-F238E27FC236}">
                <a16:creationId xmlns:a16="http://schemas.microsoft.com/office/drawing/2014/main" id="{35649BEE-3785-007D-8F18-FAD85D6C7AC3}"/>
              </a:ext>
            </a:extLst>
          </p:cNvPr>
          <p:cNvSpPr/>
          <p:nvPr/>
        </p:nvSpPr>
        <p:spPr>
          <a:xfrm>
            <a:off x="9434870" y="3081075"/>
            <a:ext cx="2198915" cy="73333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rPr>
              <a:t>Instructor Bridge for Entire Academy on Teams Link</a:t>
            </a:r>
            <a:endParaRPr kumimoji="0" lang="en-US" sz="1200" b="0" i="0" u="none" strike="noStrike" kern="1200" cap="none" spc="0" normalizeH="0" baseline="0" noProof="0" dirty="0">
              <a:ln>
                <a:noFill/>
              </a:ln>
              <a:solidFill>
                <a:srgbClr val="006450"/>
              </a:solidFill>
              <a:effectLst/>
              <a:uLnTx/>
              <a:uFillTx/>
              <a:latin typeface="Graphik" panose="020B0503030202060203" pitchFamily="34" charset="0"/>
              <a:ea typeface="+mn-ea"/>
              <a:cs typeface="+mn-cs"/>
            </a:endParaRPr>
          </a:p>
        </p:txBody>
      </p:sp>
      <p:sp>
        <p:nvSpPr>
          <p:cNvPr id="48" name="Rectangle 47">
            <a:extLst>
              <a:ext uri="{FF2B5EF4-FFF2-40B4-BE49-F238E27FC236}">
                <a16:creationId xmlns:a16="http://schemas.microsoft.com/office/drawing/2014/main" id="{CE720282-37D4-CAC8-BBFF-A1935BFC8E7D}"/>
              </a:ext>
            </a:extLst>
          </p:cNvPr>
          <p:cNvSpPr>
            <a:spLocks/>
          </p:cNvSpPr>
          <p:nvPr/>
        </p:nvSpPr>
        <p:spPr>
          <a:xfrm>
            <a:off x="384049" y="384048"/>
            <a:ext cx="11546694" cy="320601"/>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31F20"/>
                </a:solidFill>
                <a:effectLst/>
                <a:uLnTx/>
                <a:uFillTx/>
                <a:latin typeface="Graphik" panose="020B0503030202060203" pitchFamily="34" charset="0"/>
                <a:ea typeface="+mn-ea"/>
                <a:cs typeface="+mn-cs"/>
              </a:rPr>
              <a:t>Daily Schedule</a:t>
            </a:r>
          </a:p>
        </p:txBody>
      </p:sp>
    </p:spTree>
    <p:extLst>
      <p:ext uri="{BB962C8B-B14F-4D97-AF65-F5344CB8AC3E}">
        <p14:creationId xmlns:p14="http://schemas.microsoft.com/office/powerpoint/2010/main" val="163628238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3A7DBE-482F-F957-0716-9138F5F866BE}"/>
              </a:ext>
            </a:extLst>
          </p:cNvPr>
          <p:cNvSpPr>
            <a:spLocks noGrp="1"/>
          </p:cNvSpPr>
          <p:nvPr>
            <p:ph type="title"/>
          </p:nvPr>
        </p:nvSpPr>
        <p:spPr/>
        <p:txBody>
          <a:bodyPr/>
          <a:lstStyle/>
          <a:p>
            <a:r>
              <a:rPr lang="en-US" dirty="0"/>
              <a:t>Project Strawberry</a:t>
            </a:r>
          </a:p>
        </p:txBody>
      </p:sp>
      <p:sp>
        <p:nvSpPr>
          <p:cNvPr id="5" name="Text Placeholder 4">
            <a:extLst>
              <a:ext uri="{FF2B5EF4-FFF2-40B4-BE49-F238E27FC236}">
                <a16:creationId xmlns:a16="http://schemas.microsoft.com/office/drawing/2014/main" id="{1F14318A-5894-058D-5363-1EA4E6166A94}"/>
              </a:ext>
            </a:extLst>
          </p:cNvPr>
          <p:cNvSpPr>
            <a:spLocks noGrp="1"/>
          </p:cNvSpPr>
          <p:nvPr>
            <p:ph type="body" sz="quarter" idx="10"/>
          </p:nvPr>
        </p:nvSpPr>
        <p:spPr>
          <a:xfrm>
            <a:off x="384175" y="1231901"/>
            <a:ext cx="11595100" cy="668152"/>
          </a:xfrm>
        </p:spPr>
        <p:txBody>
          <a:bodyPr/>
          <a:lstStyle/>
          <a:p>
            <a:pPr marL="0" indent="0" algn="ctr">
              <a:buNone/>
            </a:pPr>
            <a:r>
              <a:rPr lang="en-US" dirty="0"/>
              <a:t>“There are 2 R’s in Strawberry.”</a:t>
            </a:r>
          </a:p>
          <a:p>
            <a:pPr marL="0" indent="0">
              <a:buNone/>
            </a:pPr>
            <a:endParaRPr lang="en-US" dirty="0"/>
          </a:p>
        </p:txBody>
      </p:sp>
      <p:pic>
        <p:nvPicPr>
          <p:cNvPr id="7" name="Picture 6" descr="A close up of a strawberry&#10;&#10;AI-generated content may be incorrect.">
            <a:extLst>
              <a:ext uri="{FF2B5EF4-FFF2-40B4-BE49-F238E27FC236}">
                <a16:creationId xmlns:a16="http://schemas.microsoft.com/office/drawing/2014/main" id="{406A6A07-7183-3AA9-C35A-822A137900A4}"/>
              </a:ext>
            </a:extLst>
          </p:cNvPr>
          <p:cNvPicPr>
            <a:picLocks noChangeAspect="1"/>
          </p:cNvPicPr>
          <p:nvPr/>
        </p:nvPicPr>
        <p:blipFill>
          <a:blip r:embed="rId2"/>
          <a:stretch>
            <a:fillRect/>
          </a:stretch>
        </p:blipFill>
        <p:spPr>
          <a:xfrm>
            <a:off x="8287596" y="634110"/>
            <a:ext cx="2117306" cy="2048494"/>
          </a:xfrm>
          <a:prstGeom prst="rect">
            <a:avLst/>
          </a:prstGeom>
        </p:spPr>
      </p:pic>
      <p:sp>
        <p:nvSpPr>
          <p:cNvPr id="11" name="TextBox 10">
            <a:extLst>
              <a:ext uri="{FF2B5EF4-FFF2-40B4-BE49-F238E27FC236}">
                <a16:creationId xmlns:a16="http://schemas.microsoft.com/office/drawing/2014/main" id="{3064D627-1009-FDD9-3BF3-A72234AD126D}"/>
              </a:ext>
            </a:extLst>
          </p:cNvPr>
          <p:cNvSpPr txBox="1"/>
          <p:nvPr/>
        </p:nvSpPr>
        <p:spPr>
          <a:xfrm>
            <a:off x="728432" y="2682604"/>
            <a:ext cx="10481875" cy="3693319"/>
          </a:xfrm>
          <a:prstGeom prst="rect">
            <a:avLst/>
          </a:prstGeom>
          <a:noFill/>
        </p:spPr>
        <p:txBody>
          <a:bodyPr wrap="square">
            <a:spAutoFit/>
          </a:bodyPr>
          <a:lstStyle/>
          <a:p>
            <a:pPr marL="0" indent="0">
              <a:buNone/>
            </a:pPr>
            <a:r>
              <a:rPr lang="en-US" b="1" dirty="0"/>
              <a:t>System 1 Thinking (Fast Thinking):</a:t>
            </a:r>
            <a:br>
              <a:rPr lang="en-US" dirty="0"/>
            </a:br>
            <a:r>
              <a:rPr lang="en-US" dirty="0"/>
              <a:t>Models often give an answer right away, like a person giving their first reaction without much reflection.</a:t>
            </a:r>
          </a:p>
          <a:p>
            <a:pPr marL="0" indent="0">
              <a:buNone/>
            </a:pPr>
            <a:endParaRPr lang="en-US" dirty="0"/>
          </a:p>
          <a:p>
            <a:pPr marL="0" indent="0">
              <a:buNone/>
            </a:pPr>
            <a:r>
              <a:rPr lang="en-US" b="1" dirty="0"/>
              <a:t>Problem with LLMs</a:t>
            </a:r>
            <a:r>
              <a:rPr lang="en-US" dirty="0"/>
              <a:t>:</a:t>
            </a:r>
          </a:p>
          <a:p>
            <a:pPr marL="0" indent="0">
              <a:buNone/>
            </a:pPr>
            <a:r>
              <a:rPr lang="en-US" dirty="0"/>
              <a:t>LLMs are causal language models built with a chain of probabilities — they predict one word at a time based on what’s most likely next.</a:t>
            </a:r>
          </a:p>
          <a:p>
            <a:pPr marL="0" indent="0">
              <a:buNone/>
            </a:pPr>
            <a:endParaRPr lang="en-US" dirty="0"/>
          </a:p>
          <a:p>
            <a:pPr marL="0" indent="0">
              <a:buNone/>
            </a:pPr>
            <a:r>
              <a:rPr lang="en-US" dirty="0"/>
              <a:t>To get a correct answer, they need to link together many ideas in this chain.</a:t>
            </a:r>
          </a:p>
          <a:p>
            <a:pPr marL="0" indent="0">
              <a:buNone/>
            </a:pPr>
            <a:endParaRPr lang="en-US" dirty="0"/>
          </a:p>
          <a:p>
            <a:pPr marL="0" indent="0">
              <a:buNone/>
            </a:pPr>
            <a:r>
              <a:rPr lang="en-US" dirty="0"/>
              <a:t>If the embedding space (the model’s map of meaning) isn’t clear, the immediate answer might be wrong.</a:t>
            </a:r>
          </a:p>
          <a:p>
            <a:pPr marL="0" indent="0">
              <a:buNone/>
            </a:pPr>
            <a:endParaRPr lang="en-US" dirty="0"/>
          </a:p>
        </p:txBody>
      </p:sp>
    </p:spTree>
    <p:extLst>
      <p:ext uri="{BB962C8B-B14F-4D97-AF65-F5344CB8AC3E}">
        <p14:creationId xmlns:p14="http://schemas.microsoft.com/office/powerpoint/2010/main" val="161606973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E8797A-10F9-82D0-8660-2788C831FFF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9855FF8-0D1E-2D3E-7878-1674B4C9792D}"/>
              </a:ext>
            </a:extLst>
          </p:cNvPr>
          <p:cNvSpPr>
            <a:spLocks noGrp="1"/>
          </p:cNvSpPr>
          <p:nvPr>
            <p:ph type="title"/>
          </p:nvPr>
        </p:nvSpPr>
        <p:spPr/>
        <p:txBody>
          <a:bodyPr/>
          <a:lstStyle/>
          <a:p>
            <a:r>
              <a:rPr lang="en-US" dirty="0"/>
              <a:t>Project Strawberry</a:t>
            </a:r>
          </a:p>
        </p:txBody>
      </p:sp>
      <p:sp>
        <p:nvSpPr>
          <p:cNvPr id="5" name="Text Placeholder 4">
            <a:extLst>
              <a:ext uri="{FF2B5EF4-FFF2-40B4-BE49-F238E27FC236}">
                <a16:creationId xmlns:a16="http://schemas.microsoft.com/office/drawing/2014/main" id="{938A29A5-1CF4-DE0C-3717-DEEAAD449AAF}"/>
              </a:ext>
            </a:extLst>
          </p:cNvPr>
          <p:cNvSpPr>
            <a:spLocks noGrp="1"/>
          </p:cNvSpPr>
          <p:nvPr>
            <p:ph type="body" sz="quarter" idx="10"/>
          </p:nvPr>
        </p:nvSpPr>
        <p:spPr>
          <a:xfrm>
            <a:off x="384175" y="1231901"/>
            <a:ext cx="11595100" cy="668152"/>
          </a:xfrm>
        </p:spPr>
        <p:txBody>
          <a:bodyPr/>
          <a:lstStyle/>
          <a:p>
            <a:pPr marL="0" indent="0" algn="ctr">
              <a:buNone/>
            </a:pPr>
            <a:r>
              <a:rPr lang="en-US" dirty="0"/>
              <a:t>“There are 2 R’s in Strawberry.”</a:t>
            </a:r>
          </a:p>
          <a:p>
            <a:pPr marL="0" indent="0">
              <a:buNone/>
            </a:pPr>
            <a:endParaRPr lang="en-US" dirty="0"/>
          </a:p>
        </p:txBody>
      </p:sp>
      <p:pic>
        <p:nvPicPr>
          <p:cNvPr id="7" name="Picture 6" descr="A close up of a strawberry&#10;&#10;AI-generated content may be incorrect.">
            <a:extLst>
              <a:ext uri="{FF2B5EF4-FFF2-40B4-BE49-F238E27FC236}">
                <a16:creationId xmlns:a16="http://schemas.microsoft.com/office/drawing/2014/main" id="{FCE2F744-7EB2-0490-98D6-2640F7E7DA02}"/>
              </a:ext>
            </a:extLst>
          </p:cNvPr>
          <p:cNvPicPr>
            <a:picLocks noChangeAspect="1"/>
          </p:cNvPicPr>
          <p:nvPr/>
        </p:nvPicPr>
        <p:blipFill>
          <a:blip r:embed="rId2"/>
          <a:stretch>
            <a:fillRect/>
          </a:stretch>
        </p:blipFill>
        <p:spPr>
          <a:xfrm>
            <a:off x="8287596" y="634110"/>
            <a:ext cx="2117306" cy="2048494"/>
          </a:xfrm>
          <a:prstGeom prst="rect">
            <a:avLst/>
          </a:prstGeom>
        </p:spPr>
      </p:pic>
      <p:sp>
        <p:nvSpPr>
          <p:cNvPr id="11" name="TextBox 10">
            <a:extLst>
              <a:ext uri="{FF2B5EF4-FFF2-40B4-BE49-F238E27FC236}">
                <a16:creationId xmlns:a16="http://schemas.microsoft.com/office/drawing/2014/main" id="{65090662-71DC-98AE-B1D7-E72CE2DA4C29}"/>
              </a:ext>
            </a:extLst>
          </p:cNvPr>
          <p:cNvSpPr txBox="1"/>
          <p:nvPr/>
        </p:nvSpPr>
        <p:spPr>
          <a:xfrm>
            <a:off x="728433" y="2682604"/>
            <a:ext cx="7559164" cy="3970318"/>
          </a:xfrm>
          <a:prstGeom prst="rect">
            <a:avLst/>
          </a:prstGeom>
          <a:noFill/>
        </p:spPr>
        <p:txBody>
          <a:bodyPr wrap="square">
            <a:spAutoFit/>
          </a:bodyPr>
          <a:lstStyle/>
          <a:p>
            <a:pPr marL="0" indent="0">
              <a:buNone/>
            </a:pPr>
            <a:r>
              <a:rPr lang="en-US" b="1" dirty="0"/>
              <a:t>System 2 Thinking (Slow Thinking):</a:t>
            </a:r>
            <a:br>
              <a:rPr lang="en-US" dirty="0"/>
            </a:br>
            <a:r>
              <a:rPr lang="en-US" dirty="0"/>
              <a:t>The model carefully checks each letter instead of guessing quickly.</a:t>
            </a:r>
          </a:p>
          <a:p>
            <a:pPr marL="0" indent="0">
              <a:buNone/>
            </a:pPr>
            <a:endParaRPr lang="en-US" dirty="0"/>
          </a:p>
          <a:p>
            <a:r>
              <a:rPr lang="en-US" b="1" dirty="0"/>
              <a:t>Solution with Reasoning:</a:t>
            </a:r>
            <a:br>
              <a:rPr lang="en-US" dirty="0"/>
            </a:br>
            <a:r>
              <a:rPr lang="en-US" dirty="0"/>
              <a:t>S-T-R (1) → A-W-B-E-R-R (2, 3) → Y → Total = </a:t>
            </a:r>
            <a:r>
              <a:rPr lang="en-US" b="1" dirty="0"/>
              <a:t>3 Rs in Strawberry.</a:t>
            </a:r>
          </a:p>
          <a:p>
            <a:endParaRPr lang="en-US" b="1" dirty="0"/>
          </a:p>
          <a:p>
            <a:r>
              <a:rPr lang="en-US" dirty="0"/>
              <a:t>o1 Preview (codenamed “Strawberry”) brought great excitement as the community realized Open AI was addressing a very real challenge using novel chain-of-thought training.</a:t>
            </a:r>
            <a:br>
              <a:rPr lang="en-US" dirty="0"/>
            </a:br>
            <a:br>
              <a:rPr lang="en-US" dirty="0"/>
            </a:br>
            <a:r>
              <a:rPr lang="en-US" dirty="0"/>
              <a:t>Now in GPT-5 we have ”Thinking mode” an extreme form of chain-of-thought reasoning. Today we have LRMs: </a:t>
            </a:r>
            <a:r>
              <a:rPr lang="en-US" b="1" dirty="0"/>
              <a:t>L</a:t>
            </a:r>
            <a:r>
              <a:rPr lang="en-US" dirty="0"/>
              <a:t>arge </a:t>
            </a:r>
            <a:r>
              <a:rPr lang="en-US" b="1" dirty="0"/>
              <a:t>R</a:t>
            </a:r>
            <a:r>
              <a:rPr lang="en-US" dirty="0"/>
              <a:t>easoning </a:t>
            </a:r>
            <a:r>
              <a:rPr lang="en-US" b="1" dirty="0"/>
              <a:t>M</a:t>
            </a:r>
            <a:r>
              <a:rPr lang="en-US" dirty="0"/>
              <a:t>odels like </a:t>
            </a:r>
            <a:r>
              <a:rPr lang="en-US" dirty="0" err="1"/>
              <a:t>Deepseek</a:t>
            </a:r>
            <a:r>
              <a:rPr lang="en-US" dirty="0"/>
              <a:t> R1, Gemini Thinking and o3.</a:t>
            </a:r>
          </a:p>
          <a:p>
            <a:endParaRPr lang="en-US" dirty="0"/>
          </a:p>
        </p:txBody>
      </p:sp>
      <p:pic>
        <p:nvPicPr>
          <p:cNvPr id="2050" name="Picture 2" descr="Why ChatGPT Can't Count How Many Rs in Strawberry | 16x Prompt">
            <a:extLst>
              <a:ext uri="{FF2B5EF4-FFF2-40B4-BE49-F238E27FC236}">
                <a16:creationId xmlns:a16="http://schemas.microsoft.com/office/drawing/2014/main" id="{E5A962A5-CB33-A21D-0326-51B1697C62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7596" y="2828096"/>
            <a:ext cx="3461994" cy="212985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70382E1-AF64-381A-0E80-DF6F3BC97474}"/>
              </a:ext>
            </a:extLst>
          </p:cNvPr>
          <p:cNvSpPr txBox="1"/>
          <p:nvPr/>
        </p:nvSpPr>
        <p:spPr>
          <a:xfrm>
            <a:off x="5880965" y="6104620"/>
            <a:ext cx="6097978" cy="369332"/>
          </a:xfrm>
          <a:prstGeom prst="rect">
            <a:avLst/>
          </a:prstGeom>
          <a:noFill/>
        </p:spPr>
        <p:txBody>
          <a:bodyPr wrap="square">
            <a:spAutoFit/>
          </a:bodyPr>
          <a:lstStyle/>
          <a:p>
            <a:r>
              <a:rPr lang="en-US" dirty="0"/>
              <a:t>https://</a:t>
            </a:r>
            <a:r>
              <a:rPr lang="en-US" dirty="0" err="1"/>
              <a:t>openai.com</a:t>
            </a:r>
            <a:r>
              <a:rPr lang="en-US" dirty="0"/>
              <a:t>/index/learning-to-reason-with-</a:t>
            </a:r>
            <a:r>
              <a:rPr lang="en-US" dirty="0" err="1"/>
              <a:t>llms</a:t>
            </a:r>
            <a:r>
              <a:rPr lang="en-US" dirty="0"/>
              <a:t>/</a:t>
            </a:r>
          </a:p>
        </p:txBody>
      </p:sp>
    </p:spTree>
    <p:extLst>
      <p:ext uri="{BB962C8B-B14F-4D97-AF65-F5344CB8AC3E}">
        <p14:creationId xmlns:p14="http://schemas.microsoft.com/office/powerpoint/2010/main" val="100183613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677B4F-1E76-727F-77BE-1B52D316011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C787253-3586-E09C-A460-8EA44E602F10}"/>
              </a:ext>
            </a:extLst>
          </p:cNvPr>
          <p:cNvSpPr>
            <a:spLocks noGrp="1"/>
          </p:cNvSpPr>
          <p:nvPr>
            <p:ph type="title"/>
          </p:nvPr>
        </p:nvSpPr>
        <p:spPr/>
        <p:txBody>
          <a:bodyPr/>
          <a:lstStyle/>
          <a:p>
            <a:r>
              <a:rPr lang="en-US" dirty="0"/>
              <a:t>AI Reasoning: Introducing the Power of Pause</a:t>
            </a:r>
          </a:p>
        </p:txBody>
      </p:sp>
      <p:graphicFrame>
        <p:nvGraphicFramePr>
          <p:cNvPr id="2" name="Table 1">
            <a:extLst>
              <a:ext uri="{FF2B5EF4-FFF2-40B4-BE49-F238E27FC236}">
                <a16:creationId xmlns:a16="http://schemas.microsoft.com/office/drawing/2014/main" id="{13208E95-35D0-0C24-44FC-04928C869CEC}"/>
              </a:ext>
            </a:extLst>
          </p:cNvPr>
          <p:cNvGraphicFramePr>
            <a:graphicFrameLocks noGrp="1"/>
          </p:cNvGraphicFramePr>
          <p:nvPr>
            <p:extLst>
              <p:ext uri="{D42A27DB-BD31-4B8C-83A1-F6EECF244321}">
                <p14:modId xmlns:p14="http://schemas.microsoft.com/office/powerpoint/2010/main" val="3592649752"/>
              </p:ext>
            </p:extLst>
          </p:nvPr>
        </p:nvGraphicFramePr>
        <p:xfrm>
          <a:off x="975823" y="1021278"/>
          <a:ext cx="10186983" cy="5132040"/>
        </p:xfrm>
        <a:graphic>
          <a:graphicData uri="http://schemas.openxmlformats.org/drawingml/2006/table">
            <a:tbl>
              <a:tblPr firstRow="1" bandRow="1">
                <a:tableStyleId>{5C22544A-7EE6-4342-B048-85BDC9FD1C3A}</a:tableStyleId>
              </a:tblPr>
              <a:tblGrid>
                <a:gridCol w="2318579">
                  <a:extLst>
                    <a:ext uri="{9D8B030D-6E8A-4147-A177-3AD203B41FA5}">
                      <a16:colId xmlns:a16="http://schemas.microsoft.com/office/drawing/2014/main" val="4205804341"/>
                    </a:ext>
                  </a:extLst>
                </a:gridCol>
                <a:gridCol w="3934202">
                  <a:extLst>
                    <a:ext uri="{9D8B030D-6E8A-4147-A177-3AD203B41FA5}">
                      <a16:colId xmlns:a16="http://schemas.microsoft.com/office/drawing/2014/main" val="2625125730"/>
                    </a:ext>
                  </a:extLst>
                </a:gridCol>
                <a:gridCol w="3934202">
                  <a:extLst>
                    <a:ext uri="{9D8B030D-6E8A-4147-A177-3AD203B41FA5}">
                      <a16:colId xmlns:a16="http://schemas.microsoft.com/office/drawing/2014/main" val="3394628039"/>
                    </a:ext>
                  </a:extLst>
                </a:gridCol>
              </a:tblGrid>
              <a:tr h="461947">
                <a:tc>
                  <a:txBody>
                    <a:bodyPr/>
                    <a:lstStyle/>
                    <a:p>
                      <a:r>
                        <a:rPr lang="en-US" dirty="0"/>
                        <a:t>Characteristic</a:t>
                      </a:r>
                    </a:p>
                  </a:txBody>
                  <a:tcPr/>
                </a:tc>
                <a:tc>
                  <a:txBody>
                    <a:bodyPr/>
                    <a:lstStyle/>
                    <a:p>
                      <a:r>
                        <a:rPr lang="en-US" dirty="0"/>
                        <a:t>Large Language Models</a:t>
                      </a:r>
                    </a:p>
                  </a:txBody>
                  <a:tcPr/>
                </a:tc>
                <a:tc>
                  <a:txBody>
                    <a:bodyPr/>
                    <a:lstStyle/>
                    <a:p>
                      <a:r>
                        <a:rPr lang="en-US" dirty="0"/>
                        <a:t>Large Reasoning Models</a:t>
                      </a:r>
                    </a:p>
                  </a:txBody>
                  <a:tcPr/>
                </a:tc>
                <a:extLst>
                  <a:ext uri="{0D108BD9-81ED-4DB2-BD59-A6C34878D82A}">
                    <a16:rowId xmlns:a16="http://schemas.microsoft.com/office/drawing/2014/main" val="3854973155"/>
                  </a:ext>
                </a:extLst>
              </a:tr>
              <a:tr h="797333">
                <a:tc>
                  <a:txBody>
                    <a:bodyPr/>
                    <a:lstStyle/>
                    <a:p>
                      <a:r>
                        <a:rPr lang="en-US" dirty="0"/>
                        <a:t>Training Data</a:t>
                      </a:r>
                    </a:p>
                  </a:txBody>
                  <a:tcPr/>
                </a:tc>
                <a:tc>
                  <a:txBody>
                    <a:bodyPr/>
                    <a:lstStyle/>
                    <a:p>
                      <a:r>
                        <a:rPr lang="en-US" dirty="0"/>
                        <a:t>Vas unstructured text corpora</a:t>
                      </a:r>
                    </a:p>
                  </a:txBody>
                  <a:tcPr/>
                </a:tc>
                <a:tc>
                  <a:txBody>
                    <a:bodyPr/>
                    <a:lstStyle/>
                    <a:p>
                      <a:r>
                        <a:rPr lang="en-US" dirty="0"/>
                        <a:t>Structured data and explicit reasoning frameworks.</a:t>
                      </a:r>
                    </a:p>
                  </a:txBody>
                  <a:tcPr/>
                </a:tc>
                <a:extLst>
                  <a:ext uri="{0D108BD9-81ED-4DB2-BD59-A6C34878D82A}">
                    <a16:rowId xmlns:a16="http://schemas.microsoft.com/office/drawing/2014/main" val="4238979964"/>
                  </a:ext>
                </a:extLst>
              </a:tr>
              <a:tr h="1139047">
                <a:tc>
                  <a:txBody>
                    <a:bodyPr/>
                    <a:lstStyle/>
                    <a:p>
                      <a:r>
                        <a:rPr lang="en-US" dirty="0"/>
                        <a:t>Reasoning Depth</a:t>
                      </a:r>
                    </a:p>
                  </a:txBody>
                  <a:tcPr/>
                </a:tc>
                <a:tc>
                  <a:txBody>
                    <a:bodyPr/>
                    <a:lstStyle/>
                    <a:p>
                      <a:r>
                        <a:rPr lang="en-US" dirty="0"/>
                        <a:t>Limited to surface-level reasoning based on statistical patterns</a:t>
                      </a:r>
                    </a:p>
                  </a:txBody>
                  <a:tcPr/>
                </a:tc>
                <a:tc>
                  <a:txBody>
                    <a:bodyPr/>
                    <a:lstStyle/>
                    <a:p>
                      <a:r>
                        <a:rPr lang="en-US" dirty="0"/>
                        <a:t>Emphasizes causal relationships and systematic analysis</a:t>
                      </a:r>
                    </a:p>
                  </a:txBody>
                  <a:tcPr/>
                </a:tc>
                <a:extLst>
                  <a:ext uri="{0D108BD9-81ED-4DB2-BD59-A6C34878D82A}">
                    <a16:rowId xmlns:a16="http://schemas.microsoft.com/office/drawing/2014/main" val="969295431"/>
                  </a:ext>
                </a:extLst>
              </a:tr>
              <a:tr h="1139047">
                <a:tc>
                  <a:txBody>
                    <a:bodyPr/>
                    <a:lstStyle/>
                    <a:p>
                      <a:r>
                        <a:rPr lang="en-US" dirty="0"/>
                        <a:t>Adaptability</a:t>
                      </a:r>
                    </a:p>
                  </a:txBody>
                  <a:tcPr/>
                </a:tc>
                <a:tc>
                  <a:txBody>
                    <a:bodyPr/>
                    <a:lstStyle/>
                    <a:p>
                      <a:r>
                        <a:rPr lang="en-US" dirty="0"/>
                        <a:t>Generalizes broadly across diverse language tasks</a:t>
                      </a:r>
                    </a:p>
                  </a:txBody>
                  <a:tcPr/>
                </a:tc>
                <a:tc>
                  <a:txBody>
                    <a:bodyPr/>
                    <a:lstStyle/>
                    <a:p>
                      <a:r>
                        <a:rPr lang="en-US" dirty="0"/>
                        <a:t>Specializes narrowly in technical or logic heavy domains</a:t>
                      </a:r>
                    </a:p>
                  </a:txBody>
                  <a:tcPr/>
                </a:tc>
                <a:extLst>
                  <a:ext uri="{0D108BD9-81ED-4DB2-BD59-A6C34878D82A}">
                    <a16:rowId xmlns:a16="http://schemas.microsoft.com/office/drawing/2014/main" val="401882964"/>
                  </a:ext>
                </a:extLst>
              </a:tr>
              <a:tr h="797333">
                <a:tc>
                  <a:txBody>
                    <a:bodyPr/>
                    <a:lstStyle/>
                    <a:p>
                      <a:r>
                        <a:rPr lang="en-US" dirty="0"/>
                        <a:t>Key Strength</a:t>
                      </a:r>
                    </a:p>
                  </a:txBody>
                  <a:tcPr/>
                </a:tc>
                <a:tc>
                  <a:txBody>
                    <a:bodyPr/>
                    <a:lstStyle/>
                    <a:p>
                      <a:r>
                        <a:rPr lang="en-US" dirty="0"/>
                        <a:t>Excels at translation, summarization and dialogue</a:t>
                      </a:r>
                    </a:p>
                  </a:txBody>
                  <a:tcPr/>
                </a:tc>
                <a:tc>
                  <a:txBody>
                    <a:bodyPr/>
                    <a:lstStyle/>
                    <a:p>
                      <a:r>
                        <a:rPr lang="en-US" dirty="0"/>
                        <a:t>Excels at math, coding, and multi-step decision making</a:t>
                      </a:r>
                    </a:p>
                  </a:txBody>
                  <a:tcPr/>
                </a:tc>
                <a:extLst>
                  <a:ext uri="{0D108BD9-81ED-4DB2-BD59-A6C34878D82A}">
                    <a16:rowId xmlns:a16="http://schemas.microsoft.com/office/drawing/2014/main" val="1319094718"/>
                  </a:ext>
                </a:extLst>
              </a:tr>
              <a:tr h="797333">
                <a:tc>
                  <a:txBody>
                    <a:bodyPr/>
                    <a:lstStyle/>
                    <a:p>
                      <a:r>
                        <a:rPr lang="en-US" dirty="0"/>
                        <a:t>Output Type </a:t>
                      </a:r>
                    </a:p>
                  </a:txBody>
                  <a:tcPr/>
                </a:tc>
                <a:tc>
                  <a:txBody>
                    <a:bodyPr/>
                    <a:lstStyle/>
                    <a:p>
                      <a:r>
                        <a:rPr lang="en-US" dirty="0"/>
                        <a:t>Produces probabilistic text outputs</a:t>
                      </a:r>
                    </a:p>
                  </a:txBody>
                  <a:tcPr/>
                </a:tc>
                <a:tc>
                  <a:txBody>
                    <a:bodyPr/>
                    <a:lstStyle/>
                    <a:p>
                      <a:r>
                        <a:rPr lang="en-US" dirty="0"/>
                        <a:t>Generates deterministic logical conclusions</a:t>
                      </a:r>
                    </a:p>
                  </a:txBody>
                  <a:tcPr/>
                </a:tc>
                <a:extLst>
                  <a:ext uri="{0D108BD9-81ED-4DB2-BD59-A6C34878D82A}">
                    <a16:rowId xmlns:a16="http://schemas.microsoft.com/office/drawing/2014/main" val="320460752"/>
                  </a:ext>
                </a:extLst>
              </a:tr>
            </a:tbl>
          </a:graphicData>
        </a:graphic>
      </p:graphicFrame>
    </p:spTree>
    <p:extLst>
      <p:ext uri="{BB962C8B-B14F-4D97-AF65-F5344CB8AC3E}">
        <p14:creationId xmlns:p14="http://schemas.microsoft.com/office/powerpoint/2010/main" val="156934970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64833D-5D37-D7C0-9686-AC785CAF608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51201F7-4A9E-7A51-66EE-BB0A9C157DD9}"/>
              </a:ext>
            </a:extLst>
          </p:cNvPr>
          <p:cNvSpPr>
            <a:spLocks noGrp="1"/>
          </p:cNvSpPr>
          <p:nvPr>
            <p:ph type="title"/>
          </p:nvPr>
        </p:nvSpPr>
        <p:spPr/>
        <p:txBody>
          <a:bodyPr/>
          <a:lstStyle/>
          <a:p>
            <a:r>
              <a:rPr lang="en-US" dirty="0"/>
              <a:t>Scale Shift: From More Compute to More Thinking</a:t>
            </a:r>
          </a:p>
        </p:txBody>
      </p:sp>
      <p:sp>
        <p:nvSpPr>
          <p:cNvPr id="4" name="Text Placeholder 3">
            <a:extLst>
              <a:ext uri="{FF2B5EF4-FFF2-40B4-BE49-F238E27FC236}">
                <a16:creationId xmlns:a16="http://schemas.microsoft.com/office/drawing/2014/main" id="{48AC0E8E-6967-BF51-A9BB-5BC9B13BDE70}"/>
              </a:ext>
            </a:extLst>
          </p:cNvPr>
          <p:cNvSpPr>
            <a:spLocks noGrp="1"/>
          </p:cNvSpPr>
          <p:nvPr>
            <p:ph type="body" sz="quarter" idx="10"/>
          </p:nvPr>
        </p:nvSpPr>
        <p:spPr>
          <a:xfrm>
            <a:off x="384175" y="1231900"/>
            <a:ext cx="11595100" cy="3921743"/>
          </a:xfrm>
        </p:spPr>
        <p:txBody>
          <a:bodyPr/>
          <a:lstStyle/>
          <a:p>
            <a:pPr marL="0" indent="0">
              <a:buNone/>
            </a:pPr>
            <a:r>
              <a:rPr lang="en-US" dirty="0"/>
              <a:t>Kaplan introduced our first pass at LLM scaling laws</a:t>
            </a:r>
          </a:p>
        </p:txBody>
      </p:sp>
      <p:sp>
        <p:nvSpPr>
          <p:cNvPr id="2" name="TextBox 1">
            <a:extLst>
              <a:ext uri="{FF2B5EF4-FFF2-40B4-BE49-F238E27FC236}">
                <a16:creationId xmlns:a16="http://schemas.microsoft.com/office/drawing/2014/main" id="{BB231EDE-B84B-850D-0EA6-CF1ED622A8AB}"/>
              </a:ext>
            </a:extLst>
          </p:cNvPr>
          <p:cNvSpPr txBox="1"/>
          <p:nvPr/>
        </p:nvSpPr>
        <p:spPr>
          <a:xfrm>
            <a:off x="154379" y="6352725"/>
            <a:ext cx="3412024" cy="369332"/>
          </a:xfrm>
          <a:prstGeom prst="rect">
            <a:avLst/>
          </a:prstGeom>
          <a:noFill/>
        </p:spPr>
        <p:txBody>
          <a:bodyPr wrap="none" rtlCol="0">
            <a:spAutoFit/>
          </a:bodyPr>
          <a:lstStyle/>
          <a:p>
            <a:r>
              <a:rPr lang="en-US" dirty="0"/>
              <a:t>https://</a:t>
            </a:r>
            <a:r>
              <a:rPr lang="en-US" dirty="0" err="1"/>
              <a:t>arxiv.org</a:t>
            </a:r>
            <a:r>
              <a:rPr lang="en-US" dirty="0"/>
              <a:t>/pdf/2001.08361</a:t>
            </a:r>
          </a:p>
        </p:txBody>
      </p:sp>
      <p:pic>
        <p:nvPicPr>
          <p:cNvPr id="6" name="Picture 5" descr="A comparison of a graph&#10;&#10;AI-generated content may be incorrect.">
            <a:extLst>
              <a:ext uri="{FF2B5EF4-FFF2-40B4-BE49-F238E27FC236}">
                <a16:creationId xmlns:a16="http://schemas.microsoft.com/office/drawing/2014/main" id="{CBF7F30B-90E5-D257-413F-C8E299CB917C}"/>
              </a:ext>
            </a:extLst>
          </p:cNvPr>
          <p:cNvPicPr>
            <a:picLocks noChangeAspect="1"/>
          </p:cNvPicPr>
          <p:nvPr/>
        </p:nvPicPr>
        <p:blipFill>
          <a:blip r:embed="rId2"/>
          <a:stretch>
            <a:fillRect/>
          </a:stretch>
        </p:blipFill>
        <p:spPr>
          <a:xfrm>
            <a:off x="1860391" y="1704357"/>
            <a:ext cx="7772400" cy="3172617"/>
          </a:xfrm>
          <a:prstGeom prst="rect">
            <a:avLst/>
          </a:prstGeom>
        </p:spPr>
      </p:pic>
      <p:sp>
        <p:nvSpPr>
          <p:cNvPr id="7" name="TextBox 6">
            <a:extLst>
              <a:ext uri="{FF2B5EF4-FFF2-40B4-BE49-F238E27FC236}">
                <a16:creationId xmlns:a16="http://schemas.microsoft.com/office/drawing/2014/main" id="{69DE602F-386D-B646-31E8-1C01FCAF0EBA}"/>
              </a:ext>
            </a:extLst>
          </p:cNvPr>
          <p:cNvSpPr txBox="1"/>
          <p:nvPr/>
        </p:nvSpPr>
        <p:spPr>
          <a:xfrm>
            <a:off x="7212360" y="5983393"/>
            <a:ext cx="5102352" cy="369332"/>
          </a:xfrm>
          <a:prstGeom prst="rect">
            <a:avLst/>
          </a:prstGeom>
          <a:noFill/>
        </p:spPr>
        <p:txBody>
          <a:bodyPr wrap="square" rtlCol="0">
            <a:spAutoFit/>
          </a:bodyPr>
          <a:lstStyle/>
          <a:p>
            <a:r>
              <a:rPr lang="en-US" dirty="0"/>
              <a:t>Using Chain-of-Thought, a new rule emerged….</a:t>
            </a:r>
          </a:p>
        </p:txBody>
      </p:sp>
      <p:sp>
        <p:nvSpPr>
          <p:cNvPr id="8" name="TextBox 7">
            <a:extLst>
              <a:ext uri="{FF2B5EF4-FFF2-40B4-BE49-F238E27FC236}">
                <a16:creationId xmlns:a16="http://schemas.microsoft.com/office/drawing/2014/main" id="{390E7AB6-2A1E-E7D6-47E1-5400B1EA44C8}"/>
              </a:ext>
            </a:extLst>
          </p:cNvPr>
          <p:cNvSpPr txBox="1"/>
          <p:nvPr/>
        </p:nvSpPr>
        <p:spPr>
          <a:xfrm>
            <a:off x="558140" y="5403273"/>
            <a:ext cx="10960925" cy="646331"/>
          </a:xfrm>
          <a:prstGeom prst="rect">
            <a:avLst/>
          </a:prstGeom>
          <a:noFill/>
        </p:spPr>
        <p:txBody>
          <a:bodyPr wrap="square" rtlCol="0">
            <a:spAutoFit/>
          </a:bodyPr>
          <a:lstStyle/>
          <a:p>
            <a:r>
              <a:rPr lang="en-US" dirty="0"/>
              <a:t>The more processing power and more data lead to better performance, this is called the </a:t>
            </a:r>
            <a:r>
              <a:rPr lang="en-US" i="1" dirty="0"/>
              <a:t>train-time compute</a:t>
            </a:r>
            <a:r>
              <a:rPr lang="en-US" dirty="0"/>
              <a:t> scaling laws. However we were hitting fundamental limits… finite data and fine compute.</a:t>
            </a:r>
          </a:p>
        </p:txBody>
      </p:sp>
    </p:spTree>
    <p:extLst>
      <p:ext uri="{BB962C8B-B14F-4D97-AF65-F5344CB8AC3E}">
        <p14:creationId xmlns:p14="http://schemas.microsoft.com/office/powerpoint/2010/main" val="12860276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4E1DAD-8FD5-2814-A2AF-8C2BBDE63FD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6610785-E6AE-0331-D0D2-C99C1C6347F8}"/>
              </a:ext>
            </a:extLst>
          </p:cNvPr>
          <p:cNvSpPr>
            <a:spLocks noGrp="1"/>
          </p:cNvSpPr>
          <p:nvPr>
            <p:ph type="title"/>
          </p:nvPr>
        </p:nvSpPr>
        <p:spPr/>
        <p:txBody>
          <a:bodyPr/>
          <a:lstStyle/>
          <a:p>
            <a:r>
              <a:rPr lang="en-US" dirty="0"/>
              <a:t>Test-Time Compute Scales Performance Better.</a:t>
            </a:r>
          </a:p>
        </p:txBody>
      </p:sp>
      <p:sp>
        <p:nvSpPr>
          <p:cNvPr id="4" name="Text Placeholder 3">
            <a:extLst>
              <a:ext uri="{FF2B5EF4-FFF2-40B4-BE49-F238E27FC236}">
                <a16:creationId xmlns:a16="http://schemas.microsoft.com/office/drawing/2014/main" id="{0FA9D87C-382F-3B67-2273-1F090302095A}"/>
              </a:ext>
            </a:extLst>
          </p:cNvPr>
          <p:cNvSpPr>
            <a:spLocks noGrp="1"/>
          </p:cNvSpPr>
          <p:nvPr>
            <p:ph type="body" sz="quarter" idx="10"/>
          </p:nvPr>
        </p:nvSpPr>
        <p:spPr>
          <a:xfrm>
            <a:off x="384175" y="1231900"/>
            <a:ext cx="11595100" cy="3921743"/>
          </a:xfrm>
        </p:spPr>
        <p:txBody>
          <a:bodyPr/>
          <a:lstStyle/>
          <a:p>
            <a:pPr marL="0" indent="0">
              <a:buNone/>
            </a:pPr>
            <a:r>
              <a:rPr lang="en-US" dirty="0"/>
              <a:t>Open AI published performance of o1 accuracy with more train-time vs test time. Which graph is steeper?</a:t>
            </a:r>
          </a:p>
        </p:txBody>
      </p:sp>
      <p:sp>
        <p:nvSpPr>
          <p:cNvPr id="2" name="TextBox 1">
            <a:extLst>
              <a:ext uri="{FF2B5EF4-FFF2-40B4-BE49-F238E27FC236}">
                <a16:creationId xmlns:a16="http://schemas.microsoft.com/office/drawing/2014/main" id="{50F45D6E-4AC3-B705-CFA1-4A6284BDD7D5}"/>
              </a:ext>
            </a:extLst>
          </p:cNvPr>
          <p:cNvSpPr txBox="1"/>
          <p:nvPr/>
        </p:nvSpPr>
        <p:spPr>
          <a:xfrm>
            <a:off x="154379" y="6352725"/>
            <a:ext cx="5660524" cy="369332"/>
          </a:xfrm>
          <a:prstGeom prst="rect">
            <a:avLst/>
          </a:prstGeom>
          <a:noFill/>
        </p:spPr>
        <p:txBody>
          <a:bodyPr wrap="none" rtlCol="0">
            <a:spAutoFit/>
          </a:bodyPr>
          <a:lstStyle/>
          <a:p>
            <a:r>
              <a:rPr lang="en-US" dirty="0"/>
              <a:t>https://</a:t>
            </a:r>
            <a:r>
              <a:rPr lang="en-US" dirty="0" err="1"/>
              <a:t>openai.com</a:t>
            </a:r>
            <a:r>
              <a:rPr lang="en-US" dirty="0"/>
              <a:t>/index/learning-to-reason-with-</a:t>
            </a:r>
            <a:r>
              <a:rPr lang="en-US" dirty="0" err="1"/>
              <a:t>llms</a:t>
            </a:r>
            <a:r>
              <a:rPr lang="en-US" dirty="0"/>
              <a:t>/</a:t>
            </a:r>
          </a:p>
        </p:txBody>
      </p:sp>
      <p:pic>
        <p:nvPicPr>
          <p:cNvPr id="9" name="Picture 8" descr="A comparison of a graph&#10;&#10;AI-generated content may be incorrect.">
            <a:extLst>
              <a:ext uri="{FF2B5EF4-FFF2-40B4-BE49-F238E27FC236}">
                <a16:creationId xmlns:a16="http://schemas.microsoft.com/office/drawing/2014/main" id="{FDE3A92F-1123-727C-F2B6-85E0D73A5345}"/>
              </a:ext>
            </a:extLst>
          </p:cNvPr>
          <p:cNvPicPr>
            <a:picLocks noChangeAspect="1"/>
          </p:cNvPicPr>
          <p:nvPr/>
        </p:nvPicPr>
        <p:blipFill>
          <a:blip r:embed="rId2"/>
          <a:stretch>
            <a:fillRect/>
          </a:stretch>
        </p:blipFill>
        <p:spPr>
          <a:xfrm>
            <a:off x="2209800" y="2282821"/>
            <a:ext cx="7772400" cy="3700572"/>
          </a:xfrm>
          <a:prstGeom prst="rect">
            <a:avLst/>
          </a:prstGeom>
        </p:spPr>
      </p:pic>
    </p:spTree>
    <p:extLst>
      <p:ext uri="{BB962C8B-B14F-4D97-AF65-F5344CB8AC3E}">
        <p14:creationId xmlns:p14="http://schemas.microsoft.com/office/powerpoint/2010/main" val="151582442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8701BA-0BB7-B74E-4319-468817F5341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44FAA77-0AAC-C629-336A-0D0D07A78687}"/>
              </a:ext>
            </a:extLst>
          </p:cNvPr>
          <p:cNvSpPr>
            <a:spLocks noGrp="1"/>
          </p:cNvSpPr>
          <p:nvPr>
            <p:ph type="title"/>
          </p:nvPr>
        </p:nvSpPr>
        <p:spPr/>
        <p:txBody>
          <a:bodyPr/>
          <a:lstStyle/>
          <a:p>
            <a:r>
              <a:rPr lang="en-US" dirty="0"/>
              <a:t>Test-Time Compute Scales Performance Better.</a:t>
            </a:r>
          </a:p>
        </p:txBody>
      </p:sp>
      <p:sp>
        <p:nvSpPr>
          <p:cNvPr id="2" name="TextBox 1">
            <a:extLst>
              <a:ext uri="{FF2B5EF4-FFF2-40B4-BE49-F238E27FC236}">
                <a16:creationId xmlns:a16="http://schemas.microsoft.com/office/drawing/2014/main" id="{8BC4F773-1695-750A-A520-0CE220F115AA}"/>
              </a:ext>
            </a:extLst>
          </p:cNvPr>
          <p:cNvSpPr txBox="1"/>
          <p:nvPr/>
        </p:nvSpPr>
        <p:spPr>
          <a:xfrm>
            <a:off x="154379" y="6352725"/>
            <a:ext cx="5660524" cy="369332"/>
          </a:xfrm>
          <a:prstGeom prst="rect">
            <a:avLst/>
          </a:prstGeom>
          <a:noFill/>
        </p:spPr>
        <p:txBody>
          <a:bodyPr wrap="none" rtlCol="0">
            <a:spAutoFit/>
          </a:bodyPr>
          <a:lstStyle/>
          <a:p>
            <a:r>
              <a:rPr lang="en-US" dirty="0"/>
              <a:t>https://</a:t>
            </a:r>
            <a:r>
              <a:rPr lang="en-US" dirty="0" err="1"/>
              <a:t>openai.com</a:t>
            </a:r>
            <a:r>
              <a:rPr lang="en-US" dirty="0"/>
              <a:t>/index/learning-to-reason-with-</a:t>
            </a:r>
            <a:r>
              <a:rPr lang="en-US" dirty="0" err="1"/>
              <a:t>llms</a:t>
            </a:r>
            <a:r>
              <a:rPr lang="en-US" dirty="0"/>
              <a:t>/</a:t>
            </a:r>
          </a:p>
        </p:txBody>
      </p:sp>
      <p:pic>
        <p:nvPicPr>
          <p:cNvPr id="5124" name="Picture 4" descr="Test-Time Scaling: The New Frontier for AI | CDOTrends">
            <a:extLst>
              <a:ext uri="{FF2B5EF4-FFF2-40B4-BE49-F238E27FC236}">
                <a16:creationId xmlns:a16="http://schemas.microsoft.com/office/drawing/2014/main" id="{7950A337-F016-642E-B3BE-070120EA5CF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4852"/>
          <a:stretch>
            <a:fillRect/>
          </a:stretch>
        </p:blipFill>
        <p:spPr bwMode="auto">
          <a:xfrm>
            <a:off x="2566254" y="1147695"/>
            <a:ext cx="7059492" cy="397879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47027A89-E14F-53D1-B3FF-72D235C2B51B}"/>
              </a:ext>
            </a:extLst>
          </p:cNvPr>
          <p:cNvSpPr txBox="1"/>
          <p:nvPr/>
        </p:nvSpPr>
        <p:spPr>
          <a:xfrm>
            <a:off x="1246908" y="5248640"/>
            <a:ext cx="10260282" cy="923330"/>
          </a:xfrm>
          <a:prstGeom prst="rect">
            <a:avLst/>
          </a:prstGeom>
          <a:noFill/>
        </p:spPr>
        <p:txBody>
          <a:bodyPr wrap="square" rtlCol="0">
            <a:spAutoFit/>
          </a:bodyPr>
          <a:lstStyle/>
          <a:p>
            <a:r>
              <a:rPr lang="en-US" dirty="0"/>
              <a:t>The new scaling laws means that training data is no longer the bottleneck, the longer LLM thinks, the better it becomes. For Agents, this is a massive leap forward. Reasoning, retrieving, refining, collectively means better performance, better outcomes.</a:t>
            </a:r>
          </a:p>
        </p:txBody>
      </p:sp>
    </p:spTree>
    <p:extLst>
      <p:ext uri="{BB962C8B-B14F-4D97-AF65-F5344CB8AC3E}">
        <p14:creationId xmlns:p14="http://schemas.microsoft.com/office/powerpoint/2010/main" val="259685256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BD69F9-F332-6125-E6F6-21100BA08F1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6234E07-A9C8-B02E-F9A7-D43B434EB50C}"/>
              </a:ext>
            </a:extLst>
          </p:cNvPr>
          <p:cNvSpPr>
            <a:spLocks noGrp="1"/>
          </p:cNvSpPr>
          <p:nvPr>
            <p:ph type="title"/>
          </p:nvPr>
        </p:nvSpPr>
        <p:spPr/>
        <p:txBody>
          <a:bodyPr/>
          <a:lstStyle/>
          <a:p>
            <a:r>
              <a:rPr lang="en-US" dirty="0"/>
              <a:t>A Fun Experiment – Setting the Stage</a:t>
            </a:r>
          </a:p>
        </p:txBody>
      </p:sp>
      <p:sp>
        <p:nvSpPr>
          <p:cNvPr id="4" name="Text Placeholder 3">
            <a:extLst>
              <a:ext uri="{FF2B5EF4-FFF2-40B4-BE49-F238E27FC236}">
                <a16:creationId xmlns:a16="http://schemas.microsoft.com/office/drawing/2014/main" id="{CE4EEC75-CD50-7C69-574B-EC738D33E9B2}"/>
              </a:ext>
            </a:extLst>
          </p:cNvPr>
          <p:cNvSpPr>
            <a:spLocks noGrp="1"/>
          </p:cNvSpPr>
          <p:nvPr>
            <p:ph type="body" sz="quarter" idx="10"/>
          </p:nvPr>
        </p:nvSpPr>
        <p:spPr>
          <a:xfrm>
            <a:off x="384175" y="1231900"/>
            <a:ext cx="5292230" cy="4957763"/>
          </a:xfrm>
        </p:spPr>
        <p:txBody>
          <a:bodyPr/>
          <a:lstStyle/>
          <a:p>
            <a:r>
              <a:rPr lang="en-US" dirty="0"/>
              <a:t>What Puzzle requires System 1 and System 2 thinking? </a:t>
            </a:r>
            <a:br>
              <a:rPr lang="en-US" dirty="0"/>
            </a:br>
            <a:endParaRPr lang="en-US" dirty="0"/>
          </a:p>
          <a:p>
            <a:r>
              <a:rPr lang="en-US" dirty="0"/>
              <a:t>On paper answering questions like “Name an R&amp;B Singer” or “A guitarist with a top hat.” or system 1 thinking.</a:t>
            </a:r>
            <a:br>
              <a:rPr lang="en-US" dirty="0"/>
            </a:br>
            <a:endParaRPr lang="en-US" dirty="0"/>
          </a:p>
          <a:p>
            <a:r>
              <a:rPr lang="en-US" dirty="0"/>
              <a:t>Yet we must address real constraints built into the puzzle like semantic correctness and spelling.</a:t>
            </a:r>
          </a:p>
        </p:txBody>
      </p:sp>
      <p:pic>
        <p:nvPicPr>
          <p:cNvPr id="5" name="Picture 4" descr="A crossword puzzle with a black and white crossword puzzle&#10;&#10;AI-generated content may be incorrect.">
            <a:extLst>
              <a:ext uri="{FF2B5EF4-FFF2-40B4-BE49-F238E27FC236}">
                <a16:creationId xmlns:a16="http://schemas.microsoft.com/office/drawing/2014/main" id="{2C917236-2CEB-712D-D7D0-D3801D91FAAD}"/>
              </a:ext>
            </a:extLst>
          </p:cNvPr>
          <p:cNvPicPr>
            <a:picLocks noChangeAspect="1"/>
          </p:cNvPicPr>
          <p:nvPr/>
        </p:nvPicPr>
        <p:blipFill>
          <a:blip r:embed="rId2"/>
          <a:stretch>
            <a:fillRect/>
          </a:stretch>
        </p:blipFill>
        <p:spPr>
          <a:xfrm>
            <a:off x="5847523" y="1698612"/>
            <a:ext cx="6131420" cy="3460775"/>
          </a:xfrm>
          <a:prstGeom prst="rect">
            <a:avLst/>
          </a:prstGeom>
        </p:spPr>
      </p:pic>
    </p:spTree>
    <p:extLst>
      <p:ext uri="{BB962C8B-B14F-4D97-AF65-F5344CB8AC3E}">
        <p14:creationId xmlns:p14="http://schemas.microsoft.com/office/powerpoint/2010/main" val="85714471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56B203-449E-EC03-58D4-B99E5EB13383}"/>
              </a:ext>
            </a:extLst>
          </p:cNvPr>
          <p:cNvSpPr>
            <a:spLocks noGrp="1"/>
          </p:cNvSpPr>
          <p:nvPr>
            <p:ph type="title"/>
          </p:nvPr>
        </p:nvSpPr>
        <p:spPr/>
        <p:txBody>
          <a:bodyPr/>
          <a:lstStyle/>
          <a:p>
            <a:r>
              <a:rPr lang="en-US" dirty="0"/>
              <a:t>The Experiment with the LLM</a:t>
            </a:r>
          </a:p>
        </p:txBody>
      </p:sp>
      <p:sp>
        <p:nvSpPr>
          <p:cNvPr id="3" name="Text Placeholder 2">
            <a:extLst>
              <a:ext uri="{FF2B5EF4-FFF2-40B4-BE49-F238E27FC236}">
                <a16:creationId xmlns:a16="http://schemas.microsoft.com/office/drawing/2014/main" id="{70EBAA03-E170-FF62-97C0-E4C4D2F9CEBE}"/>
              </a:ext>
            </a:extLst>
          </p:cNvPr>
          <p:cNvSpPr>
            <a:spLocks noGrp="1"/>
          </p:cNvSpPr>
          <p:nvPr>
            <p:ph type="body" sz="quarter" idx="10"/>
          </p:nvPr>
        </p:nvSpPr>
        <p:spPr>
          <a:xfrm>
            <a:off x="384176" y="1231900"/>
            <a:ext cx="4449082" cy="4957763"/>
          </a:xfrm>
        </p:spPr>
        <p:txBody>
          <a:bodyPr/>
          <a:lstStyle/>
          <a:p>
            <a:r>
              <a:rPr lang="en-US" dirty="0"/>
              <a:t>The Flash or Instant Model is like a brilliant over confident student tackling an examine, diving headfirst.</a:t>
            </a:r>
            <a:br>
              <a:rPr lang="en-US" dirty="0"/>
            </a:br>
            <a:endParaRPr lang="en-US" dirty="0"/>
          </a:p>
          <a:p>
            <a:r>
              <a:rPr lang="en-US" dirty="0"/>
              <a:t>The solution is filled out, impressive, but how many are correct…</a:t>
            </a:r>
            <a:br>
              <a:rPr lang="en-US" dirty="0"/>
            </a:br>
            <a:endParaRPr lang="en-US" dirty="0"/>
          </a:p>
          <a:p>
            <a:r>
              <a:rPr lang="en-US" dirty="0"/>
              <a:t>Many up and down constraints are violated and have mismatching characters.</a:t>
            </a:r>
          </a:p>
        </p:txBody>
      </p:sp>
      <p:pic>
        <p:nvPicPr>
          <p:cNvPr id="5" name="Picture 4" descr="A screenshot of a black screen&#10;&#10;AI-generated content may be incorrect.">
            <a:extLst>
              <a:ext uri="{FF2B5EF4-FFF2-40B4-BE49-F238E27FC236}">
                <a16:creationId xmlns:a16="http://schemas.microsoft.com/office/drawing/2014/main" id="{B4D4382F-8E07-53E2-9374-692057DBBB2B}"/>
              </a:ext>
            </a:extLst>
          </p:cNvPr>
          <p:cNvPicPr>
            <a:picLocks noChangeAspect="1"/>
          </p:cNvPicPr>
          <p:nvPr/>
        </p:nvPicPr>
        <p:blipFill>
          <a:blip r:embed="rId2"/>
          <a:stretch>
            <a:fillRect/>
          </a:stretch>
        </p:blipFill>
        <p:spPr>
          <a:xfrm>
            <a:off x="5320145" y="468886"/>
            <a:ext cx="6487679" cy="3549142"/>
          </a:xfrm>
          <a:prstGeom prst="rect">
            <a:avLst/>
          </a:prstGeom>
        </p:spPr>
      </p:pic>
      <p:pic>
        <p:nvPicPr>
          <p:cNvPr id="7" name="Picture 6" descr="A crossword puzzle with black and white squares&#10;&#10;AI-generated content may be incorrect.">
            <a:extLst>
              <a:ext uri="{FF2B5EF4-FFF2-40B4-BE49-F238E27FC236}">
                <a16:creationId xmlns:a16="http://schemas.microsoft.com/office/drawing/2014/main" id="{3805AE21-6441-A949-C0E6-511BD2F6FCD3}"/>
              </a:ext>
            </a:extLst>
          </p:cNvPr>
          <p:cNvPicPr>
            <a:picLocks noChangeAspect="1"/>
          </p:cNvPicPr>
          <p:nvPr/>
        </p:nvPicPr>
        <p:blipFill>
          <a:blip r:embed="rId3"/>
          <a:stretch>
            <a:fillRect/>
          </a:stretch>
        </p:blipFill>
        <p:spPr>
          <a:xfrm>
            <a:off x="8781148" y="4069377"/>
            <a:ext cx="3026676" cy="2788623"/>
          </a:xfrm>
          <a:prstGeom prst="rect">
            <a:avLst/>
          </a:prstGeom>
        </p:spPr>
      </p:pic>
    </p:spTree>
    <p:extLst>
      <p:ext uri="{BB962C8B-B14F-4D97-AF65-F5344CB8AC3E}">
        <p14:creationId xmlns:p14="http://schemas.microsoft.com/office/powerpoint/2010/main" val="261118163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BFE1C-BB8E-D147-B64B-9C417B719A9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04F7B4B-9C50-4A68-5440-8F931FFF23B8}"/>
              </a:ext>
            </a:extLst>
          </p:cNvPr>
          <p:cNvSpPr>
            <a:spLocks noGrp="1"/>
          </p:cNvSpPr>
          <p:nvPr>
            <p:ph type="title"/>
          </p:nvPr>
        </p:nvSpPr>
        <p:spPr/>
        <p:txBody>
          <a:bodyPr/>
          <a:lstStyle/>
          <a:p>
            <a:r>
              <a:rPr lang="en-US" dirty="0"/>
              <a:t>Understanding the Limitations</a:t>
            </a:r>
          </a:p>
        </p:txBody>
      </p:sp>
      <p:grpSp>
        <p:nvGrpSpPr>
          <p:cNvPr id="2" name="Group 1">
            <a:extLst>
              <a:ext uri="{FF2B5EF4-FFF2-40B4-BE49-F238E27FC236}">
                <a16:creationId xmlns:a16="http://schemas.microsoft.com/office/drawing/2014/main" id="{C809AD7E-A2E6-281D-EB53-107F541E88BC}"/>
              </a:ext>
            </a:extLst>
          </p:cNvPr>
          <p:cNvGrpSpPr/>
          <p:nvPr/>
        </p:nvGrpSpPr>
        <p:grpSpPr>
          <a:xfrm>
            <a:off x="1302128" y="235480"/>
            <a:ext cx="9587743" cy="3566451"/>
            <a:chOff x="1353202" y="992029"/>
            <a:chExt cx="9587743" cy="3566451"/>
          </a:xfrm>
        </p:grpSpPr>
        <p:sp>
          <p:nvSpPr>
            <p:cNvPr id="5" name="Freeform: Shape 2">
              <a:extLst>
                <a:ext uri="{FF2B5EF4-FFF2-40B4-BE49-F238E27FC236}">
                  <a16:creationId xmlns:a16="http://schemas.microsoft.com/office/drawing/2014/main" id="{BC46C646-DBB6-45FB-6D94-25A10E833415}"/>
                </a:ext>
              </a:extLst>
            </p:cNvPr>
            <p:cNvSpPr/>
            <p:nvPr/>
          </p:nvSpPr>
          <p:spPr>
            <a:xfrm>
              <a:off x="1500517" y="3227893"/>
              <a:ext cx="2671930" cy="1329095"/>
            </a:xfrm>
            <a:custGeom>
              <a:avLst/>
              <a:gdLst>
                <a:gd name="connsiteX0" fmla="*/ 1023776 w 2671930"/>
                <a:gd name="connsiteY0" fmla="*/ 0 h 1329095"/>
                <a:gd name="connsiteX1" fmla="*/ 1146621 w 2671930"/>
                <a:gd name="connsiteY1" fmla="*/ 193903 h 1329095"/>
                <a:gd name="connsiteX2" fmla="*/ 1335965 w 2671930"/>
                <a:gd name="connsiteY2" fmla="*/ 81187 h 1329095"/>
                <a:gd name="connsiteX3" fmla="*/ 1335965 w 2671930"/>
                <a:gd name="connsiteY3" fmla="*/ 81185 h 1329095"/>
                <a:gd name="connsiteX4" fmla="*/ 1525315 w 2671930"/>
                <a:gd name="connsiteY4" fmla="*/ 193904 h 1329095"/>
                <a:gd name="connsiteX5" fmla="*/ 1648157 w 2671930"/>
                <a:gd name="connsiteY5" fmla="*/ 4 h 1329095"/>
                <a:gd name="connsiteX6" fmla="*/ 2671930 w 2671930"/>
                <a:gd name="connsiteY6" fmla="*/ 1329095 h 1329095"/>
                <a:gd name="connsiteX7" fmla="*/ 1335965 w 2671930"/>
                <a:gd name="connsiteY7" fmla="*/ 1329095 h 1329095"/>
                <a:gd name="connsiteX8" fmla="*/ 1335965 w 2671930"/>
                <a:gd name="connsiteY8" fmla="*/ 1329094 h 1329095"/>
                <a:gd name="connsiteX9" fmla="*/ 0 w 2671930"/>
                <a:gd name="connsiteY9" fmla="*/ 1329094 h 1329095"/>
                <a:gd name="connsiteX0" fmla="*/ 1023776 w 2671930"/>
                <a:gd name="connsiteY0" fmla="*/ 0 h 1329095"/>
                <a:gd name="connsiteX1" fmla="*/ 1335965 w 2671930"/>
                <a:gd name="connsiteY1" fmla="*/ 81187 h 1329095"/>
                <a:gd name="connsiteX2" fmla="*/ 1335965 w 2671930"/>
                <a:gd name="connsiteY2" fmla="*/ 81185 h 1329095"/>
                <a:gd name="connsiteX3" fmla="*/ 1525315 w 2671930"/>
                <a:gd name="connsiteY3" fmla="*/ 193904 h 1329095"/>
                <a:gd name="connsiteX4" fmla="*/ 1648157 w 2671930"/>
                <a:gd name="connsiteY4" fmla="*/ 4 h 1329095"/>
                <a:gd name="connsiteX5" fmla="*/ 2671930 w 2671930"/>
                <a:gd name="connsiteY5" fmla="*/ 1329095 h 1329095"/>
                <a:gd name="connsiteX6" fmla="*/ 1335965 w 2671930"/>
                <a:gd name="connsiteY6" fmla="*/ 1329095 h 1329095"/>
                <a:gd name="connsiteX7" fmla="*/ 1335965 w 2671930"/>
                <a:gd name="connsiteY7" fmla="*/ 1329094 h 1329095"/>
                <a:gd name="connsiteX8" fmla="*/ 0 w 2671930"/>
                <a:gd name="connsiteY8" fmla="*/ 1329094 h 1329095"/>
                <a:gd name="connsiteX9" fmla="*/ 1023776 w 2671930"/>
                <a:gd name="connsiteY9" fmla="*/ 0 h 1329095"/>
                <a:gd name="connsiteX0" fmla="*/ 1023776 w 2671930"/>
                <a:gd name="connsiteY0" fmla="*/ 0 h 1329095"/>
                <a:gd name="connsiteX1" fmla="*/ 1335965 w 2671930"/>
                <a:gd name="connsiteY1" fmla="*/ 81187 h 1329095"/>
                <a:gd name="connsiteX2" fmla="*/ 1335965 w 2671930"/>
                <a:gd name="connsiteY2" fmla="*/ 81185 h 1329095"/>
                <a:gd name="connsiteX3" fmla="*/ 1648157 w 2671930"/>
                <a:gd name="connsiteY3" fmla="*/ 4 h 1329095"/>
                <a:gd name="connsiteX4" fmla="*/ 2671930 w 2671930"/>
                <a:gd name="connsiteY4" fmla="*/ 1329095 h 1329095"/>
                <a:gd name="connsiteX5" fmla="*/ 1335965 w 2671930"/>
                <a:gd name="connsiteY5" fmla="*/ 1329095 h 1329095"/>
                <a:gd name="connsiteX6" fmla="*/ 1335965 w 2671930"/>
                <a:gd name="connsiteY6" fmla="*/ 1329094 h 1329095"/>
                <a:gd name="connsiteX7" fmla="*/ 0 w 2671930"/>
                <a:gd name="connsiteY7" fmla="*/ 1329094 h 1329095"/>
                <a:gd name="connsiteX8" fmla="*/ 1023776 w 2671930"/>
                <a:gd name="connsiteY8" fmla="*/ 0 h 1329095"/>
                <a:gd name="connsiteX0" fmla="*/ 1023776 w 2671930"/>
                <a:gd name="connsiteY0" fmla="*/ 0 h 1329095"/>
                <a:gd name="connsiteX1" fmla="*/ 1335965 w 2671930"/>
                <a:gd name="connsiteY1" fmla="*/ 81187 h 1329095"/>
                <a:gd name="connsiteX2" fmla="*/ 1648157 w 2671930"/>
                <a:gd name="connsiteY2" fmla="*/ 4 h 1329095"/>
                <a:gd name="connsiteX3" fmla="*/ 2671930 w 2671930"/>
                <a:gd name="connsiteY3" fmla="*/ 1329095 h 1329095"/>
                <a:gd name="connsiteX4" fmla="*/ 1335965 w 2671930"/>
                <a:gd name="connsiteY4" fmla="*/ 1329095 h 1329095"/>
                <a:gd name="connsiteX5" fmla="*/ 1335965 w 2671930"/>
                <a:gd name="connsiteY5" fmla="*/ 1329094 h 1329095"/>
                <a:gd name="connsiteX6" fmla="*/ 0 w 2671930"/>
                <a:gd name="connsiteY6" fmla="*/ 1329094 h 1329095"/>
                <a:gd name="connsiteX7" fmla="*/ 1023776 w 2671930"/>
                <a:gd name="connsiteY7" fmla="*/ 0 h 1329095"/>
                <a:gd name="connsiteX0" fmla="*/ 1023776 w 2671930"/>
                <a:gd name="connsiteY0" fmla="*/ 0 h 1329095"/>
                <a:gd name="connsiteX1" fmla="*/ 1648157 w 2671930"/>
                <a:gd name="connsiteY1" fmla="*/ 4 h 1329095"/>
                <a:gd name="connsiteX2" fmla="*/ 2671930 w 2671930"/>
                <a:gd name="connsiteY2" fmla="*/ 1329095 h 1329095"/>
                <a:gd name="connsiteX3" fmla="*/ 1335965 w 2671930"/>
                <a:gd name="connsiteY3" fmla="*/ 1329095 h 1329095"/>
                <a:gd name="connsiteX4" fmla="*/ 1335965 w 2671930"/>
                <a:gd name="connsiteY4" fmla="*/ 1329094 h 1329095"/>
                <a:gd name="connsiteX5" fmla="*/ 0 w 2671930"/>
                <a:gd name="connsiteY5" fmla="*/ 1329094 h 1329095"/>
                <a:gd name="connsiteX6" fmla="*/ 1023776 w 2671930"/>
                <a:gd name="connsiteY6" fmla="*/ 0 h 1329095"/>
                <a:gd name="connsiteX0" fmla="*/ 1023776 w 2671930"/>
                <a:gd name="connsiteY0" fmla="*/ 0 h 1329095"/>
                <a:gd name="connsiteX1" fmla="*/ 1648157 w 2671930"/>
                <a:gd name="connsiteY1" fmla="*/ 4 h 1329095"/>
                <a:gd name="connsiteX2" fmla="*/ 2671930 w 2671930"/>
                <a:gd name="connsiteY2" fmla="*/ 1329095 h 1329095"/>
                <a:gd name="connsiteX3" fmla="*/ 1335965 w 2671930"/>
                <a:gd name="connsiteY3" fmla="*/ 1329095 h 1329095"/>
                <a:gd name="connsiteX4" fmla="*/ 0 w 2671930"/>
                <a:gd name="connsiteY4" fmla="*/ 1329094 h 1329095"/>
                <a:gd name="connsiteX5" fmla="*/ 1023776 w 2671930"/>
                <a:gd name="connsiteY5" fmla="*/ 0 h 1329095"/>
                <a:gd name="connsiteX0" fmla="*/ 1023776 w 2671930"/>
                <a:gd name="connsiteY0" fmla="*/ 0 h 1329095"/>
                <a:gd name="connsiteX1" fmla="*/ 1648157 w 2671930"/>
                <a:gd name="connsiteY1" fmla="*/ 4 h 1329095"/>
                <a:gd name="connsiteX2" fmla="*/ 2671930 w 2671930"/>
                <a:gd name="connsiteY2" fmla="*/ 1329095 h 1329095"/>
                <a:gd name="connsiteX3" fmla="*/ 0 w 2671930"/>
                <a:gd name="connsiteY3" fmla="*/ 1329094 h 1329095"/>
                <a:gd name="connsiteX4" fmla="*/ 1023776 w 2671930"/>
                <a:gd name="connsiteY4" fmla="*/ 0 h 1329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1930" h="1329095">
                  <a:moveTo>
                    <a:pt x="1023776" y="0"/>
                  </a:moveTo>
                  <a:lnTo>
                    <a:pt x="1648157" y="4"/>
                  </a:lnTo>
                  <a:lnTo>
                    <a:pt x="2671930" y="1329095"/>
                  </a:lnTo>
                  <a:lnTo>
                    <a:pt x="0" y="1329094"/>
                  </a:lnTo>
                  <a:lnTo>
                    <a:pt x="1023776" y="0"/>
                  </a:lnTo>
                  <a:close/>
                </a:path>
              </a:pathLst>
            </a:custGeom>
            <a:solidFill>
              <a:schemeClr val="accent4"/>
            </a:solidFill>
            <a:ln w="0" cap="flat">
              <a:noFill/>
              <a:prstDash val="solid"/>
              <a:miter/>
            </a:ln>
          </p:spPr>
          <p:txBody>
            <a:bodyPr rtlCol="0" anchor="ctr"/>
            <a:lstStyle/>
            <a:p>
              <a:endParaRPr lang="en-US"/>
            </a:p>
          </p:txBody>
        </p:sp>
        <p:sp>
          <p:nvSpPr>
            <p:cNvPr id="6" name="Freeform: Shape 3">
              <a:extLst>
                <a:ext uri="{FF2B5EF4-FFF2-40B4-BE49-F238E27FC236}">
                  <a16:creationId xmlns:a16="http://schemas.microsoft.com/office/drawing/2014/main" id="{2E1F8FE6-138D-58C8-ADE1-4062D225D491}"/>
                </a:ext>
              </a:extLst>
            </p:cNvPr>
            <p:cNvSpPr/>
            <p:nvPr/>
          </p:nvSpPr>
          <p:spPr>
            <a:xfrm>
              <a:off x="3150564" y="2586201"/>
              <a:ext cx="3965817" cy="1970781"/>
            </a:xfrm>
            <a:custGeom>
              <a:avLst/>
              <a:gdLst>
                <a:gd name="connsiteX0" fmla="*/ 1518216 w 3965817"/>
                <a:gd name="connsiteY0" fmla="*/ 0 h 1970781"/>
                <a:gd name="connsiteX1" fmla="*/ 1701141 w 3965817"/>
                <a:gd name="connsiteY1" fmla="*/ 290029 h 1970781"/>
                <a:gd name="connsiteX2" fmla="*/ 1982157 w 3965817"/>
                <a:gd name="connsiteY2" fmla="*/ 121701 h 1970781"/>
                <a:gd name="connsiteX3" fmla="*/ 2264677 w 3965817"/>
                <a:gd name="connsiteY3" fmla="*/ 290029 h 1970781"/>
                <a:gd name="connsiteX4" fmla="*/ 2447084 w 3965817"/>
                <a:gd name="connsiteY4" fmla="*/ 821 h 1970781"/>
                <a:gd name="connsiteX5" fmla="*/ 3965817 w 3965817"/>
                <a:gd name="connsiteY5" fmla="*/ 1970781 h 1970781"/>
                <a:gd name="connsiteX6" fmla="*/ 1982157 w 3965817"/>
                <a:gd name="connsiteY6" fmla="*/ 1970781 h 1970781"/>
                <a:gd name="connsiteX7" fmla="*/ 0 w 3965817"/>
                <a:gd name="connsiteY7" fmla="*/ 1970781 h 1970781"/>
                <a:gd name="connsiteX0" fmla="*/ 1518216 w 3965817"/>
                <a:gd name="connsiteY0" fmla="*/ 0 h 1970781"/>
                <a:gd name="connsiteX1" fmla="*/ 1982157 w 3965817"/>
                <a:gd name="connsiteY1" fmla="*/ 121701 h 1970781"/>
                <a:gd name="connsiteX2" fmla="*/ 2264677 w 3965817"/>
                <a:gd name="connsiteY2" fmla="*/ 290029 h 1970781"/>
                <a:gd name="connsiteX3" fmla="*/ 2447084 w 3965817"/>
                <a:gd name="connsiteY3" fmla="*/ 821 h 1970781"/>
                <a:gd name="connsiteX4" fmla="*/ 3965817 w 3965817"/>
                <a:gd name="connsiteY4" fmla="*/ 1970781 h 1970781"/>
                <a:gd name="connsiteX5" fmla="*/ 1982157 w 3965817"/>
                <a:gd name="connsiteY5" fmla="*/ 1970781 h 1970781"/>
                <a:gd name="connsiteX6" fmla="*/ 0 w 3965817"/>
                <a:gd name="connsiteY6" fmla="*/ 1970781 h 1970781"/>
                <a:gd name="connsiteX7" fmla="*/ 1518216 w 3965817"/>
                <a:gd name="connsiteY7" fmla="*/ 0 h 1970781"/>
                <a:gd name="connsiteX0" fmla="*/ 1518216 w 3965817"/>
                <a:gd name="connsiteY0" fmla="*/ 0 h 1970781"/>
                <a:gd name="connsiteX1" fmla="*/ 2264677 w 3965817"/>
                <a:gd name="connsiteY1" fmla="*/ 290029 h 1970781"/>
                <a:gd name="connsiteX2" fmla="*/ 2447084 w 3965817"/>
                <a:gd name="connsiteY2" fmla="*/ 821 h 1970781"/>
                <a:gd name="connsiteX3" fmla="*/ 3965817 w 3965817"/>
                <a:gd name="connsiteY3" fmla="*/ 1970781 h 1970781"/>
                <a:gd name="connsiteX4" fmla="*/ 1982157 w 3965817"/>
                <a:gd name="connsiteY4" fmla="*/ 1970781 h 1970781"/>
                <a:gd name="connsiteX5" fmla="*/ 0 w 3965817"/>
                <a:gd name="connsiteY5" fmla="*/ 1970781 h 1970781"/>
                <a:gd name="connsiteX6" fmla="*/ 1518216 w 3965817"/>
                <a:gd name="connsiteY6" fmla="*/ 0 h 1970781"/>
                <a:gd name="connsiteX0" fmla="*/ 1518216 w 3965817"/>
                <a:gd name="connsiteY0" fmla="*/ 0 h 1970781"/>
                <a:gd name="connsiteX1" fmla="*/ 2447084 w 3965817"/>
                <a:gd name="connsiteY1" fmla="*/ 821 h 1970781"/>
                <a:gd name="connsiteX2" fmla="*/ 3965817 w 3965817"/>
                <a:gd name="connsiteY2" fmla="*/ 1970781 h 1970781"/>
                <a:gd name="connsiteX3" fmla="*/ 1982157 w 3965817"/>
                <a:gd name="connsiteY3" fmla="*/ 1970781 h 1970781"/>
                <a:gd name="connsiteX4" fmla="*/ 0 w 3965817"/>
                <a:gd name="connsiteY4" fmla="*/ 1970781 h 1970781"/>
                <a:gd name="connsiteX5" fmla="*/ 1518216 w 3965817"/>
                <a:gd name="connsiteY5" fmla="*/ 0 h 1970781"/>
                <a:gd name="connsiteX0" fmla="*/ 1518216 w 3965817"/>
                <a:gd name="connsiteY0" fmla="*/ 0 h 1970781"/>
                <a:gd name="connsiteX1" fmla="*/ 2447084 w 3965817"/>
                <a:gd name="connsiteY1" fmla="*/ 821 h 1970781"/>
                <a:gd name="connsiteX2" fmla="*/ 3965817 w 3965817"/>
                <a:gd name="connsiteY2" fmla="*/ 1970781 h 1970781"/>
                <a:gd name="connsiteX3" fmla="*/ 0 w 3965817"/>
                <a:gd name="connsiteY3" fmla="*/ 1970781 h 1970781"/>
                <a:gd name="connsiteX4" fmla="*/ 1518216 w 3965817"/>
                <a:gd name="connsiteY4" fmla="*/ 0 h 1970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5817" h="1970781">
                  <a:moveTo>
                    <a:pt x="1518216" y="0"/>
                  </a:moveTo>
                  <a:lnTo>
                    <a:pt x="2447084" y="821"/>
                  </a:lnTo>
                  <a:lnTo>
                    <a:pt x="3965817" y="1970781"/>
                  </a:lnTo>
                  <a:lnTo>
                    <a:pt x="0" y="1970781"/>
                  </a:lnTo>
                  <a:lnTo>
                    <a:pt x="1518216" y="0"/>
                  </a:lnTo>
                  <a:close/>
                </a:path>
              </a:pathLst>
            </a:custGeom>
            <a:solidFill>
              <a:schemeClr val="accent2"/>
            </a:solidFill>
            <a:ln w="0" cap="flat">
              <a:noFill/>
              <a:prstDash val="solid"/>
              <a:miter/>
            </a:ln>
          </p:spPr>
          <p:txBody>
            <a:bodyPr rtlCol="0" anchor="ctr"/>
            <a:lstStyle/>
            <a:p>
              <a:endParaRPr lang="en-US"/>
            </a:p>
          </p:txBody>
        </p:sp>
        <p:sp>
          <p:nvSpPr>
            <p:cNvPr id="7" name="Freeform: Shape 4">
              <a:extLst>
                <a:ext uri="{FF2B5EF4-FFF2-40B4-BE49-F238E27FC236}">
                  <a16:creationId xmlns:a16="http://schemas.microsoft.com/office/drawing/2014/main" id="{40279C35-C124-B122-2F4D-DACE2F7E156A}"/>
                </a:ext>
              </a:extLst>
            </p:cNvPr>
            <p:cNvSpPr/>
            <p:nvPr/>
          </p:nvSpPr>
          <p:spPr>
            <a:xfrm>
              <a:off x="5448306" y="1826897"/>
              <a:ext cx="5492639" cy="2730085"/>
            </a:xfrm>
            <a:custGeom>
              <a:avLst/>
              <a:gdLst>
                <a:gd name="connsiteX0" fmla="*/ 2102590 w 5492639"/>
                <a:gd name="connsiteY0" fmla="*/ 0 h 2730085"/>
                <a:gd name="connsiteX1" fmla="*/ 2356350 w 5492639"/>
                <a:gd name="connsiteY1" fmla="*/ 403074 h 2730085"/>
                <a:gd name="connsiteX2" fmla="*/ 2745567 w 5492639"/>
                <a:gd name="connsiteY2" fmla="*/ 171623 h 2730085"/>
                <a:gd name="connsiteX3" fmla="*/ 2745567 w 5492639"/>
                <a:gd name="connsiteY3" fmla="*/ 171622 h 2730085"/>
                <a:gd name="connsiteX4" fmla="*/ 2745568 w 5492639"/>
                <a:gd name="connsiteY4" fmla="*/ 171622 h 2730085"/>
                <a:gd name="connsiteX5" fmla="*/ 2745568 w 5492639"/>
                <a:gd name="connsiteY5" fmla="*/ 171622 h 2730085"/>
                <a:gd name="connsiteX6" fmla="*/ 2745568 w 5492639"/>
                <a:gd name="connsiteY6" fmla="*/ 171623 h 2730085"/>
                <a:gd name="connsiteX7" fmla="*/ 3136290 w 5492639"/>
                <a:gd name="connsiteY7" fmla="*/ 403074 h 2730085"/>
                <a:gd name="connsiteX8" fmla="*/ 3389531 w 5492639"/>
                <a:gd name="connsiteY8" fmla="*/ 823 h 2730085"/>
                <a:gd name="connsiteX9" fmla="*/ 5492639 w 5492639"/>
                <a:gd name="connsiteY9" fmla="*/ 2730085 h 2730085"/>
                <a:gd name="connsiteX10" fmla="*/ 2745568 w 5492639"/>
                <a:gd name="connsiteY10" fmla="*/ 2730085 h 2730085"/>
                <a:gd name="connsiteX11" fmla="*/ 2745567 w 5492639"/>
                <a:gd name="connsiteY11" fmla="*/ 2730085 h 2730085"/>
                <a:gd name="connsiteX12" fmla="*/ 0 w 5492639"/>
                <a:gd name="connsiteY12" fmla="*/ 2730085 h 2730085"/>
                <a:gd name="connsiteX0" fmla="*/ 2102590 w 5492639"/>
                <a:gd name="connsiteY0" fmla="*/ 0 h 2730085"/>
                <a:gd name="connsiteX1" fmla="*/ 2745567 w 5492639"/>
                <a:gd name="connsiteY1" fmla="*/ 171623 h 2730085"/>
                <a:gd name="connsiteX2" fmla="*/ 2745567 w 5492639"/>
                <a:gd name="connsiteY2" fmla="*/ 171622 h 2730085"/>
                <a:gd name="connsiteX3" fmla="*/ 2745568 w 5492639"/>
                <a:gd name="connsiteY3" fmla="*/ 171622 h 2730085"/>
                <a:gd name="connsiteX4" fmla="*/ 2745568 w 5492639"/>
                <a:gd name="connsiteY4" fmla="*/ 171622 h 2730085"/>
                <a:gd name="connsiteX5" fmla="*/ 2745568 w 5492639"/>
                <a:gd name="connsiteY5" fmla="*/ 171623 h 2730085"/>
                <a:gd name="connsiteX6" fmla="*/ 3136290 w 5492639"/>
                <a:gd name="connsiteY6" fmla="*/ 403074 h 2730085"/>
                <a:gd name="connsiteX7" fmla="*/ 3389531 w 5492639"/>
                <a:gd name="connsiteY7" fmla="*/ 823 h 2730085"/>
                <a:gd name="connsiteX8" fmla="*/ 5492639 w 5492639"/>
                <a:gd name="connsiteY8" fmla="*/ 2730085 h 2730085"/>
                <a:gd name="connsiteX9" fmla="*/ 2745568 w 5492639"/>
                <a:gd name="connsiteY9" fmla="*/ 2730085 h 2730085"/>
                <a:gd name="connsiteX10" fmla="*/ 2745567 w 5492639"/>
                <a:gd name="connsiteY10" fmla="*/ 2730085 h 2730085"/>
                <a:gd name="connsiteX11" fmla="*/ 0 w 5492639"/>
                <a:gd name="connsiteY11" fmla="*/ 2730085 h 2730085"/>
                <a:gd name="connsiteX12" fmla="*/ 2102590 w 5492639"/>
                <a:gd name="connsiteY12" fmla="*/ 0 h 2730085"/>
                <a:gd name="connsiteX0" fmla="*/ 2102590 w 5492639"/>
                <a:gd name="connsiteY0" fmla="*/ 0 h 2730085"/>
                <a:gd name="connsiteX1" fmla="*/ 2745567 w 5492639"/>
                <a:gd name="connsiteY1" fmla="*/ 171623 h 2730085"/>
                <a:gd name="connsiteX2" fmla="*/ 2745567 w 5492639"/>
                <a:gd name="connsiteY2" fmla="*/ 171622 h 2730085"/>
                <a:gd name="connsiteX3" fmla="*/ 2745568 w 5492639"/>
                <a:gd name="connsiteY3" fmla="*/ 171622 h 2730085"/>
                <a:gd name="connsiteX4" fmla="*/ 2745568 w 5492639"/>
                <a:gd name="connsiteY4" fmla="*/ 171622 h 2730085"/>
                <a:gd name="connsiteX5" fmla="*/ 2739083 w 5492639"/>
                <a:gd name="connsiteY5" fmla="*/ 191078 h 2730085"/>
                <a:gd name="connsiteX6" fmla="*/ 3136290 w 5492639"/>
                <a:gd name="connsiteY6" fmla="*/ 403074 h 2730085"/>
                <a:gd name="connsiteX7" fmla="*/ 3389531 w 5492639"/>
                <a:gd name="connsiteY7" fmla="*/ 823 h 2730085"/>
                <a:gd name="connsiteX8" fmla="*/ 5492639 w 5492639"/>
                <a:gd name="connsiteY8" fmla="*/ 2730085 h 2730085"/>
                <a:gd name="connsiteX9" fmla="*/ 2745568 w 5492639"/>
                <a:gd name="connsiteY9" fmla="*/ 2730085 h 2730085"/>
                <a:gd name="connsiteX10" fmla="*/ 2745567 w 5492639"/>
                <a:gd name="connsiteY10" fmla="*/ 2730085 h 2730085"/>
                <a:gd name="connsiteX11" fmla="*/ 0 w 5492639"/>
                <a:gd name="connsiteY11" fmla="*/ 2730085 h 2730085"/>
                <a:gd name="connsiteX12" fmla="*/ 2102590 w 5492639"/>
                <a:gd name="connsiteY12" fmla="*/ 0 h 2730085"/>
                <a:gd name="connsiteX0" fmla="*/ 2102590 w 5492639"/>
                <a:gd name="connsiteY0" fmla="*/ 0 h 2730085"/>
                <a:gd name="connsiteX1" fmla="*/ 2745567 w 5492639"/>
                <a:gd name="connsiteY1" fmla="*/ 171623 h 2730085"/>
                <a:gd name="connsiteX2" fmla="*/ 2745567 w 5492639"/>
                <a:gd name="connsiteY2" fmla="*/ 171622 h 2730085"/>
                <a:gd name="connsiteX3" fmla="*/ 2745568 w 5492639"/>
                <a:gd name="connsiteY3" fmla="*/ 171622 h 2730085"/>
                <a:gd name="connsiteX4" fmla="*/ 2745568 w 5492639"/>
                <a:gd name="connsiteY4" fmla="*/ 171622 h 2730085"/>
                <a:gd name="connsiteX5" fmla="*/ 3136290 w 5492639"/>
                <a:gd name="connsiteY5" fmla="*/ 403074 h 2730085"/>
                <a:gd name="connsiteX6" fmla="*/ 3389531 w 5492639"/>
                <a:gd name="connsiteY6" fmla="*/ 823 h 2730085"/>
                <a:gd name="connsiteX7" fmla="*/ 5492639 w 5492639"/>
                <a:gd name="connsiteY7" fmla="*/ 2730085 h 2730085"/>
                <a:gd name="connsiteX8" fmla="*/ 2745568 w 5492639"/>
                <a:gd name="connsiteY8" fmla="*/ 2730085 h 2730085"/>
                <a:gd name="connsiteX9" fmla="*/ 2745567 w 5492639"/>
                <a:gd name="connsiteY9" fmla="*/ 2730085 h 2730085"/>
                <a:gd name="connsiteX10" fmla="*/ 0 w 5492639"/>
                <a:gd name="connsiteY10" fmla="*/ 2730085 h 2730085"/>
                <a:gd name="connsiteX11" fmla="*/ 2102590 w 5492639"/>
                <a:gd name="connsiteY11" fmla="*/ 0 h 2730085"/>
                <a:gd name="connsiteX0" fmla="*/ 2102590 w 5492639"/>
                <a:gd name="connsiteY0" fmla="*/ 0 h 2730085"/>
                <a:gd name="connsiteX1" fmla="*/ 2745567 w 5492639"/>
                <a:gd name="connsiteY1" fmla="*/ 171623 h 2730085"/>
                <a:gd name="connsiteX2" fmla="*/ 2745567 w 5492639"/>
                <a:gd name="connsiteY2" fmla="*/ 171622 h 2730085"/>
                <a:gd name="connsiteX3" fmla="*/ 2745568 w 5492639"/>
                <a:gd name="connsiteY3" fmla="*/ 171622 h 2730085"/>
                <a:gd name="connsiteX4" fmla="*/ 2745568 w 5492639"/>
                <a:gd name="connsiteY4" fmla="*/ 171622 h 2730085"/>
                <a:gd name="connsiteX5" fmla="*/ 3389531 w 5492639"/>
                <a:gd name="connsiteY5" fmla="*/ 823 h 2730085"/>
                <a:gd name="connsiteX6" fmla="*/ 5492639 w 5492639"/>
                <a:gd name="connsiteY6" fmla="*/ 2730085 h 2730085"/>
                <a:gd name="connsiteX7" fmla="*/ 2745568 w 5492639"/>
                <a:gd name="connsiteY7" fmla="*/ 2730085 h 2730085"/>
                <a:gd name="connsiteX8" fmla="*/ 2745567 w 5492639"/>
                <a:gd name="connsiteY8" fmla="*/ 2730085 h 2730085"/>
                <a:gd name="connsiteX9" fmla="*/ 0 w 5492639"/>
                <a:gd name="connsiteY9" fmla="*/ 2730085 h 2730085"/>
                <a:gd name="connsiteX10" fmla="*/ 2102590 w 5492639"/>
                <a:gd name="connsiteY10" fmla="*/ 0 h 2730085"/>
                <a:gd name="connsiteX0" fmla="*/ 2102590 w 5492639"/>
                <a:gd name="connsiteY0" fmla="*/ 0 h 2730085"/>
                <a:gd name="connsiteX1" fmla="*/ 2745567 w 5492639"/>
                <a:gd name="connsiteY1" fmla="*/ 171623 h 2730085"/>
                <a:gd name="connsiteX2" fmla="*/ 2745567 w 5492639"/>
                <a:gd name="connsiteY2" fmla="*/ 171622 h 2730085"/>
                <a:gd name="connsiteX3" fmla="*/ 2745568 w 5492639"/>
                <a:gd name="connsiteY3" fmla="*/ 171622 h 2730085"/>
                <a:gd name="connsiteX4" fmla="*/ 3389531 w 5492639"/>
                <a:gd name="connsiteY4" fmla="*/ 823 h 2730085"/>
                <a:gd name="connsiteX5" fmla="*/ 5492639 w 5492639"/>
                <a:gd name="connsiteY5" fmla="*/ 2730085 h 2730085"/>
                <a:gd name="connsiteX6" fmla="*/ 2745568 w 5492639"/>
                <a:gd name="connsiteY6" fmla="*/ 2730085 h 2730085"/>
                <a:gd name="connsiteX7" fmla="*/ 2745567 w 5492639"/>
                <a:gd name="connsiteY7" fmla="*/ 2730085 h 2730085"/>
                <a:gd name="connsiteX8" fmla="*/ 0 w 5492639"/>
                <a:gd name="connsiteY8" fmla="*/ 2730085 h 2730085"/>
                <a:gd name="connsiteX9" fmla="*/ 2102590 w 5492639"/>
                <a:gd name="connsiteY9" fmla="*/ 0 h 2730085"/>
                <a:gd name="connsiteX0" fmla="*/ 2102590 w 5492639"/>
                <a:gd name="connsiteY0" fmla="*/ 0 h 2730085"/>
                <a:gd name="connsiteX1" fmla="*/ 2745567 w 5492639"/>
                <a:gd name="connsiteY1" fmla="*/ 171623 h 2730085"/>
                <a:gd name="connsiteX2" fmla="*/ 2745567 w 5492639"/>
                <a:gd name="connsiteY2" fmla="*/ 171622 h 2730085"/>
                <a:gd name="connsiteX3" fmla="*/ 2745568 w 5492639"/>
                <a:gd name="connsiteY3" fmla="*/ 191077 h 2730085"/>
                <a:gd name="connsiteX4" fmla="*/ 3389531 w 5492639"/>
                <a:gd name="connsiteY4" fmla="*/ 823 h 2730085"/>
                <a:gd name="connsiteX5" fmla="*/ 5492639 w 5492639"/>
                <a:gd name="connsiteY5" fmla="*/ 2730085 h 2730085"/>
                <a:gd name="connsiteX6" fmla="*/ 2745568 w 5492639"/>
                <a:gd name="connsiteY6" fmla="*/ 2730085 h 2730085"/>
                <a:gd name="connsiteX7" fmla="*/ 2745567 w 5492639"/>
                <a:gd name="connsiteY7" fmla="*/ 2730085 h 2730085"/>
                <a:gd name="connsiteX8" fmla="*/ 0 w 5492639"/>
                <a:gd name="connsiteY8" fmla="*/ 2730085 h 2730085"/>
                <a:gd name="connsiteX9" fmla="*/ 2102590 w 5492639"/>
                <a:gd name="connsiteY9" fmla="*/ 0 h 2730085"/>
                <a:gd name="connsiteX0" fmla="*/ 2102590 w 5492639"/>
                <a:gd name="connsiteY0" fmla="*/ 157152 h 2887237"/>
                <a:gd name="connsiteX1" fmla="*/ 2745567 w 5492639"/>
                <a:gd name="connsiteY1" fmla="*/ 328775 h 2887237"/>
                <a:gd name="connsiteX2" fmla="*/ 2745567 w 5492639"/>
                <a:gd name="connsiteY2" fmla="*/ 328774 h 2887237"/>
                <a:gd name="connsiteX3" fmla="*/ 3389531 w 5492639"/>
                <a:gd name="connsiteY3" fmla="*/ 157975 h 2887237"/>
                <a:gd name="connsiteX4" fmla="*/ 5492639 w 5492639"/>
                <a:gd name="connsiteY4" fmla="*/ 2887237 h 2887237"/>
                <a:gd name="connsiteX5" fmla="*/ 2745568 w 5492639"/>
                <a:gd name="connsiteY5" fmla="*/ 2887237 h 2887237"/>
                <a:gd name="connsiteX6" fmla="*/ 2745567 w 5492639"/>
                <a:gd name="connsiteY6" fmla="*/ 2887237 h 2887237"/>
                <a:gd name="connsiteX7" fmla="*/ 0 w 5492639"/>
                <a:gd name="connsiteY7" fmla="*/ 2887237 h 2887237"/>
                <a:gd name="connsiteX8" fmla="*/ 2102590 w 5492639"/>
                <a:gd name="connsiteY8" fmla="*/ 157152 h 2887237"/>
                <a:gd name="connsiteX0" fmla="*/ 2102590 w 5492639"/>
                <a:gd name="connsiteY0" fmla="*/ 187139 h 2917224"/>
                <a:gd name="connsiteX1" fmla="*/ 2745567 w 5492639"/>
                <a:gd name="connsiteY1" fmla="*/ 358762 h 2917224"/>
                <a:gd name="connsiteX2" fmla="*/ 2745567 w 5492639"/>
                <a:gd name="connsiteY2" fmla="*/ 358761 h 2917224"/>
                <a:gd name="connsiteX3" fmla="*/ 3389531 w 5492639"/>
                <a:gd name="connsiteY3" fmla="*/ 187962 h 2917224"/>
                <a:gd name="connsiteX4" fmla="*/ 5492639 w 5492639"/>
                <a:gd name="connsiteY4" fmla="*/ 2917224 h 2917224"/>
                <a:gd name="connsiteX5" fmla="*/ 2745568 w 5492639"/>
                <a:gd name="connsiteY5" fmla="*/ 2917224 h 2917224"/>
                <a:gd name="connsiteX6" fmla="*/ 2745567 w 5492639"/>
                <a:gd name="connsiteY6" fmla="*/ 2917224 h 2917224"/>
                <a:gd name="connsiteX7" fmla="*/ 0 w 5492639"/>
                <a:gd name="connsiteY7" fmla="*/ 2917224 h 2917224"/>
                <a:gd name="connsiteX8" fmla="*/ 2102590 w 5492639"/>
                <a:gd name="connsiteY8" fmla="*/ 187139 h 2917224"/>
                <a:gd name="connsiteX0" fmla="*/ 2102590 w 5492639"/>
                <a:gd name="connsiteY0" fmla="*/ 0 h 2730085"/>
                <a:gd name="connsiteX1" fmla="*/ 2745567 w 5492639"/>
                <a:gd name="connsiteY1" fmla="*/ 171623 h 2730085"/>
                <a:gd name="connsiteX2" fmla="*/ 3389531 w 5492639"/>
                <a:gd name="connsiteY2" fmla="*/ 823 h 2730085"/>
                <a:gd name="connsiteX3" fmla="*/ 5492639 w 5492639"/>
                <a:gd name="connsiteY3" fmla="*/ 2730085 h 2730085"/>
                <a:gd name="connsiteX4" fmla="*/ 2745568 w 5492639"/>
                <a:gd name="connsiteY4" fmla="*/ 2730085 h 2730085"/>
                <a:gd name="connsiteX5" fmla="*/ 2745567 w 5492639"/>
                <a:gd name="connsiteY5" fmla="*/ 2730085 h 2730085"/>
                <a:gd name="connsiteX6" fmla="*/ 0 w 5492639"/>
                <a:gd name="connsiteY6" fmla="*/ 2730085 h 2730085"/>
                <a:gd name="connsiteX7" fmla="*/ 2102590 w 5492639"/>
                <a:gd name="connsiteY7" fmla="*/ 0 h 2730085"/>
                <a:gd name="connsiteX0" fmla="*/ 2102590 w 5492639"/>
                <a:gd name="connsiteY0" fmla="*/ 0 h 2730085"/>
                <a:gd name="connsiteX1" fmla="*/ 3389531 w 5492639"/>
                <a:gd name="connsiteY1" fmla="*/ 823 h 2730085"/>
                <a:gd name="connsiteX2" fmla="*/ 5492639 w 5492639"/>
                <a:gd name="connsiteY2" fmla="*/ 2730085 h 2730085"/>
                <a:gd name="connsiteX3" fmla="*/ 2745568 w 5492639"/>
                <a:gd name="connsiteY3" fmla="*/ 2730085 h 2730085"/>
                <a:gd name="connsiteX4" fmla="*/ 2745567 w 5492639"/>
                <a:gd name="connsiteY4" fmla="*/ 2730085 h 2730085"/>
                <a:gd name="connsiteX5" fmla="*/ 0 w 5492639"/>
                <a:gd name="connsiteY5" fmla="*/ 2730085 h 2730085"/>
                <a:gd name="connsiteX6" fmla="*/ 2102590 w 5492639"/>
                <a:gd name="connsiteY6" fmla="*/ 0 h 2730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92639" h="2730085">
                  <a:moveTo>
                    <a:pt x="2102590" y="0"/>
                  </a:moveTo>
                  <a:lnTo>
                    <a:pt x="3389531" y="823"/>
                  </a:lnTo>
                  <a:lnTo>
                    <a:pt x="5492639" y="2730085"/>
                  </a:lnTo>
                  <a:lnTo>
                    <a:pt x="2745568" y="2730085"/>
                  </a:lnTo>
                  <a:lnTo>
                    <a:pt x="2745567" y="2730085"/>
                  </a:lnTo>
                  <a:lnTo>
                    <a:pt x="0" y="2730085"/>
                  </a:lnTo>
                  <a:lnTo>
                    <a:pt x="2102590" y="0"/>
                  </a:lnTo>
                  <a:close/>
                </a:path>
              </a:pathLst>
            </a:custGeom>
            <a:solidFill>
              <a:schemeClr val="accent1"/>
            </a:solidFill>
            <a:ln w="0" cap="flat">
              <a:noFill/>
              <a:prstDash val="solid"/>
              <a:miter/>
            </a:ln>
          </p:spPr>
          <p:txBody>
            <a:bodyPr rtlCol="0" anchor="ctr"/>
            <a:lstStyle/>
            <a:p>
              <a:endParaRPr lang="en-US"/>
            </a:p>
          </p:txBody>
        </p:sp>
        <p:sp>
          <p:nvSpPr>
            <p:cNvPr id="8" name="Freeform 54">
              <a:extLst>
                <a:ext uri="{FF2B5EF4-FFF2-40B4-BE49-F238E27FC236}">
                  <a16:creationId xmlns:a16="http://schemas.microsoft.com/office/drawing/2014/main" id="{E5A0C344-1A55-F54D-71A9-E1316080B244}"/>
                </a:ext>
              </a:extLst>
            </p:cNvPr>
            <p:cNvSpPr/>
            <p:nvPr/>
          </p:nvSpPr>
          <p:spPr>
            <a:xfrm>
              <a:off x="1353202" y="4105070"/>
              <a:ext cx="231517" cy="453410"/>
            </a:xfrm>
            <a:custGeom>
              <a:avLst/>
              <a:gdLst>
                <a:gd name="connsiteX0" fmla="*/ 73326 w 77673"/>
                <a:gd name="connsiteY0" fmla="*/ 62842 h 152117"/>
                <a:gd name="connsiteX1" fmla="*/ 73906 w 77673"/>
                <a:gd name="connsiteY1" fmla="*/ 62842 h 152117"/>
                <a:gd name="connsiteX2" fmla="*/ 74775 w 77673"/>
                <a:gd name="connsiteY2" fmla="*/ 69799 h 152117"/>
                <a:gd name="connsiteX3" fmla="*/ 77094 w 77673"/>
                <a:gd name="connsiteY3" fmla="*/ 67190 h 152117"/>
                <a:gd name="connsiteX4" fmla="*/ 75065 w 77673"/>
                <a:gd name="connsiteY4" fmla="*/ 59364 h 152117"/>
                <a:gd name="connsiteX5" fmla="*/ 75065 w 77673"/>
                <a:gd name="connsiteY5" fmla="*/ 57914 h 152117"/>
                <a:gd name="connsiteX6" fmla="*/ 75645 w 77673"/>
                <a:gd name="connsiteY6" fmla="*/ 54436 h 152117"/>
                <a:gd name="connsiteX7" fmla="*/ 73906 w 77673"/>
                <a:gd name="connsiteY7" fmla="*/ 51538 h 152117"/>
                <a:gd name="connsiteX8" fmla="*/ 73616 w 77673"/>
                <a:gd name="connsiteY8" fmla="*/ 50958 h 152117"/>
                <a:gd name="connsiteX9" fmla="*/ 70428 w 77673"/>
                <a:gd name="connsiteY9" fmla="*/ 50379 h 152117"/>
                <a:gd name="connsiteX10" fmla="*/ 64921 w 77673"/>
                <a:gd name="connsiteY10" fmla="*/ 51828 h 152117"/>
                <a:gd name="connsiteX11" fmla="*/ 52169 w 77673"/>
                <a:gd name="connsiteY11" fmla="*/ 44001 h 152117"/>
                <a:gd name="connsiteX12" fmla="*/ 54777 w 77673"/>
                <a:gd name="connsiteY12" fmla="*/ 31248 h 152117"/>
                <a:gd name="connsiteX13" fmla="*/ 54777 w 77673"/>
                <a:gd name="connsiteY13" fmla="*/ 30089 h 152117"/>
                <a:gd name="connsiteX14" fmla="*/ 54197 w 77673"/>
                <a:gd name="connsiteY14" fmla="*/ 24871 h 152117"/>
                <a:gd name="connsiteX15" fmla="*/ 58255 w 77673"/>
                <a:gd name="connsiteY15" fmla="*/ 24001 h 152117"/>
                <a:gd name="connsiteX16" fmla="*/ 60863 w 77673"/>
                <a:gd name="connsiteY16" fmla="*/ 23422 h 152117"/>
                <a:gd name="connsiteX17" fmla="*/ 65501 w 77673"/>
                <a:gd name="connsiteY17" fmla="*/ 20233 h 152117"/>
                <a:gd name="connsiteX18" fmla="*/ 67529 w 77673"/>
                <a:gd name="connsiteY18" fmla="*/ 15016 h 152117"/>
                <a:gd name="connsiteX19" fmla="*/ 73036 w 77673"/>
                <a:gd name="connsiteY19" fmla="*/ 17335 h 152117"/>
                <a:gd name="connsiteX20" fmla="*/ 73326 w 77673"/>
                <a:gd name="connsiteY20" fmla="*/ 16755 h 152117"/>
                <a:gd name="connsiteX21" fmla="*/ 72746 w 77673"/>
                <a:gd name="connsiteY21" fmla="*/ 15596 h 152117"/>
                <a:gd name="connsiteX22" fmla="*/ 69848 w 77673"/>
                <a:gd name="connsiteY22" fmla="*/ 8639 h 152117"/>
                <a:gd name="connsiteX23" fmla="*/ 69848 w 77673"/>
                <a:gd name="connsiteY23" fmla="*/ 6900 h 152117"/>
                <a:gd name="connsiteX24" fmla="*/ 63182 w 77673"/>
                <a:gd name="connsiteY24" fmla="*/ 233 h 152117"/>
                <a:gd name="connsiteX25" fmla="*/ 55936 w 77673"/>
                <a:gd name="connsiteY25" fmla="*/ 1103 h 152117"/>
                <a:gd name="connsiteX26" fmla="*/ 53618 w 77673"/>
                <a:gd name="connsiteY26" fmla="*/ 2552 h 152117"/>
                <a:gd name="connsiteX27" fmla="*/ 51299 w 77673"/>
                <a:gd name="connsiteY27" fmla="*/ 10958 h 152117"/>
                <a:gd name="connsiteX28" fmla="*/ 48691 w 77673"/>
                <a:gd name="connsiteY28" fmla="*/ 15016 h 152117"/>
                <a:gd name="connsiteX29" fmla="*/ 45792 w 77673"/>
                <a:gd name="connsiteY29" fmla="*/ 15016 h 152117"/>
                <a:gd name="connsiteX30" fmla="*/ 44633 w 77673"/>
                <a:gd name="connsiteY30" fmla="*/ 15016 h 152117"/>
                <a:gd name="connsiteX31" fmla="*/ 41735 w 77673"/>
                <a:gd name="connsiteY31" fmla="*/ 12117 h 152117"/>
                <a:gd name="connsiteX32" fmla="*/ 41735 w 77673"/>
                <a:gd name="connsiteY32" fmla="*/ 10088 h 152117"/>
                <a:gd name="connsiteX33" fmla="*/ 37387 w 77673"/>
                <a:gd name="connsiteY33" fmla="*/ 4871 h 152117"/>
                <a:gd name="connsiteX34" fmla="*/ 31011 w 77673"/>
                <a:gd name="connsiteY34" fmla="*/ 4291 h 152117"/>
                <a:gd name="connsiteX35" fmla="*/ 19998 w 77673"/>
                <a:gd name="connsiteY35" fmla="*/ 13856 h 152117"/>
                <a:gd name="connsiteX36" fmla="*/ 16520 w 77673"/>
                <a:gd name="connsiteY36" fmla="*/ 22262 h 152117"/>
                <a:gd name="connsiteX37" fmla="*/ 11593 w 77673"/>
                <a:gd name="connsiteY37" fmla="*/ 28059 h 152117"/>
                <a:gd name="connsiteX38" fmla="*/ 11593 w 77673"/>
                <a:gd name="connsiteY38" fmla="*/ 28929 h 152117"/>
                <a:gd name="connsiteX39" fmla="*/ 14781 w 77673"/>
                <a:gd name="connsiteY39" fmla="*/ 27479 h 152117"/>
                <a:gd name="connsiteX40" fmla="*/ 11883 w 77673"/>
                <a:gd name="connsiteY40" fmla="*/ 31827 h 152117"/>
                <a:gd name="connsiteX41" fmla="*/ 11883 w 77673"/>
                <a:gd name="connsiteY41" fmla="*/ 35016 h 152117"/>
                <a:gd name="connsiteX42" fmla="*/ 13042 w 77673"/>
                <a:gd name="connsiteY42" fmla="*/ 33277 h 152117"/>
                <a:gd name="connsiteX43" fmla="*/ 13622 w 77673"/>
                <a:gd name="connsiteY43" fmla="*/ 33567 h 152117"/>
                <a:gd name="connsiteX44" fmla="*/ 9274 w 77673"/>
                <a:gd name="connsiteY44" fmla="*/ 42842 h 152117"/>
                <a:gd name="connsiteX45" fmla="*/ 8695 w 77673"/>
                <a:gd name="connsiteY45" fmla="*/ 37045 h 152117"/>
                <a:gd name="connsiteX46" fmla="*/ 6376 w 77673"/>
                <a:gd name="connsiteY46" fmla="*/ 47190 h 152117"/>
                <a:gd name="connsiteX47" fmla="*/ 4347 w 77673"/>
                <a:gd name="connsiteY47" fmla="*/ 46031 h 152117"/>
                <a:gd name="connsiteX48" fmla="*/ 4637 w 77673"/>
                <a:gd name="connsiteY48" fmla="*/ 47190 h 152117"/>
                <a:gd name="connsiteX49" fmla="*/ 6956 w 77673"/>
                <a:gd name="connsiteY49" fmla="*/ 51248 h 152117"/>
                <a:gd name="connsiteX50" fmla="*/ 8115 w 77673"/>
                <a:gd name="connsiteY50" fmla="*/ 53277 h 152117"/>
                <a:gd name="connsiteX51" fmla="*/ 14491 w 77673"/>
                <a:gd name="connsiteY51" fmla="*/ 57914 h 152117"/>
                <a:gd name="connsiteX52" fmla="*/ 15940 w 77673"/>
                <a:gd name="connsiteY52" fmla="*/ 60524 h 152117"/>
                <a:gd name="connsiteX53" fmla="*/ 15940 w 77673"/>
                <a:gd name="connsiteY53" fmla="*/ 64581 h 152117"/>
                <a:gd name="connsiteX54" fmla="*/ 16810 w 77673"/>
                <a:gd name="connsiteY54" fmla="*/ 64581 h 152117"/>
                <a:gd name="connsiteX55" fmla="*/ 16810 w 77673"/>
                <a:gd name="connsiteY55" fmla="*/ 59364 h 152117"/>
                <a:gd name="connsiteX56" fmla="*/ 23186 w 77673"/>
                <a:gd name="connsiteY56" fmla="*/ 60233 h 152117"/>
                <a:gd name="connsiteX57" fmla="*/ 23186 w 77673"/>
                <a:gd name="connsiteY57" fmla="*/ 60813 h 152117"/>
                <a:gd name="connsiteX58" fmla="*/ 24056 w 77673"/>
                <a:gd name="connsiteY58" fmla="*/ 75306 h 152117"/>
                <a:gd name="connsiteX59" fmla="*/ 24056 w 77673"/>
                <a:gd name="connsiteY59" fmla="*/ 76466 h 152117"/>
                <a:gd name="connsiteX60" fmla="*/ 22316 w 77673"/>
                <a:gd name="connsiteY60" fmla="*/ 90378 h 152117"/>
                <a:gd name="connsiteX61" fmla="*/ 20867 w 77673"/>
                <a:gd name="connsiteY61" fmla="*/ 98494 h 152117"/>
                <a:gd name="connsiteX62" fmla="*/ 18839 w 77673"/>
                <a:gd name="connsiteY62" fmla="*/ 104582 h 152117"/>
                <a:gd name="connsiteX63" fmla="*/ 14201 w 77673"/>
                <a:gd name="connsiteY63" fmla="*/ 110958 h 152117"/>
                <a:gd name="connsiteX64" fmla="*/ 8985 w 77673"/>
                <a:gd name="connsiteY64" fmla="*/ 118784 h 152117"/>
                <a:gd name="connsiteX65" fmla="*/ 4347 w 77673"/>
                <a:gd name="connsiteY65" fmla="*/ 133277 h 152117"/>
                <a:gd name="connsiteX66" fmla="*/ 3478 w 77673"/>
                <a:gd name="connsiteY66" fmla="*/ 135596 h 152117"/>
                <a:gd name="connsiteX67" fmla="*/ 0 w 77673"/>
                <a:gd name="connsiteY67" fmla="*/ 148060 h 152117"/>
                <a:gd name="connsiteX68" fmla="*/ 3188 w 77673"/>
                <a:gd name="connsiteY68" fmla="*/ 149219 h 152117"/>
                <a:gd name="connsiteX69" fmla="*/ 6376 w 77673"/>
                <a:gd name="connsiteY69" fmla="*/ 150089 h 152117"/>
                <a:gd name="connsiteX70" fmla="*/ 13912 w 77673"/>
                <a:gd name="connsiteY70" fmla="*/ 152118 h 152117"/>
                <a:gd name="connsiteX71" fmla="*/ 17100 w 77673"/>
                <a:gd name="connsiteY71" fmla="*/ 152118 h 152117"/>
                <a:gd name="connsiteX72" fmla="*/ 24345 w 77673"/>
                <a:gd name="connsiteY72" fmla="*/ 149219 h 152117"/>
                <a:gd name="connsiteX73" fmla="*/ 20578 w 77673"/>
                <a:gd name="connsiteY73" fmla="*/ 145161 h 152117"/>
                <a:gd name="connsiteX74" fmla="*/ 18259 w 77673"/>
                <a:gd name="connsiteY74" fmla="*/ 142842 h 152117"/>
                <a:gd name="connsiteX75" fmla="*/ 15071 w 77673"/>
                <a:gd name="connsiteY75" fmla="*/ 138495 h 152117"/>
                <a:gd name="connsiteX76" fmla="*/ 14201 w 77673"/>
                <a:gd name="connsiteY76" fmla="*/ 137045 h 152117"/>
                <a:gd name="connsiteX77" fmla="*/ 19128 w 77673"/>
                <a:gd name="connsiteY77" fmla="*/ 135886 h 152117"/>
                <a:gd name="connsiteX78" fmla="*/ 21447 w 77673"/>
                <a:gd name="connsiteY78" fmla="*/ 133567 h 152117"/>
                <a:gd name="connsiteX79" fmla="*/ 26084 w 77673"/>
                <a:gd name="connsiteY79" fmla="*/ 117915 h 152117"/>
                <a:gd name="connsiteX80" fmla="*/ 32171 w 77673"/>
                <a:gd name="connsiteY80" fmla="*/ 113277 h 152117"/>
                <a:gd name="connsiteX81" fmla="*/ 40286 w 77673"/>
                <a:gd name="connsiteY81" fmla="*/ 92408 h 152117"/>
                <a:gd name="connsiteX82" fmla="*/ 42604 w 77673"/>
                <a:gd name="connsiteY82" fmla="*/ 83712 h 152117"/>
                <a:gd name="connsiteX83" fmla="*/ 53328 w 77673"/>
                <a:gd name="connsiteY83" fmla="*/ 92408 h 152117"/>
                <a:gd name="connsiteX84" fmla="*/ 48980 w 77673"/>
                <a:gd name="connsiteY84" fmla="*/ 108350 h 152117"/>
                <a:gd name="connsiteX85" fmla="*/ 47531 w 77673"/>
                <a:gd name="connsiteY85" fmla="*/ 116465 h 152117"/>
                <a:gd name="connsiteX86" fmla="*/ 46662 w 77673"/>
                <a:gd name="connsiteY86" fmla="*/ 130958 h 152117"/>
                <a:gd name="connsiteX87" fmla="*/ 51589 w 77673"/>
                <a:gd name="connsiteY87" fmla="*/ 135306 h 152117"/>
                <a:gd name="connsiteX88" fmla="*/ 55067 w 77673"/>
                <a:gd name="connsiteY88" fmla="*/ 134147 h 152117"/>
                <a:gd name="connsiteX89" fmla="*/ 61443 w 77673"/>
                <a:gd name="connsiteY89" fmla="*/ 135016 h 152117"/>
                <a:gd name="connsiteX90" fmla="*/ 64921 w 77673"/>
                <a:gd name="connsiteY90" fmla="*/ 134437 h 152117"/>
                <a:gd name="connsiteX91" fmla="*/ 71007 w 77673"/>
                <a:gd name="connsiteY91" fmla="*/ 131538 h 152117"/>
                <a:gd name="connsiteX92" fmla="*/ 70428 w 77673"/>
                <a:gd name="connsiteY92" fmla="*/ 129509 h 152117"/>
                <a:gd name="connsiteX93" fmla="*/ 66660 w 77673"/>
                <a:gd name="connsiteY93" fmla="*/ 127480 h 152117"/>
                <a:gd name="connsiteX94" fmla="*/ 63472 w 77673"/>
                <a:gd name="connsiteY94" fmla="*/ 126321 h 152117"/>
                <a:gd name="connsiteX95" fmla="*/ 58835 w 77673"/>
                <a:gd name="connsiteY95" fmla="*/ 122843 h 152117"/>
                <a:gd name="connsiteX96" fmla="*/ 59124 w 77673"/>
                <a:gd name="connsiteY96" fmla="*/ 122262 h 152117"/>
                <a:gd name="connsiteX97" fmla="*/ 63182 w 77673"/>
                <a:gd name="connsiteY97" fmla="*/ 116176 h 152117"/>
                <a:gd name="connsiteX98" fmla="*/ 63762 w 77673"/>
                <a:gd name="connsiteY98" fmla="*/ 103712 h 152117"/>
                <a:gd name="connsiteX99" fmla="*/ 66660 w 77673"/>
                <a:gd name="connsiteY99" fmla="*/ 100234 h 152117"/>
                <a:gd name="connsiteX100" fmla="*/ 67239 w 77673"/>
                <a:gd name="connsiteY100" fmla="*/ 89509 h 152117"/>
                <a:gd name="connsiteX101" fmla="*/ 65501 w 77673"/>
                <a:gd name="connsiteY101" fmla="*/ 84871 h 152117"/>
                <a:gd name="connsiteX102" fmla="*/ 53038 w 77673"/>
                <a:gd name="connsiteY102" fmla="*/ 70958 h 152117"/>
                <a:gd name="connsiteX103" fmla="*/ 47821 w 77673"/>
                <a:gd name="connsiteY103" fmla="*/ 66321 h 152117"/>
                <a:gd name="connsiteX104" fmla="*/ 44923 w 77673"/>
                <a:gd name="connsiteY104" fmla="*/ 59943 h 152117"/>
                <a:gd name="connsiteX105" fmla="*/ 46082 w 77673"/>
                <a:gd name="connsiteY105" fmla="*/ 58494 h 152117"/>
                <a:gd name="connsiteX106" fmla="*/ 49560 w 77673"/>
                <a:gd name="connsiteY106" fmla="*/ 61393 h 152117"/>
                <a:gd name="connsiteX107" fmla="*/ 51009 w 77673"/>
                <a:gd name="connsiteY107" fmla="*/ 58784 h 152117"/>
                <a:gd name="connsiteX108" fmla="*/ 49270 w 77673"/>
                <a:gd name="connsiteY108" fmla="*/ 52407 h 152117"/>
                <a:gd name="connsiteX109" fmla="*/ 71877 w 77673"/>
                <a:gd name="connsiteY109" fmla="*/ 59364 h 152117"/>
                <a:gd name="connsiteX110" fmla="*/ 72746 w 77673"/>
                <a:gd name="connsiteY110" fmla="*/ 69219 h 152117"/>
                <a:gd name="connsiteX111" fmla="*/ 73906 w 77673"/>
                <a:gd name="connsiteY111" fmla="*/ 82842 h 152117"/>
                <a:gd name="connsiteX112" fmla="*/ 75355 w 77673"/>
                <a:gd name="connsiteY112" fmla="*/ 103422 h 152117"/>
                <a:gd name="connsiteX113" fmla="*/ 76804 w 77673"/>
                <a:gd name="connsiteY113" fmla="*/ 126321 h 152117"/>
                <a:gd name="connsiteX114" fmla="*/ 77673 w 77673"/>
                <a:gd name="connsiteY114" fmla="*/ 126900 h 152117"/>
                <a:gd name="connsiteX115" fmla="*/ 73906 w 77673"/>
                <a:gd name="connsiteY115" fmla="*/ 62552 h 152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77673" h="152117">
                  <a:moveTo>
                    <a:pt x="73326" y="62842"/>
                  </a:moveTo>
                  <a:cubicBezTo>
                    <a:pt x="73326" y="62842"/>
                    <a:pt x="73616" y="62842"/>
                    <a:pt x="73906" y="62842"/>
                  </a:cubicBezTo>
                  <a:cubicBezTo>
                    <a:pt x="73906" y="65161"/>
                    <a:pt x="74485" y="67480"/>
                    <a:pt x="74775" y="69799"/>
                  </a:cubicBezTo>
                  <a:cubicBezTo>
                    <a:pt x="76514" y="69799"/>
                    <a:pt x="77673" y="69219"/>
                    <a:pt x="77094" y="67190"/>
                  </a:cubicBezTo>
                  <a:cubicBezTo>
                    <a:pt x="76224" y="64581"/>
                    <a:pt x="75645" y="61973"/>
                    <a:pt x="75065" y="59364"/>
                  </a:cubicBezTo>
                  <a:cubicBezTo>
                    <a:pt x="75065" y="59074"/>
                    <a:pt x="75065" y="58494"/>
                    <a:pt x="75065" y="57914"/>
                  </a:cubicBezTo>
                  <a:cubicBezTo>
                    <a:pt x="75065" y="56755"/>
                    <a:pt x="75645" y="55595"/>
                    <a:pt x="75645" y="54436"/>
                  </a:cubicBezTo>
                  <a:cubicBezTo>
                    <a:pt x="75645" y="53277"/>
                    <a:pt x="76224" y="51538"/>
                    <a:pt x="73906" y="51538"/>
                  </a:cubicBezTo>
                  <a:cubicBezTo>
                    <a:pt x="73906" y="51538"/>
                    <a:pt x="73906" y="51248"/>
                    <a:pt x="73616" y="50958"/>
                  </a:cubicBezTo>
                  <a:cubicBezTo>
                    <a:pt x="73036" y="49798"/>
                    <a:pt x="71297" y="49509"/>
                    <a:pt x="70428" y="50379"/>
                  </a:cubicBezTo>
                  <a:cubicBezTo>
                    <a:pt x="68399" y="52697"/>
                    <a:pt x="67529" y="53277"/>
                    <a:pt x="64921" y="51828"/>
                  </a:cubicBezTo>
                  <a:cubicBezTo>
                    <a:pt x="60574" y="49509"/>
                    <a:pt x="56516" y="46610"/>
                    <a:pt x="52169" y="44001"/>
                  </a:cubicBezTo>
                  <a:cubicBezTo>
                    <a:pt x="54487" y="39653"/>
                    <a:pt x="55067" y="35596"/>
                    <a:pt x="54777" y="31248"/>
                  </a:cubicBezTo>
                  <a:cubicBezTo>
                    <a:pt x="54777" y="30958"/>
                    <a:pt x="54777" y="30378"/>
                    <a:pt x="54777" y="30089"/>
                  </a:cubicBezTo>
                  <a:cubicBezTo>
                    <a:pt x="55936" y="28349"/>
                    <a:pt x="55936" y="26320"/>
                    <a:pt x="54197" y="24871"/>
                  </a:cubicBezTo>
                  <a:cubicBezTo>
                    <a:pt x="55646" y="23422"/>
                    <a:pt x="56516" y="22842"/>
                    <a:pt x="58255" y="24001"/>
                  </a:cubicBezTo>
                  <a:cubicBezTo>
                    <a:pt x="58835" y="24292"/>
                    <a:pt x="59994" y="24001"/>
                    <a:pt x="60863" y="23422"/>
                  </a:cubicBezTo>
                  <a:cubicBezTo>
                    <a:pt x="62313" y="22552"/>
                    <a:pt x="64051" y="21393"/>
                    <a:pt x="65501" y="20233"/>
                  </a:cubicBezTo>
                  <a:cubicBezTo>
                    <a:pt x="66080" y="18784"/>
                    <a:pt x="66950" y="16755"/>
                    <a:pt x="67529" y="15016"/>
                  </a:cubicBezTo>
                  <a:cubicBezTo>
                    <a:pt x="69558" y="15885"/>
                    <a:pt x="71297" y="16465"/>
                    <a:pt x="73036" y="17335"/>
                  </a:cubicBezTo>
                  <a:cubicBezTo>
                    <a:pt x="73036" y="17335"/>
                    <a:pt x="73036" y="17045"/>
                    <a:pt x="73326" y="16755"/>
                  </a:cubicBezTo>
                  <a:cubicBezTo>
                    <a:pt x="73326" y="16465"/>
                    <a:pt x="73326" y="15885"/>
                    <a:pt x="72746" y="15596"/>
                  </a:cubicBezTo>
                  <a:cubicBezTo>
                    <a:pt x="70717" y="13856"/>
                    <a:pt x="69558" y="11537"/>
                    <a:pt x="69848" y="8639"/>
                  </a:cubicBezTo>
                  <a:cubicBezTo>
                    <a:pt x="69848" y="8059"/>
                    <a:pt x="69848" y="7480"/>
                    <a:pt x="69848" y="6900"/>
                  </a:cubicBezTo>
                  <a:cubicBezTo>
                    <a:pt x="68979" y="3421"/>
                    <a:pt x="66660" y="1392"/>
                    <a:pt x="63182" y="233"/>
                  </a:cubicBezTo>
                  <a:cubicBezTo>
                    <a:pt x="60574" y="-346"/>
                    <a:pt x="58255" y="233"/>
                    <a:pt x="55936" y="1103"/>
                  </a:cubicBezTo>
                  <a:cubicBezTo>
                    <a:pt x="55067" y="1392"/>
                    <a:pt x="53618" y="1972"/>
                    <a:pt x="53618" y="2552"/>
                  </a:cubicBezTo>
                  <a:cubicBezTo>
                    <a:pt x="52748" y="5161"/>
                    <a:pt x="52169" y="8059"/>
                    <a:pt x="51299" y="10958"/>
                  </a:cubicBezTo>
                  <a:cubicBezTo>
                    <a:pt x="50720" y="12407"/>
                    <a:pt x="49850" y="13856"/>
                    <a:pt x="48691" y="15016"/>
                  </a:cubicBezTo>
                  <a:cubicBezTo>
                    <a:pt x="48401" y="15596"/>
                    <a:pt x="46662" y="15016"/>
                    <a:pt x="45792" y="15016"/>
                  </a:cubicBezTo>
                  <a:cubicBezTo>
                    <a:pt x="45503" y="15016"/>
                    <a:pt x="44923" y="15016"/>
                    <a:pt x="44633" y="15016"/>
                  </a:cubicBezTo>
                  <a:cubicBezTo>
                    <a:pt x="42025" y="15596"/>
                    <a:pt x="42025" y="13856"/>
                    <a:pt x="41735" y="12117"/>
                  </a:cubicBezTo>
                  <a:cubicBezTo>
                    <a:pt x="41735" y="11537"/>
                    <a:pt x="41735" y="10668"/>
                    <a:pt x="41735" y="10088"/>
                  </a:cubicBezTo>
                  <a:cubicBezTo>
                    <a:pt x="41735" y="6900"/>
                    <a:pt x="40576" y="5451"/>
                    <a:pt x="37387" y="4871"/>
                  </a:cubicBezTo>
                  <a:cubicBezTo>
                    <a:pt x="35359" y="4581"/>
                    <a:pt x="33040" y="4291"/>
                    <a:pt x="31011" y="4291"/>
                  </a:cubicBezTo>
                  <a:cubicBezTo>
                    <a:pt x="25505" y="4291"/>
                    <a:pt x="21157" y="8349"/>
                    <a:pt x="19998" y="13856"/>
                  </a:cubicBezTo>
                  <a:cubicBezTo>
                    <a:pt x="19418" y="16755"/>
                    <a:pt x="17969" y="19654"/>
                    <a:pt x="16520" y="22262"/>
                  </a:cubicBezTo>
                  <a:cubicBezTo>
                    <a:pt x="15361" y="24292"/>
                    <a:pt x="13332" y="26030"/>
                    <a:pt x="11593" y="28059"/>
                  </a:cubicBezTo>
                  <a:cubicBezTo>
                    <a:pt x="11593" y="28059"/>
                    <a:pt x="11593" y="28349"/>
                    <a:pt x="11593" y="28929"/>
                  </a:cubicBezTo>
                  <a:cubicBezTo>
                    <a:pt x="12752" y="28349"/>
                    <a:pt x="13332" y="28059"/>
                    <a:pt x="14781" y="27479"/>
                  </a:cubicBezTo>
                  <a:cubicBezTo>
                    <a:pt x="13622" y="29219"/>
                    <a:pt x="12752" y="30378"/>
                    <a:pt x="11883" y="31827"/>
                  </a:cubicBezTo>
                  <a:cubicBezTo>
                    <a:pt x="11883" y="32697"/>
                    <a:pt x="11883" y="33567"/>
                    <a:pt x="11883" y="35016"/>
                  </a:cubicBezTo>
                  <a:cubicBezTo>
                    <a:pt x="12462" y="34146"/>
                    <a:pt x="12752" y="33567"/>
                    <a:pt x="13042" y="33277"/>
                  </a:cubicBezTo>
                  <a:cubicBezTo>
                    <a:pt x="13042" y="33277"/>
                    <a:pt x="13332" y="33277"/>
                    <a:pt x="13622" y="33567"/>
                  </a:cubicBezTo>
                  <a:cubicBezTo>
                    <a:pt x="12173" y="36465"/>
                    <a:pt x="10723" y="39653"/>
                    <a:pt x="9274" y="42842"/>
                  </a:cubicBezTo>
                  <a:cubicBezTo>
                    <a:pt x="7535" y="40813"/>
                    <a:pt x="8695" y="39074"/>
                    <a:pt x="8695" y="37045"/>
                  </a:cubicBezTo>
                  <a:cubicBezTo>
                    <a:pt x="7825" y="40523"/>
                    <a:pt x="7246" y="43712"/>
                    <a:pt x="6376" y="47190"/>
                  </a:cubicBezTo>
                  <a:cubicBezTo>
                    <a:pt x="5797" y="46900"/>
                    <a:pt x="5217" y="46320"/>
                    <a:pt x="4347" y="46031"/>
                  </a:cubicBezTo>
                  <a:cubicBezTo>
                    <a:pt x="4347" y="46610"/>
                    <a:pt x="4347" y="47190"/>
                    <a:pt x="4637" y="47190"/>
                  </a:cubicBezTo>
                  <a:cubicBezTo>
                    <a:pt x="6086" y="48349"/>
                    <a:pt x="6956" y="49509"/>
                    <a:pt x="6956" y="51248"/>
                  </a:cubicBezTo>
                  <a:cubicBezTo>
                    <a:pt x="6956" y="52117"/>
                    <a:pt x="7535" y="52697"/>
                    <a:pt x="8115" y="53277"/>
                  </a:cubicBezTo>
                  <a:cubicBezTo>
                    <a:pt x="10144" y="55016"/>
                    <a:pt x="12173" y="56755"/>
                    <a:pt x="14491" y="57914"/>
                  </a:cubicBezTo>
                  <a:cubicBezTo>
                    <a:pt x="15650" y="58494"/>
                    <a:pt x="16230" y="59074"/>
                    <a:pt x="15940" y="60524"/>
                  </a:cubicBezTo>
                  <a:cubicBezTo>
                    <a:pt x="15940" y="61973"/>
                    <a:pt x="15940" y="63132"/>
                    <a:pt x="15940" y="64581"/>
                  </a:cubicBezTo>
                  <a:cubicBezTo>
                    <a:pt x="15940" y="64581"/>
                    <a:pt x="16520" y="64581"/>
                    <a:pt x="16810" y="64581"/>
                  </a:cubicBezTo>
                  <a:lnTo>
                    <a:pt x="16810" y="59364"/>
                  </a:lnTo>
                  <a:cubicBezTo>
                    <a:pt x="19128" y="59364"/>
                    <a:pt x="21157" y="59943"/>
                    <a:pt x="23186" y="60233"/>
                  </a:cubicBezTo>
                  <a:cubicBezTo>
                    <a:pt x="23186" y="60233"/>
                    <a:pt x="23186" y="60524"/>
                    <a:pt x="23186" y="60813"/>
                  </a:cubicBezTo>
                  <a:cubicBezTo>
                    <a:pt x="22027" y="65740"/>
                    <a:pt x="21157" y="70669"/>
                    <a:pt x="24056" y="75306"/>
                  </a:cubicBezTo>
                  <a:cubicBezTo>
                    <a:pt x="24056" y="75306"/>
                    <a:pt x="24056" y="75885"/>
                    <a:pt x="24056" y="76466"/>
                  </a:cubicBezTo>
                  <a:cubicBezTo>
                    <a:pt x="23476" y="81103"/>
                    <a:pt x="22896" y="85741"/>
                    <a:pt x="22316" y="90378"/>
                  </a:cubicBezTo>
                  <a:cubicBezTo>
                    <a:pt x="22027" y="93277"/>
                    <a:pt x="21447" y="95886"/>
                    <a:pt x="20867" y="98494"/>
                  </a:cubicBezTo>
                  <a:cubicBezTo>
                    <a:pt x="20288" y="100523"/>
                    <a:pt x="19998" y="102842"/>
                    <a:pt x="18839" y="104582"/>
                  </a:cubicBezTo>
                  <a:cubicBezTo>
                    <a:pt x="17679" y="106901"/>
                    <a:pt x="15650" y="108929"/>
                    <a:pt x="14201" y="110958"/>
                  </a:cubicBezTo>
                  <a:cubicBezTo>
                    <a:pt x="12462" y="113567"/>
                    <a:pt x="10144" y="115886"/>
                    <a:pt x="8985" y="118784"/>
                  </a:cubicBezTo>
                  <a:cubicBezTo>
                    <a:pt x="7246" y="123422"/>
                    <a:pt x="4347" y="127770"/>
                    <a:pt x="4347" y="133277"/>
                  </a:cubicBezTo>
                  <a:cubicBezTo>
                    <a:pt x="4347" y="134147"/>
                    <a:pt x="3768" y="135016"/>
                    <a:pt x="3478" y="135596"/>
                  </a:cubicBezTo>
                  <a:cubicBezTo>
                    <a:pt x="1449" y="139654"/>
                    <a:pt x="0" y="143712"/>
                    <a:pt x="0" y="148060"/>
                  </a:cubicBezTo>
                  <a:cubicBezTo>
                    <a:pt x="1159" y="148640"/>
                    <a:pt x="2319" y="148930"/>
                    <a:pt x="3188" y="149219"/>
                  </a:cubicBezTo>
                  <a:cubicBezTo>
                    <a:pt x="4057" y="149509"/>
                    <a:pt x="5217" y="149799"/>
                    <a:pt x="6376" y="150089"/>
                  </a:cubicBezTo>
                  <a:cubicBezTo>
                    <a:pt x="7825" y="148349"/>
                    <a:pt x="11883" y="149509"/>
                    <a:pt x="13912" y="152118"/>
                  </a:cubicBezTo>
                  <a:lnTo>
                    <a:pt x="17100" y="152118"/>
                  </a:lnTo>
                  <a:lnTo>
                    <a:pt x="24345" y="149219"/>
                  </a:lnTo>
                  <a:cubicBezTo>
                    <a:pt x="24925" y="145741"/>
                    <a:pt x="22896" y="145161"/>
                    <a:pt x="20578" y="145161"/>
                  </a:cubicBezTo>
                  <a:cubicBezTo>
                    <a:pt x="19128" y="145161"/>
                    <a:pt x="18549" y="144292"/>
                    <a:pt x="18259" y="142842"/>
                  </a:cubicBezTo>
                  <a:cubicBezTo>
                    <a:pt x="17679" y="141103"/>
                    <a:pt x="16230" y="139944"/>
                    <a:pt x="15071" y="138495"/>
                  </a:cubicBezTo>
                  <a:cubicBezTo>
                    <a:pt x="14781" y="138204"/>
                    <a:pt x="14491" y="137625"/>
                    <a:pt x="14201" y="137045"/>
                  </a:cubicBezTo>
                  <a:cubicBezTo>
                    <a:pt x="15940" y="136755"/>
                    <a:pt x="17679" y="136466"/>
                    <a:pt x="19128" y="135886"/>
                  </a:cubicBezTo>
                  <a:cubicBezTo>
                    <a:pt x="19998" y="135596"/>
                    <a:pt x="21157" y="134726"/>
                    <a:pt x="21447" y="133567"/>
                  </a:cubicBezTo>
                  <a:cubicBezTo>
                    <a:pt x="23186" y="128350"/>
                    <a:pt x="24345" y="123422"/>
                    <a:pt x="26084" y="117915"/>
                  </a:cubicBezTo>
                  <a:cubicBezTo>
                    <a:pt x="29272" y="118495"/>
                    <a:pt x="30721" y="115886"/>
                    <a:pt x="32171" y="113277"/>
                  </a:cubicBezTo>
                  <a:cubicBezTo>
                    <a:pt x="36228" y="106901"/>
                    <a:pt x="38257" y="99654"/>
                    <a:pt x="40286" y="92408"/>
                  </a:cubicBezTo>
                  <a:cubicBezTo>
                    <a:pt x="41155" y="89799"/>
                    <a:pt x="41735" y="87190"/>
                    <a:pt x="42604" y="83712"/>
                  </a:cubicBezTo>
                  <a:cubicBezTo>
                    <a:pt x="46372" y="86900"/>
                    <a:pt x="50140" y="89799"/>
                    <a:pt x="53328" y="92408"/>
                  </a:cubicBezTo>
                  <a:cubicBezTo>
                    <a:pt x="51879" y="97915"/>
                    <a:pt x="50430" y="103132"/>
                    <a:pt x="48980" y="108350"/>
                  </a:cubicBezTo>
                  <a:cubicBezTo>
                    <a:pt x="48401" y="110958"/>
                    <a:pt x="47821" y="113857"/>
                    <a:pt x="47531" y="116465"/>
                  </a:cubicBezTo>
                  <a:cubicBezTo>
                    <a:pt x="47242" y="121393"/>
                    <a:pt x="46662" y="126031"/>
                    <a:pt x="46662" y="130958"/>
                  </a:cubicBezTo>
                  <a:cubicBezTo>
                    <a:pt x="46662" y="135306"/>
                    <a:pt x="47242" y="135306"/>
                    <a:pt x="51589" y="135306"/>
                  </a:cubicBezTo>
                  <a:cubicBezTo>
                    <a:pt x="52748" y="135306"/>
                    <a:pt x="53908" y="134437"/>
                    <a:pt x="55067" y="134147"/>
                  </a:cubicBezTo>
                  <a:cubicBezTo>
                    <a:pt x="57096" y="133857"/>
                    <a:pt x="59414" y="134437"/>
                    <a:pt x="61443" y="135016"/>
                  </a:cubicBezTo>
                  <a:cubicBezTo>
                    <a:pt x="62602" y="135016"/>
                    <a:pt x="63762" y="134726"/>
                    <a:pt x="64921" y="134437"/>
                  </a:cubicBezTo>
                  <a:lnTo>
                    <a:pt x="71007" y="131538"/>
                  </a:lnTo>
                  <a:cubicBezTo>
                    <a:pt x="71007" y="130669"/>
                    <a:pt x="70717" y="130089"/>
                    <a:pt x="70428" y="129509"/>
                  </a:cubicBezTo>
                  <a:cubicBezTo>
                    <a:pt x="69848" y="127770"/>
                    <a:pt x="68979" y="126321"/>
                    <a:pt x="66660" y="127480"/>
                  </a:cubicBezTo>
                  <a:cubicBezTo>
                    <a:pt x="65211" y="128059"/>
                    <a:pt x="64631" y="126900"/>
                    <a:pt x="63472" y="126321"/>
                  </a:cubicBezTo>
                  <a:cubicBezTo>
                    <a:pt x="62023" y="125161"/>
                    <a:pt x="60284" y="124002"/>
                    <a:pt x="58835" y="122843"/>
                  </a:cubicBezTo>
                  <a:cubicBezTo>
                    <a:pt x="58835" y="122553"/>
                    <a:pt x="58835" y="122262"/>
                    <a:pt x="59124" y="122262"/>
                  </a:cubicBezTo>
                  <a:cubicBezTo>
                    <a:pt x="61733" y="121103"/>
                    <a:pt x="63182" y="119074"/>
                    <a:pt x="63182" y="116176"/>
                  </a:cubicBezTo>
                  <a:cubicBezTo>
                    <a:pt x="63182" y="112117"/>
                    <a:pt x="63472" y="107770"/>
                    <a:pt x="63762" y="103712"/>
                  </a:cubicBezTo>
                  <a:cubicBezTo>
                    <a:pt x="65790" y="103712"/>
                    <a:pt x="66370" y="102263"/>
                    <a:pt x="66660" y="100234"/>
                  </a:cubicBezTo>
                  <a:cubicBezTo>
                    <a:pt x="66660" y="96756"/>
                    <a:pt x="67239" y="92987"/>
                    <a:pt x="67239" y="89509"/>
                  </a:cubicBezTo>
                  <a:cubicBezTo>
                    <a:pt x="67239" y="88060"/>
                    <a:pt x="66660" y="86030"/>
                    <a:pt x="65501" y="84871"/>
                  </a:cubicBezTo>
                  <a:cubicBezTo>
                    <a:pt x="61443" y="80233"/>
                    <a:pt x="57386" y="75596"/>
                    <a:pt x="53038" y="70958"/>
                  </a:cubicBezTo>
                  <a:cubicBezTo>
                    <a:pt x="51589" y="69219"/>
                    <a:pt x="49850" y="67480"/>
                    <a:pt x="47821" y="66321"/>
                  </a:cubicBezTo>
                  <a:cubicBezTo>
                    <a:pt x="45503" y="64581"/>
                    <a:pt x="45792" y="61973"/>
                    <a:pt x="44923" y="59943"/>
                  </a:cubicBezTo>
                  <a:cubicBezTo>
                    <a:pt x="44923" y="59943"/>
                    <a:pt x="45503" y="59074"/>
                    <a:pt x="46082" y="58494"/>
                  </a:cubicBezTo>
                  <a:cubicBezTo>
                    <a:pt x="47531" y="59654"/>
                    <a:pt x="48401" y="60233"/>
                    <a:pt x="49560" y="61393"/>
                  </a:cubicBezTo>
                  <a:cubicBezTo>
                    <a:pt x="50140" y="60524"/>
                    <a:pt x="50430" y="59654"/>
                    <a:pt x="51009" y="58784"/>
                  </a:cubicBezTo>
                  <a:cubicBezTo>
                    <a:pt x="48691" y="56262"/>
                    <a:pt x="48111" y="54146"/>
                    <a:pt x="49270" y="52407"/>
                  </a:cubicBezTo>
                  <a:cubicBezTo>
                    <a:pt x="56516" y="55306"/>
                    <a:pt x="63472" y="58784"/>
                    <a:pt x="71877" y="59364"/>
                  </a:cubicBezTo>
                  <a:cubicBezTo>
                    <a:pt x="71877" y="62552"/>
                    <a:pt x="72457" y="65740"/>
                    <a:pt x="72746" y="69219"/>
                  </a:cubicBezTo>
                  <a:cubicBezTo>
                    <a:pt x="73036" y="73857"/>
                    <a:pt x="73616" y="78204"/>
                    <a:pt x="73906" y="82842"/>
                  </a:cubicBezTo>
                  <a:cubicBezTo>
                    <a:pt x="74485" y="89799"/>
                    <a:pt x="74775" y="96756"/>
                    <a:pt x="75355" y="103422"/>
                  </a:cubicBezTo>
                  <a:cubicBezTo>
                    <a:pt x="75934" y="110958"/>
                    <a:pt x="76514" y="118495"/>
                    <a:pt x="76804" y="126321"/>
                  </a:cubicBezTo>
                  <a:lnTo>
                    <a:pt x="77673" y="126900"/>
                  </a:lnTo>
                  <a:cubicBezTo>
                    <a:pt x="76514" y="105741"/>
                    <a:pt x="75065" y="84292"/>
                    <a:pt x="73906" y="62552"/>
                  </a:cubicBezTo>
                  <a:close/>
                </a:path>
              </a:pathLst>
            </a:custGeom>
            <a:solidFill>
              <a:schemeClr val="tx1">
                <a:lumMod val="75000"/>
                <a:lumOff val="25000"/>
              </a:schemeClr>
            </a:solidFill>
            <a:ln w="0" cap="flat">
              <a:noFill/>
              <a:prstDash val="solid"/>
              <a:miter/>
            </a:ln>
          </p:spPr>
          <p:txBody>
            <a:bodyPr rtlCol="0" anchor="ctr"/>
            <a:lstStyle/>
            <a:p>
              <a:endParaRPr lang="en-US"/>
            </a:p>
          </p:txBody>
        </p:sp>
        <p:sp>
          <p:nvSpPr>
            <p:cNvPr id="9" name="Freeform: Shape 6">
              <a:extLst>
                <a:ext uri="{FF2B5EF4-FFF2-40B4-BE49-F238E27FC236}">
                  <a16:creationId xmlns:a16="http://schemas.microsoft.com/office/drawing/2014/main" id="{B40C3D98-B3EF-3A0A-9A33-B79DFB0F11E8}"/>
                </a:ext>
              </a:extLst>
            </p:cNvPr>
            <p:cNvSpPr/>
            <p:nvPr/>
          </p:nvSpPr>
          <p:spPr>
            <a:xfrm>
              <a:off x="1500517" y="3227894"/>
              <a:ext cx="1335966" cy="1329095"/>
            </a:xfrm>
            <a:custGeom>
              <a:avLst/>
              <a:gdLst>
                <a:gd name="connsiteX0" fmla="*/ 1023776 w 1335966"/>
                <a:gd name="connsiteY0" fmla="*/ 0 h 1329095"/>
                <a:gd name="connsiteX1" fmla="*/ 1335966 w 1335966"/>
                <a:gd name="connsiteY1" fmla="*/ 2 h 1329095"/>
                <a:gd name="connsiteX2" fmla="*/ 1335966 w 1335966"/>
                <a:gd name="connsiteY2" fmla="*/ 1329095 h 1329095"/>
                <a:gd name="connsiteX3" fmla="*/ 0 w 1335966"/>
                <a:gd name="connsiteY3" fmla="*/ 1329094 h 1329095"/>
              </a:gdLst>
              <a:ahLst/>
              <a:cxnLst>
                <a:cxn ang="0">
                  <a:pos x="connsiteX0" y="connsiteY0"/>
                </a:cxn>
                <a:cxn ang="0">
                  <a:pos x="connsiteX1" y="connsiteY1"/>
                </a:cxn>
                <a:cxn ang="0">
                  <a:pos x="connsiteX2" y="connsiteY2"/>
                </a:cxn>
                <a:cxn ang="0">
                  <a:pos x="connsiteX3" y="connsiteY3"/>
                </a:cxn>
              </a:cxnLst>
              <a:rect l="l" t="t" r="r" b="b"/>
              <a:pathLst>
                <a:path w="1335966" h="1329095">
                  <a:moveTo>
                    <a:pt x="1023776" y="0"/>
                  </a:moveTo>
                  <a:lnTo>
                    <a:pt x="1335966" y="2"/>
                  </a:lnTo>
                  <a:lnTo>
                    <a:pt x="1335966" y="1329095"/>
                  </a:lnTo>
                  <a:lnTo>
                    <a:pt x="0" y="1329094"/>
                  </a:lnTo>
                  <a:close/>
                </a:path>
              </a:pathLst>
            </a:custGeom>
            <a:solidFill>
              <a:schemeClr val="tx1">
                <a:alpha val="2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Freeform: Shape 7">
              <a:extLst>
                <a:ext uri="{FF2B5EF4-FFF2-40B4-BE49-F238E27FC236}">
                  <a16:creationId xmlns:a16="http://schemas.microsoft.com/office/drawing/2014/main" id="{A0426966-51DD-8D83-4CB4-1759461B3C22}"/>
                </a:ext>
              </a:extLst>
            </p:cNvPr>
            <p:cNvSpPr/>
            <p:nvPr/>
          </p:nvSpPr>
          <p:spPr>
            <a:xfrm>
              <a:off x="3150564" y="2586202"/>
              <a:ext cx="1982156" cy="1970781"/>
            </a:xfrm>
            <a:custGeom>
              <a:avLst/>
              <a:gdLst>
                <a:gd name="connsiteX0" fmla="*/ 1518216 w 1982156"/>
                <a:gd name="connsiteY0" fmla="*/ 0 h 1970781"/>
                <a:gd name="connsiteX1" fmla="*/ 1982156 w 1982156"/>
                <a:gd name="connsiteY1" fmla="*/ 410 h 1970781"/>
                <a:gd name="connsiteX2" fmla="*/ 1982156 w 1982156"/>
                <a:gd name="connsiteY2" fmla="*/ 1970781 h 1970781"/>
                <a:gd name="connsiteX3" fmla="*/ 0 w 1982156"/>
                <a:gd name="connsiteY3" fmla="*/ 1970781 h 1970781"/>
              </a:gdLst>
              <a:ahLst/>
              <a:cxnLst>
                <a:cxn ang="0">
                  <a:pos x="connsiteX0" y="connsiteY0"/>
                </a:cxn>
                <a:cxn ang="0">
                  <a:pos x="connsiteX1" y="connsiteY1"/>
                </a:cxn>
                <a:cxn ang="0">
                  <a:pos x="connsiteX2" y="connsiteY2"/>
                </a:cxn>
                <a:cxn ang="0">
                  <a:pos x="connsiteX3" y="connsiteY3"/>
                </a:cxn>
              </a:cxnLst>
              <a:rect l="l" t="t" r="r" b="b"/>
              <a:pathLst>
                <a:path w="1982156" h="1970781">
                  <a:moveTo>
                    <a:pt x="1518216" y="0"/>
                  </a:moveTo>
                  <a:lnTo>
                    <a:pt x="1982156" y="410"/>
                  </a:lnTo>
                  <a:lnTo>
                    <a:pt x="1982156" y="1970781"/>
                  </a:lnTo>
                  <a:lnTo>
                    <a:pt x="0" y="1970781"/>
                  </a:lnTo>
                  <a:close/>
                </a:path>
              </a:pathLst>
            </a:custGeom>
            <a:solidFill>
              <a:schemeClr val="tx1">
                <a:alpha val="2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Shape 8">
              <a:extLst>
                <a:ext uri="{FF2B5EF4-FFF2-40B4-BE49-F238E27FC236}">
                  <a16:creationId xmlns:a16="http://schemas.microsoft.com/office/drawing/2014/main" id="{07E76D44-61F5-6D81-F53F-66DBA8BD1CC7}"/>
                </a:ext>
              </a:extLst>
            </p:cNvPr>
            <p:cNvSpPr/>
            <p:nvPr/>
          </p:nvSpPr>
          <p:spPr>
            <a:xfrm>
              <a:off x="5448306" y="1826897"/>
              <a:ext cx="2745567" cy="2730085"/>
            </a:xfrm>
            <a:custGeom>
              <a:avLst/>
              <a:gdLst>
                <a:gd name="connsiteX0" fmla="*/ 2102590 w 2745567"/>
                <a:gd name="connsiteY0" fmla="*/ 0 h 2730085"/>
                <a:gd name="connsiteX1" fmla="*/ 2745567 w 2745567"/>
                <a:gd name="connsiteY1" fmla="*/ 411 h 2730085"/>
                <a:gd name="connsiteX2" fmla="*/ 2745567 w 2745567"/>
                <a:gd name="connsiteY2" fmla="*/ 2730085 h 2730085"/>
                <a:gd name="connsiteX3" fmla="*/ 0 w 2745567"/>
                <a:gd name="connsiteY3" fmla="*/ 2730085 h 2730085"/>
              </a:gdLst>
              <a:ahLst/>
              <a:cxnLst>
                <a:cxn ang="0">
                  <a:pos x="connsiteX0" y="connsiteY0"/>
                </a:cxn>
                <a:cxn ang="0">
                  <a:pos x="connsiteX1" y="connsiteY1"/>
                </a:cxn>
                <a:cxn ang="0">
                  <a:pos x="connsiteX2" y="connsiteY2"/>
                </a:cxn>
                <a:cxn ang="0">
                  <a:pos x="connsiteX3" y="connsiteY3"/>
                </a:cxn>
              </a:cxnLst>
              <a:rect l="l" t="t" r="r" b="b"/>
              <a:pathLst>
                <a:path w="2745567" h="2730085">
                  <a:moveTo>
                    <a:pt x="2102590" y="0"/>
                  </a:moveTo>
                  <a:lnTo>
                    <a:pt x="2745567" y="411"/>
                  </a:lnTo>
                  <a:lnTo>
                    <a:pt x="2745567" y="2730085"/>
                  </a:lnTo>
                  <a:lnTo>
                    <a:pt x="0" y="2730085"/>
                  </a:lnTo>
                  <a:close/>
                </a:path>
              </a:pathLst>
            </a:custGeom>
            <a:solidFill>
              <a:schemeClr val="tx1">
                <a:alpha val="2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3">
              <a:extLst>
                <a:ext uri="{FF2B5EF4-FFF2-40B4-BE49-F238E27FC236}">
                  <a16:creationId xmlns:a16="http://schemas.microsoft.com/office/drawing/2014/main" id="{C44DFDB6-90CC-4CD0-7C8C-1C9653A158FC}"/>
                </a:ext>
              </a:extLst>
            </p:cNvPr>
            <p:cNvSpPr/>
            <p:nvPr/>
          </p:nvSpPr>
          <p:spPr>
            <a:xfrm>
              <a:off x="2522406" y="2822600"/>
              <a:ext cx="314077" cy="605681"/>
            </a:xfrm>
            <a:custGeom>
              <a:avLst/>
              <a:gdLst>
                <a:gd name="connsiteX0" fmla="*/ 24056 w 60573"/>
                <a:gd name="connsiteY0" fmla="*/ 116812 h 116812"/>
                <a:gd name="connsiteX1" fmla="*/ 60574 w 60573"/>
                <a:gd name="connsiteY1" fmla="*/ 95073 h 116812"/>
                <a:gd name="connsiteX2" fmla="*/ 60574 w 60573"/>
                <a:gd name="connsiteY2" fmla="*/ 0 h 116812"/>
                <a:gd name="connsiteX3" fmla="*/ 0 w 60573"/>
                <a:gd name="connsiteY3" fmla="*/ 78841 h 116812"/>
                <a:gd name="connsiteX4" fmla="*/ 24056 w 60573"/>
                <a:gd name="connsiteY4" fmla="*/ 116812 h 116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573" h="116812">
                  <a:moveTo>
                    <a:pt x="24056" y="116812"/>
                  </a:moveTo>
                  <a:lnTo>
                    <a:pt x="60574" y="95073"/>
                  </a:lnTo>
                  <a:lnTo>
                    <a:pt x="60574" y="0"/>
                  </a:lnTo>
                  <a:lnTo>
                    <a:pt x="0" y="78841"/>
                  </a:lnTo>
                  <a:lnTo>
                    <a:pt x="24056" y="116812"/>
                  </a:lnTo>
                  <a:close/>
                </a:path>
              </a:pathLst>
            </a:custGeom>
            <a:solidFill>
              <a:schemeClr val="bg1">
                <a:lumMod val="65000"/>
              </a:schemeClr>
            </a:solidFill>
            <a:ln w="0" cap="flat">
              <a:noFill/>
              <a:prstDash val="solid"/>
              <a:miter/>
            </a:ln>
          </p:spPr>
          <p:txBody>
            <a:bodyPr rtlCol="0" anchor="ctr"/>
            <a:lstStyle/>
            <a:p>
              <a:endParaRPr lang="en-US"/>
            </a:p>
          </p:txBody>
        </p:sp>
        <p:sp>
          <p:nvSpPr>
            <p:cNvPr id="13" name="Freeform 5">
              <a:extLst>
                <a:ext uri="{FF2B5EF4-FFF2-40B4-BE49-F238E27FC236}">
                  <a16:creationId xmlns:a16="http://schemas.microsoft.com/office/drawing/2014/main" id="{D82545E8-878D-53C5-0A2C-47A6DAADA492}"/>
                </a:ext>
              </a:extLst>
            </p:cNvPr>
            <p:cNvSpPr/>
            <p:nvPr/>
          </p:nvSpPr>
          <p:spPr>
            <a:xfrm>
              <a:off x="2836483" y="2822600"/>
              <a:ext cx="314077" cy="605681"/>
            </a:xfrm>
            <a:custGeom>
              <a:avLst/>
              <a:gdLst>
                <a:gd name="connsiteX0" fmla="*/ 36518 w 60573"/>
                <a:gd name="connsiteY0" fmla="*/ 116812 h 116812"/>
                <a:gd name="connsiteX1" fmla="*/ 0 w 60573"/>
                <a:gd name="connsiteY1" fmla="*/ 95073 h 116812"/>
                <a:gd name="connsiteX2" fmla="*/ 0 w 60573"/>
                <a:gd name="connsiteY2" fmla="*/ 0 h 116812"/>
                <a:gd name="connsiteX3" fmla="*/ 60574 w 60573"/>
                <a:gd name="connsiteY3" fmla="*/ 78841 h 116812"/>
                <a:gd name="connsiteX4" fmla="*/ 36518 w 60573"/>
                <a:gd name="connsiteY4" fmla="*/ 116812 h 116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573" h="116812">
                  <a:moveTo>
                    <a:pt x="36518" y="116812"/>
                  </a:moveTo>
                  <a:lnTo>
                    <a:pt x="0" y="95073"/>
                  </a:lnTo>
                  <a:lnTo>
                    <a:pt x="0" y="0"/>
                  </a:lnTo>
                  <a:lnTo>
                    <a:pt x="60574" y="78841"/>
                  </a:lnTo>
                  <a:lnTo>
                    <a:pt x="36518" y="116812"/>
                  </a:lnTo>
                  <a:close/>
                </a:path>
              </a:pathLst>
            </a:custGeom>
            <a:solidFill>
              <a:schemeClr val="bg1">
                <a:lumMod val="85000"/>
              </a:schemeClr>
            </a:solidFill>
            <a:ln w="0" cap="flat">
              <a:noFill/>
              <a:prstDash val="solid"/>
              <a:miter/>
            </a:ln>
          </p:spPr>
          <p:txBody>
            <a:bodyPr rtlCol="0" anchor="ctr"/>
            <a:lstStyle/>
            <a:p>
              <a:endParaRPr lang="en-US"/>
            </a:p>
          </p:txBody>
        </p:sp>
        <p:sp>
          <p:nvSpPr>
            <p:cNvPr id="14" name="Freeform 7">
              <a:extLst>
                <a:ext uri="{FF2B5EF4-FFF2-40B4-BE49-F238E27FC236}">
                  <a16:creationId xmlns:a16="http://schemas.microsoft.com/office/drawing/2014/main" id="{21C7C5C5-9C1E-9920-A76A-85352E6D5AE4}"/>
                </a:ext>
              </a:extLst>
            </p:cNvPr>
            <p:cNvSpPr/>
            <p:nvPr/>
          </p:nvSpPr>
          <p:spPr>
            <a:xfrm>
              <a:off x="4666861" y="1983963"/>
              <a:ext cx="465860" cy="898747"/>
            </a:xfrm>
            <a:custGeom>
              <a:avLst/>
              <a:gdLst>
                <a:gd name="connsiteX0" fmla="*/ 35649 w 89846"/>
                <a:gd name="connsiteY0" fmla="*/ 173334 h 173333"/>
                <a:gd name="connsiteX1" fmla="*/ 89846 w 89846"/>
                <a:gd name="connsiteY1" fmla="*/ 140870 h 173333"/>
                <a:gd name="connsiteX2" fmla="*/ 89846 w 89846"/>
                <a:gd name="connsiteY2" fmla="*/ 0 h 173333"/>
                <a:gd name="connsiteX3" fmla="*/ 0 w 89846"/>
                <a:gd name="connsiteY3" fmla="*/ 116812 h 173333"/>
                <a:gd name="connsiteX4" fmla="*/ 35649 w 89846"/>
                <a:gd name="connsiteY4" fmla="*/ 173334 h 173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46" h="173333">
                  <a:moveTo>
                    <a:pt x="35649" y="173334"/>
                  </a:moveTo>
                  <a:lnTo>
                    <a:pt x="89846" y="140870"/>
                  </a:lnTo>
                  <a:lnTo>
                    <a:pt x="89846" y="0"/>
                  </a:lnTo>
                  <a:lnTo>
                    <a:pt x="0" y="116812"/>
                  </a:lnTo>
                  <a:lnTo>
                    <a:pt x="35649" y="173334"/>
                  </a:lnTo>
                  <a:close/>
                </a:path>
              </a:pathLst>
            </a:custGeom>
            <a:solidFill>
              <a:schemeClr val="bg1">
                <a:lumMod val="65000"/>
              </a:schemeClr>
            </a:solidFill>
            <a:ln w="0" cap="flat">
              <a:noFill/>
              <a:prstDash val="solid"/>
              <a:miter/>
            </a:ln>
          </p:spPr>
          <p:txBody>
            <a:bodyPr rtlCol="0" anchor="ctr"/>
            <a:lstStyle/>
            <a:p>
              <a:endParaRPr lang="en-US"/>
            </a:p>
          </p:txBody>
        </p:sp>
        <p:sp>
          <p:nvSpPr>
            <p:cNvPr id="15" name="Freeform 9">
              <a:extLst>
                <a:ext uri="{FF2B5EF4-FFF2-40B4-BE49-F238E27FC236}">
                  <a16:creationId xmlns:a16="http://schemas.microsoft.com/office/drawing/2014/main" id="{FC60C3E3-5690-1680-0E6E-2924E528FEBD}"/>
                </a:ext>
              </a:extLst>
            </p:cNvPr>
            <p:cNvSpPr/>
            <p:nvPr/>
          </p:nvSpPr>
          <p:spPr>
            <a:xfrm>
              <a:off x="5132721" y="1983963"/>
              <a:ext cx="467363" cy="898747"/>
            </a:xfrm>
            <a:custGeom>
              <a:avLst/>
              <a:gdLst>
                <a:gd name="connsiteX0" fmla="*/ 54487 w 90136"/>
                <a:gd name="connsiteY0" fmla="*/ 173334 h 173333"/>
                <a:gd name="connsiteX1" fmla="*/ 0 w 90136"/>
                <a:gd name="connsiteY1" fmla="*/ 140870 h 173333"/>
                <a:gd name="connsiteX2" fmla="*/ 0 w 90136"/>
                <a:gd name="connsiteY2" fmla="*/ 0 h 173333"/>
                <a:gd name="connsiteX3" fmla="*/ 90136 w 90136"/>
                <a:gd name="connsiteY3" fmla="*/ 116812 h 173333"/>
                <a:gd name="connsiteX4" fmla="*/ 54487 w 90136"/>
                <a:gd name="connsiteY4" fmla="*/ 173334 h 173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36" h="173333">
                  <a:moveTo>
                    <a:pt x="54487" y="173334"/>
                  </a:moveTo>
                  <a:lnTo>
                    <a:pt x="0" y="140870"/>
                  </a:lnTo>
                  <a:lnTo>
                    <a:pt x="0" y="0"/>
                  </a:lnTo>
                  <a:lnTo>
                    <a:pt x="90136" y="116812"/>
                  </a:lnTo>
                  <a:lnTo>
                    <a:pt x="54487" y="173334"/>
                  </a:lnTo>
                  <a:close/>
                </a:path>
              </a:pathLst>
            </a:custGeom>
            <a:solidFill>
              <a:schemeClr val="bg1">
                <a:lumMod val="85000"/>
              </a:schemeClr>
            </a:solidFill>
            <a:ln w="0" cap="flat">
              <a:noFill/>
              <a:prstDash val="solid"/>
              <a:miter/>
            </a:ln>
          </p:spPr>
          <p:txBody>
            <a:bodyPr rtlCol="0" anchor="ctr"/>
            <a:lstStyle/>
            <a:p>
              <a:endParaRPr lang="en-US"/>
            </a:p>
          </p:txBody>
        </p:sp>
        <p:sp>
          <p:nvSpPr>
            <p:cNvPr id="16" name="Freeform 11">
              <a:extLst>
                <a:ext uri="{FF2B5EF4-FFF2-40B4-BE49-F238E27FC236}">
                  <a16:creationId xmlns:a16="http://schemas.microsoft.com/office/drawing/2014/main" id="{727BCC40-5FC2-1CEC-CAAF-BBEA1CBE3FD6}"/>
                </a:ext>
              </a:extLst>
            </p:cNvPr>
            <p:cNvSpPr/>
            <p:nvPr/>
          </p:nvSpPr>
          <p:spPr>
            <a:xfrm>
              <a:off x="7549186" y="992029"/>
              <a:ext cx="644688" cy="1244422"/>
            </a:xfrm>
            <a:custGeom>
              <a:avLst/>
              <a:gdLst>
                <a:gd name="connsiteX0" fmla="*/ 49270 w 124335"/>
                <a:gd name="connsiteY0" fmla="*/ 240001 h 240000"/>
                <a:gd name="connsiteX1" fmla="*/ 124335 w 124335"/>
                <a:gd name="connsiteY1" fmla="*/ 195363 h 240000"/>
                <a:gd name="connsiteX2" fmla="*/ 124335 w 124335"/>
                <a:gd name="connsiteY2" fmla="*/ 0 h 240000"/>
                <a:gd name="connsiteX3" fmla="*/ 0 w 124335"/>
                <a:gd name="connsiteY3" fmla="*/ 161740 h 240000"/>
                <a:gd name="connsiteX4" fmla="*/ 49270 w 124335"/>
                <a:gd name="connsiteY4" fmla="*/ 240001 h 2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335" h="240000">
                  <a:moveTo>
                    <a:pt x="49270" y="240001"/>
                  </a:moveTo>
                  <a:lnTo>
                    <a:pt x="124335" y="195363"/>
                  </a:lnTo>
                  <a:lnTo>
                    <a:pt x="124335" y="0"/>
                  </a:lnTo>
                  <a:lnTo>
                    <a:pt x="0" y="161740"/>
                  </a:lnTo>
                  <a:lnTo>
                    <a:pt x="49270" y="240001"/>
                  </a:lnTo>
                  <a:close/>
                </a:path>
              </a:pathLst>
            </a:custGeom>
            <a:solidFill>
              <a:schemeClr val="bg1">
                <a:lumMod val="65000"/>
              </a:schemeClr>
            </a:solidFill>
            <a:ln w="0" cap="flat">
              <a:noFill/>
              <a:prstDash val="solid"/>
              <a:miter/>
            </a:ln>
          </p:spPr>
          <p:txBody>
            <a:bodyPr rtlCol="0" anchor="ctr"/>
            <a:lstStyle/>
            <a:p>
              <a:endParaRPr lang="en-US"/>
            </a:p>
          </p:txBody>
        </p:sp>
        <p:sp>
          <p:nvSpPr>
            <p:cNvPr id="17" name="Freeform 13">
              <a:extLst>
                <a:ext uri="{FF2B5EF4-FFF2-40B4-BE49-F238E27FC236}">
                  <a16:creationId xmlns:a16="http://schemas.microsoft.com/office/drawing/2014/main" id="{E9EEB0A8-33BA-EC87-443A-2B8778202CD0}"/>
                </a:ext>
              </a:extLst>
            </p:cNvPr>
            <p:cNvSpPr/>
            <p:nvPr/>
          </p:nvSpPr>
          <p:spPr>
            <a:xfrm>
              <a:off x="8193874" y="992029"/>
              <a:ext cx="646192" cy="1244422"/>
            </a:xfrm>
            <a:custGeom>
              <a:avLst/>
              <a:gdLst>
                <a:gd name="connsiteX0" fmla="*/ 75355 w 124625"/>
                <a:gd name="connsiteY0" fmla="*/ 240001 h 240000"/>
                <a:gd name="connsiteX1" fmla="*/ 0 w 124625"/>
                <a:gd name="connsiteY1" fmla="*/ 195363 h 240000"/>
                <a:gd name="connsiteX2" fmla="*/ 0 w 124625"/>
                <a:gd name="connsiteY2" fmla="*/ 0 h 240000"/>
                <a:gd name="connsiteX3" fmla="*/ 124625 w 124625"/>
                <a:gd name="connsiteY3" fmla="*/ 161740 h 240000"/>
                <a:gd name="connsiteX4" fmla="*/ 75355 w 124625"/>
                <a:gd name="connsiteY4" fmla="*/ 240001 h 2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625" h="240000">
                  <a:moveTo>
                    <a:pt x="75355" y="240001"/>
                  </a:moveTo>
                  <a:lnTo>
                    <a:pt x="0" y="195363"/>
                  </a:lnTo>
                  <a:lnTo>
                    <a:pt x="0" y="0"/>
                  </a:lnTo>
                  <a:lnTo>
                    <a:pt x="124625" y="161740"/>
                  </a:lnTo>
                  <a:lnTo>
                    <a:pt x="75355" y="240001"/>
                  </a:lnTo>
                  <a:close/>
                </a:path>
              </a:pathLst>
            </a:custGeom>
            <a:solidFill>
              <a:schemeClr val="bg1">
                <a:lumMod val="85000"/>
              </a:schemeClr>
            </a:solidFill>
            <a:ln w="0" cap="flat">
              <a:noFill/>
              <a:prstDash val="solid"/>
              <a:miter/>
            </a:ln>
          </p:spPr>
          <p:txBody>
            <a:bodyPr rtlCol="0" anchor="ctr"/>
            <a:lstStyle/>
            <a:p>
              <a:endParaRPr lang="en-US"/>
            </a:p>
          </p:txBody>
        </p:sp>
        <p:grpSp>
          <p:nvGrpSpPr>
            <p:cNvPr id="18" name="Graphic 5">
              <a:extLst>
                <a:ext uri="{FF2B5EF4-FFF2-40B4-BE49-F238E27FC236}">
                  <a16:creationId xmlns:a16="http://schemas.microsoft.com/office/drawing/2014/main" id="{86403FD1-1A5D-65D2-C165-849A9845BA28}"/>
                </a:ext>
              </a:extLst>
            </p:cNvPr>
            <p:cNvGrpSpPr/>
            <p:nvPr/>
          </p:nvGrpSpPr>
          <p:grpSpPr>
            <a:xfrm>
              <a:off x="2280459" y="4000896"/>
              <a:ext cx="241942" cy="556080"/>
              <a:chOff x="5342162" y="5862923"/>
              <a:chExt cx="46661" cy="107246"/>
            </a:xfrm>
          </p:grpSpPr>
          <p:sp>
            <p:nvSpPr>
              <p:cNvPr id="43" name="Freeform 15">
                <a:extLst>
                  <a:ext uri="{FF2B5EF4-FFF2-40B4-BE49-F238E27FC236}">
                    <a16:creationId xmlns:a16="http://schemas.microsoft.com/office/drawing/2014/main" id="{C49F6F7C-10B1-8DD5-56BC-2BF9CA236442}"/>
                  </a:ext>
                </a:extLst>
              </p:cNvPr>
              <p:cNvSpPr/>
              <p:nvPr/>
            </p:nvSpPr>
            <p:spPr>
              <a:xfrm>
                <a:off x="5359261" y="5925532"/>
                <a:ext cx="12172" cy="44637"/>
              </a:xfrm>
              <a:custGeom>
                <a:avLst/>
                <a:gdLst>
                  <a:gd name="connsiteX0" fmla="*/ 0 w 12172"/>
                  <a:gd name="connsiteY0" fmla="*/ 0 h 44637"/>
                  <a:gd name="connsiteX1" fmla="*/ 12173 w 12172"/>
                  <a:gd name="connsiteY1" fmla="*/ 0 h 44637"/>
                  <a:gd name="connsiteX2" fmla="*/ 12173 w 12172"/>
                  <a:gd name="connsiteY2" fmla="*/ 44637 h 44637"/>
                  <a:gd name="connsiteX3" fmla="*/ 0 w 12172"/>
                  <a:gd name="connsiteY3" fmla="*/ 44637 h 44637"/>
                </a:gdLst>
                <a:ahLst/>
                <a:cxnLst>
                  <a:cxn ang="0">
                    <a:pos x="connsiteX0" y="connsiteY0"/>
                  </a:cxn>
                  <a:cxn ang="0">
                    <a:pos x="connsiteX1" y="connsiteY1"/>
                  </a:cxn>
                  <a:cxn ang="0">
                    <a:pos x="connsiteX2" y="connsiteY2"/>
                  </a:cxn>
                  <a:cxn ang="0">
                    <a:pos x="connsiteX3" y="connsiteY3"/>
                  </a:cxn>
                </a:cxnLst>
                <a:rect l="l" t="t" r="r" b="b"/>
                <a:pathLst>
                  <a:path w="12172" h="44637">
                    <a:moveTo>
                      <a:pt x="0" y="0"/>
                    </a:moveTo>
                    <a:lnTo>
                      <a:pt x="12173" y="0"/>
                    </a:lnTo>
                    <a:lnTo>
                      <a:pt x="12173" y="44637"/>
                    </a:lnTo>
                    <a:lnTo>
                      <a:pt x="0" y="44637"/>
                    </a:lnTo>
                    <a:close/>
                  </a:path>
                </a:pathLst>
              </a:custGeom>
              <a:solidFill>
                <a:srgbClr val="3B4143"/>
              </a:solidFill>
              <a:ln w="0" cap="flat">
                <a:noFill/>
                <a:prstDash val="solid"/>
                <a:miter/>
              </a:ln>
            </p:spPr>
            <p:txBody>
              <a:bodyPr rtlCol="0" anchor="ctr"/>
              <a:lstStyle/>
              <a:p>
                <a:endParaRPr lang="en-US"/>
              </a:p>
            </p:txBody>
          </p:sp>
          <p:sp>
            <p:nvSpPr>
              <p:cNvPr id="44" name="Freeform 16">
                <a:extLst>
                  <a:ext uri="{FF2B5EF4-FFF2-40B4-BE49-F238E27FC236}">
                    <a16:creationId xmlns:a16="http://schemas.microsoft.com/office/drawing/2014/main" id="{9C8CC61E-BF34-1BDA-F79C-424571819B0F}"/>
                  </a:ext>
                </a:extLst>
              </p:cNvPr>
              <p:cNvSpPr/>
              <p:nvPr/>
            </p:nvSpPr>
            <p:spPr>
              <a:xfrm>
                <a:off x="5342162" y="5862923"/>
                <a:ext cx="23186" cy="78550"/>
              </a:xfrm>
              <a:custGeom>
                <a:avLst/>
                <a:gdLst>
                  <a:gd name="connsiteX0" fmla="*/ 23186 w 23186"/>
                  <a:gd name="connsiteY0" fmla="*/ 0 h 78550"/>
                  <a:gd name="connsiteX1" fmla="*/ 0 w 23186"/>
                  <a:gd name="connsiteY1" fmla="*/ 78551 h 78550"/>
                  <a:gd name="connsiteX2" fmla="*/ 23186 w 23186"/>
                  <a:gd name="connsiteY2" fmla="*/ 78551 h 78550"/>
                  <a:gd name="connsiteX3" fmla="*/ 23186 w 23186"/>
                  <a:gd name="connsiteY3" fmla="*/ 0 h 78550"/>
                </a:gdLst>
                <a:ahLst/>
                <a:cxnLst>
                  <a:cxn ang="0">
                    <a:pos x="connsiteX0" y="connsiteY0"/>
                  </a:cxn>
                  <a:cxn ang="0">
                    <a:pos x="connsiteX1" y="connsiteY1"/>
                  </a:cxn>
                  <a:cxn ang="0">
                    <a:pos x="connsiteX2" y="connsiteY2"/>
                  </a:cxn>
                  <a:cxn ang="0">
                    <a:pos x="connsiteX3" y="connsiteY3"/>
                  </a:cxn>
                </a:cxnLst>
                <a:rect l="l" t="t" r="r" b="b"/>
                <a:pathLst>
                  <a:path w="23186" h="78550">
                    <a:moveTo>
                      <a:pt x="23186" y="0"/>
                    </a:moveTo>
                    <a:lnTo>
                      <a:pt x="0" y="78551"/>
                    </a:lnTo>
                    <a:lnTo>
                      <a:pt x="23186" y="78551"/>
                    </a:lnTo>
                    <a:lnTo>
                      <a:pt x="23186" y="0"/>
                    </a:lnTo>
                    <a:close/>
                  </a:path>
                </a:pathLst>
              </a:custGeom>
              <a:solidFill>
                <a:srgbClr val="708731"/>
              </a:solidFill>
              <a:ln w="0" cap="flat">
                <a:noFill/>
                <a:prstDash val="solid"/>
                <a:miter/>
              </a:ln>
            </p:spPr>
            <p:txBody>
              <a:bodyPr rtlCol="0" anchor="ctr"/>
              <a:lstStyle/>
              <a:p>
                <a:endParaRPr lang="en-US"/>
              </a:p>
            </p:txBody>
          </p:sp>
          <p:sp>
            <p:nvSpPr>
              <p:cNvPr id="45" name="Freeform 17">
                <a:extLst>
                  <a:ext uri="{FF2B5EF4-FFF2-40B4-BE49-F238E27FC236}">
                    <a16:creationId xmlns:a16="http://schemas.microsoft.com/office/drawing/2014/main" id="{C3773236-FB58-65C3-EA13-3E611E466DE7}"/>
                  </a:ext>
                </a:extLst>
              </p:cNvPr>
              <p:cNvSpPr/>
              <p:nvPr/>
            </p:nvSpPr>
            <p:spPr>
              <a:xfrm>
                <a:off x="5365348" y="5862923"/>
                <a:ext cx="23475" cy="78550"/>
              </a:xfrm>
              <a:custGeom>
                <a:avLst/>
                <a:gdLst>
                  <a:gd name="connsiteX0" fmla="*/ 0 w 23475"/>
                  <a:gd name="connsiteY0" fmla="*/ 0 h 78550"/>
                  <a:gd name="connsiteX1" fmla="*/ 23476 w 23475"/>
                  <a:gd name="connsiteY1" fmla="*/ 78551 h 78550"/>
                  <a:gd name="connsiteX2" fmla="*/ 0 w 23475"/>
                  <a:gd name="connsiteY2" fmla="*/ 78551 h 78550"/>
                  <a:gd name="connsiteX3" fmla="*/ 0 w 23475"/>
                  <a:gd name="connsiteY3" fmla="*/ 0 h 78550"/>
                </a:gdLst>
                <a:ahLst/>
                <a:cxnLst>
                  <a:cxn ang="0">
                    <a:pos x="connsiteX0" y="connsiteY0"/>
                  </a:cxn>
                  <a:cxn ang="0">
                    <a:pos x="connsiteX1" y="connsiteY1"/>
                  </a:cxn>
                  <a:cxn ang="0">
                    <a:pos x="connsiteX2" y="connsiteY2"/>
                  </a:cxn>
                  <a:cxn ang="0">
                    <a:pos x="connsiteX3" y="connsiteY3"/>
                  </a:cxn>
                </a:cxnLst>
                <a:rect l="l" t="t" r="r" b="b"/>
                <a:pathLst>
                  <a:path w="23475" h="78550">
                    <a:moveTo>
                      <a:pt x="0" y="0"/>
                    </a:moveTo>
                    <a:lnTo>
                      <a:pt x="23476" y="78551"/>
                    </a:lnTo>
                    <a:lnTo>
                      <a:pt x="0" y="78551"/>
                    </a:lnTo>
                    <a:lnTo>
                      <a:pt x="0" y="0"/>
                    </a:lnTo>
                    <a:close/>
                  </a:path>
                </a:pathLst>
              </a:custGeom>
              <a:solidFill>
                <a:srgbClr val="A6A928"/>
              </a:solidFill>
              <a:ln w="0" cap="flat">
                <a:noFill/>
                <a:prstDash val="solid"/>
                <a:miter/>
              </a:ln>
            </p:spPr>
            <p:txBody>
              <a:bodyPr rtlCol="0" anchor="ctr"/>
              <a:lstStyle/>
              <a:p>
                <a:endParaRPr lang="en-US"/>
              </a:p>
            </p:txBody>
          </p:sp>
        </p:grpSp>
        <p:grpSp>
          <p:nvGrpSpPr>
            <p:cNvPr id="19" name="Graphic 5">
              <a:extLst>
                <a:ext uri="{FF2B5EF4-FFF2-40B4-BE49-F238E27FC236}">
                  <a16:creationId xmlns:a16="http://schemas.microsoft.com/office/drawing/2014/main" id="{5C6F444A-1483-A302-494B-A9B105BDF8B2}"/>
                </a:ext>
              </a:extLst>
            </p:cNvPr>
            <p:cNvGrpSpPr/>
            <p:nvPr/>
          </p:nvGrpSpPr>
          <p:grpSpPr>
            <a:xfrm>
              <a:off x="4244582" y="3835575"/>
              <a:ext cx="314077" cy="721402"/>
              <a:chOff x="5720964" y="5831039"/>
              <a:chExt cx="60573" cy="139130"/>
            </a:xfrm>
          </p:grpSpPr>
          <p:sp>
            <p:nvSpPr>
              <p:cNvPr id="40" name="Freeform 19">
                <a:extLst>
                  <a:ext uri="{FF2B5EF4-FFF2-40B4-BE49-F238E27FC236}">
                    <a16:creationId xmlns:a16="http://schemas.microsoft.com/office/drawing/2014/main" id="{97F3D26E-9056-DFC7-2274-946DF6D420BE}"/>
                  </a:ext>
                </a:extLst>
              </p:cNvPr>
              <p:cNvSpPr/>
              <p:nvPr/>
            </p:nvSpPr>
            <p:spPr>
              <a:xfrm>
                <a:off x="5743281" y="5912199"/>
                <a:ext cx="15940" cy="57971"/>
              </a:xfrm>
              <a:custGeom>
                <a:avLst/>
                <a:gdLst>
                  <a:gd name="connsiteX0" fmla="*/ 0 w 15940"/>
                  <a:gd name="connsiteY0" fmla="*/ 0 h 57971"/>
                  <a:gd name="connsiteX1" fmla="*/ 15941 w 15940"/>
                  <a:gd name="connsiteY1" fmla="*/ 0 h 57971"/>
                  <a:gd name="connsiteX2" fmla="*/ 15941 w 15940"/>
                  <a:gd name="connsiteY2" fmla="*/ 57972 h 57971"/>
                  <a:gd name="connsiteX3" fmla="*/ 0 w 15940"/>
                  <a:gd name="connsiteY3" fmla="*/ 57972 h 57971"/>
                </a:gdLst>
                <a:ahLst/>
                <a:cxnLst>
                  <a:cxn ang="0">
                    <a:pos x="connsiteX0" y="connsiteY0"/>
                  </a:cxn>
                  <a:cxn ang="0">
                    <a:pos x="connsiteX1" y="connsiteY1"/>
                  </a:cxn>
                  <a:cxn ang="0">
                    <a:pos x="connsiteX2" y="connsiteY2"/>
                  </a:cxn>
                  <a:cxn ang="0">
                    <a:pos x="connsiteX3" y="connsiteY3"/>
                  </a:cxn>
                </a:cxnLst>
                <a:rect l="l" t="t" r="r" b="b"/>
                <a:pathLst>
                  <a:path w="15940" h="57971">
                    <a:moveTo>
                      <a:pt x="0" y="0"/>
                    </a:moveTo>
                    <a:lnTo>
                      <a:pt x="15941" y="0"/>
                    </a:lnTo>
                    <a:lnTo>
                      <a:pt x="15941" y="57972"/>
                    </a:lnTo>
                    <a:lnTo>
                      <a:pt x="0" y="57972"/>
                    </a:lnTo>
                    <a:close/>
                  </a:path>
                </a:pathLst>
              </a:custGeom>
              <a:solidFill>
                <a:srgbClr val="3B4143"/>
              </a:solidFill>
              <a:ln w="0" cap="flat">
                <a:noFill/>
                <a:prstDash val="solid"/>
                <a:miter/>
              </a:ln>
            </p:spPr>
            <p:txBody>
              <a:bodyPr rtlCol="0" anchor="ctr"/>
              <a:lstStyle/>
              <a:p>
                <a:endParaRPr lang="en-US"/>
              </a:p>
            </p:txBody>
          </p:sp>
          <p:sp>
            <p:nvSpPr>
              <p:cNvPr id="41" name="Freeform 20">
                <a:extLst>
                  <a:ext uri="{FF2B5EF4-FFF2-40B4-BE49-F238E27FC236}">
                    <a16:creationId xmlns:a16="http://schemas.microsoft.com/office/drawing/2014/main" id="{4167999E-9730-9175-A5F6-349930029A23}"/>
                  </a:ext>
                </a:extLst>
              </p:cNvPr>
              <p:cNvSpPr/>
              <p:nvPr/>
            </p:nvSpPr>
            <p:spPr>
              <a:xfrm>
                <a:off x="5720964" y="5831039"/>
                <a:ext cx="30141" cy="101739"/>
              </a:xfrm>
              <a:custGeom>
                <a:avLst/>
                <a:gdLst>
                  <a:gd name="connsiteX0" fmla="*/ 30142 w 30141"/>
                  <a:gd name="connsiteY0" fmla="*/ 0 h 101739"/>
                  <a:gd name="connsiteX1" fmla="*/ 0 w 30141"/>
                  <a:gd name="connsiteY1" fmla="*/ 101739 h 101739"/>
                  <a:gd name="connsiteX2" fmla="*/ 30142 w 30141"/>
                  <a:gd name="connsiteY2" fmla="*/ 101739 h 101739"/>
                  <a:gd name="connsiteX3" fmla="*/ 30142 w 30141"/>
                  <a:gd name="connsiteY3" fmla="*/ 0 h 101739"/>
                </a:gdLst>
                <a:ahLst/>
                <a:cxnLst>
                  <a:cxn ang="0">
                    <a:pos x="connsiteX0" y="connsiteY0"/>
                  </a:cxn>
                  <a:cxn ang="0">
                    <a:pos x="connsiteX1" y="connsiteY1"/>
                  </a:cxn>
                  <a:cxn ang="0">
                    <a:pos x="connsiteX2" y="connsiteY2"/>
                  </a:cxn>
                  <a:cxn ang="0">
                    <a:pos x="connsiteX3" y="connsiteY3"/>
                  </a:cxn>
                </a:cxnLst>
                <a:rect l="l" t="t" r="r" b="b"/>
                <a:pathLst>
                  <a:path w="30141" h="101739">
                    <a:moveTo>
                      <a:pt x="30142" y="0"/>
                    </a:moveTo>
                    <a:lnTo>
                      <a:pt x="0" y="101739"/>
                    </a:lnTo>
                    <a:lnTo>
                      <a:pt x="30142" y="101739"/>
                    </a:lnTo>
                    <a:lnTo>
                      <a:pt x="30142" y="0"/>
                    </a:lnTo>
                    <a:close/>
                  </a:path>
                </a:pathLst>
              </a:custGeom>
              <a:solidFill>
                <a:srgbClr val="708731"/>
              </a:solidFill>
              <a:ln w="0" cap="flat">
                <a:noFill/>
                <a:prstDash val="solid"/>
                <a:miter/>
              </a:ln>
            </p:spPr>
            <p:txBody>
              <a:bodyPr rtlCol="0" anchor="ctr"/>
              <a:lstStyle/>
              <a:p>
                <a:endParaRPr lang="en-US"/>
              </a:p>
            </p:txBody>
          </p:sp>
          <p:sp>
            <p:nvSpPr>
              <p:cNvPr id="42" name="Freeform 21">
                <a:extLst>
                  <a:ext uri="{FF2B5EF4-FFF2-40B4-BE49-F238E27FC236}">
                    <a16:creationId xmlns:a16="http://schemas.microsoft.com/office/drawing/2014/main" id="{6B504A27-A1F9-6FC6-F7AE-3EAFB855B489}"/>
                  </a:ext>
                </a:extLst>
              </p:cNvPr>
              <p:cNvSpPr/>
              <p:nvPr/>
            </p:nvSpPr>
            <p:spPr>
              <a:xfrm>
                <a:off x="5751106" y="5831039"/>
                <a:ext cx="30431" cy="101739"/>
              </a:xfrm>
              <a:custGeom>
                <a:avLst/>
                <a:gdLst>
                  <a:gd name="connsiteX0" fmla="*/ 0 w 30431"/>
                  <a:gd name="connsiteY0" fmla="*/ 0 h 101739"/>
                  <a:gd name="connsiteX1" fmla="*/ 30432 w 30431"/>
                  <a:gd name="connsiteY1" fmla="*/ 101739 h 101739"/>
                  <a:gd name="connsiteX2" fmla="*/ 0 w 30431"/>
                  <a:gd name="connsiteY2" fmla="*/ 101739 h 101739"/>
                  <a:gd name="connsiteX3" fmla="*/ 0 w 30431"/>
                  <a:gd name="connsiteY3" fmla="*/ 0 h 101739"/>
                </a:gdLst>
                <a:ahLst/>
                <a:cxnLst>
                  <a:cxn ang="0">
                    <a:pos x="connsiteX0" y="connsiteY0"/>
                  </a:cxn>
                  <a:cxn ang="0">
                    <a:pos x="connsiteX1" y="connsiteY1"/>
                  </a:cxn>
                  <a:cxn ang="0">
                    <a:pos x="connsiteX2" y="connsiteY2"/>
                  </a:cxn>
                  <a:cxn ang="0">
                    <a:pos x="connsiteX3" y="connsiteY3"/>
                  </a:cxn>
                </a:cxnLst>
                <a:rect l="l" t="t" r="r" b="b"/>
                <a:pathLst>
                  <a:path w="30431" h="101739">
                    <a:moveTo>
                      <a:pt x="0" y="0"/>
                    </a:moveTo>
                    <a:lnTo>
                      <a:pt x="30432" y="101739"/>
                    </a:lnTo>
                    <a:lnTo>
                      <a:pt x="0" y="101739"/>
                    </a:lnTo>
                    <a:lnTo>
                      <a:pt x="0" y="0"/>
                    </a:lnTo>
                    <a:close/>
                  </a:path>
                </a:pathLst>
              </a:custGeom>
              <a:solidFill>
                <a:srgbClr val="A6A928"/>
              </a:solidFill>
              <a:ln w="0" cap="flat">
                <a:noFill/>
                <a:prstDash val="solid"/>
                <a:miter/>
              </a:ln>
            </p:spPr>
            <p:txBody>
              <a:bodyPr rtlCol="0" anchor="ctr"/>
              <a:lstStyle/>
              <a:p>
                <a:endParaRPr lang="en-US"/>
              </a:p>
            </p:txBody>
          </p:sp>
        </p:grpSp>
        <p:grpSp>
          <p:nvGrpSpPr>
            <p:cNvPr id="20" name="Graphic 5">
              <a:extLst>
                <a:ext uri="{FF2B5EF4-FFF2-40B4-BE49-F238E27FC236}">
                  <a16:creationId xmlns:a16="http://schemas.microsoft.com/office/drawing/2014/main" id="{512D81ED-C03D-535D-700D-CE843F03BC51}"/>
                </a:ext>
              </a:extLst>
            </p:cNvPr>
            <p:cNvGrpSpPr/>
            <p:nvPr/>
          </p:nvGrpSpPr>
          <p:grpSpPr>
            <a:xfrm>
              <a:off x="4666861" y="4000896"/>
              <a:ext cx="241947" cy="556080"/>
              <a:chOff x="5802405" y="5862923"/>
              <a:chExt cx="46662" cy="107246"/>
            </a:xfrm>
          </p:grpSpPr>
          <p:sp>
            <p:nvSpPr>
              <p:cNvPr id="37" name="Freeform 23">
                <a:extLst>
                  <a:ext uri="{FF2B5EF4-FFF2-40B4-BE49-F238E27FC236}">
                    <a16:creationId xmlns:a16="http://schemas.microsoft.com/office/drawing/2014/main" id="{86343583-DF03-B78A-AF54-B603FEC81155}"/>
                  </a:ext>
                </a:extLst>
              </p:cNvPr>
              <p:cNvSpPr/>
              <p:nvPr/>
            </p:nvSpPr>
            <p:spPr>
              <a:xfrm>
                <a:off x="5819505" y="5925532"/>
                <a:ext cx="12172" cy="44637"/>
              </a:xfrm>
              <a:custGeom>
                <a:avLst/>
                <a:gdLst>
                  <a:gd name="connsiteX0" fmla="*/ 0 w 12172"/>
                  <a:gd name="connsiteY0" fmla="*/ 0 h 44637"/>
                  <a:gd name="connsiteX1" fmla="*/ 12172 w 12172"/>
                  <a:gd name="connsiteY1" fmla="*/ 0 h 44637"/>
                  <a:gd name="connsiteX2" fmla="*/ 12172 w 12172"/>
                  <a:gd name="connsiteY2" fmla="*/ 44637 h 44637"/>
                  <a:gd name="connsiteX3" fmla="*/ 0 w 12172"/>
                  <a:gd name="connsiteY3" fmla="*/ 44637 h 44637"/>
                </a:gdLst>
                <a:ahLst/>
                <a:cxnLst>
                  <a:cxn ang="0">
                    <a:pos x="connsiteX0" y="connsiteY0"/>
                  </a:cxn>
                  <a:cxn ang="0">
                    <a:pos x="connsiteX1" y="connsiteY1"/>
                  </a:cxn>
                  <a:cxn ang="0">
                    <a:pos x="connsiteX2" y="connsiteY2"/>
                  </a:cxn>
                  <a:cxn ang="0">
                    <a:pos x="connsiteX3" y="connsiteY3"/>
                  </a:cxn>
                </a:cxnLst>
                <a:rect l="l" t="t" r="r" b="b"/>
                <a:pathLst>
                  <a:path w="12172" h="44637">
                    <a:moveTo>
                      <a:pt x="0" y="0"/>
                    </a:moveTo>
                    <a:lnTo>
                      <a:pt x="12172" y="0"/>
                    </a:lnTo>
                    <a:lnTo>
                      <a:pt x="12172" y="44637"/>
                    </a:lnTo>
                    <a:lnTo>
                      <a:pt x="0" y="44637"/>
                    </a:lnTo>
                    <a:close/>
                  </a:path>
                </a:pathLst>
              </a:custGeom>
              <a:solidFill>
                <a:srgbClr val="3B4143"/>
              </a:solidFill>
              <a:ln w="0" cap="flat">
                <a:noFill/>
                <a:prstDash val="solid"/>
                <a:miter/>
              </a:ln>
            </p:spPr>
            <p:txBody>
              <a:bodyPr rtlCol="0" anchor="ctr"/>
              <a:lstStyle/>
              <a:p>
                <a:endParaRPr lang="en-US"/>
              </a:p>
            </p:txBody>
          </p:sp>
          <p:sp>
            <p:nvSpPr>
              <p:cNvPr id="38" name="Freeform 24">
                <a:extLst>
                  <a:ext uri="{FF2B5EF4-FFF2-40B4-BE49-F238E27FC236}">
                    <a16:creationId xmlns:a16="http://schemas.microsoft.com/office/drawing/2014/main" id="{5F68A850-59B7-36F3-84D7-B1C36AAAD7AF}"/>
                  </a:ext>
                </a:extLst>
              </p:cNvPr>
              <p:cNvSpPr/>
              <p:nvPr/>
            </p:nvSpPr>
            <p:spPr>
              <a:xfrm>
                <a:off x="5802405" y="5862923"/>
                <a:ext cx="23476" cy="78550"/>
              </a:xfrm>
              <a:custGeom>
                <a:avLst/>
                <a:gdLst>
                  <a:gd name="connsiteX0" fmla="*/ 23476 w 23476"/>
                  <a:gd name="connsiteY0" fmla="*/ 0 h 78550"/>
                  <a:gd name="connsiteX1" fmla="*/ 0 w 23476"/>
                  <a:gd name="connsiteY1" fmla="*/ 78551 h 78550"/>
                  <a:gd name="connsiteX2" fmla="*/ 23476 w 23476"/>
                  <a:gd name="connsiteY2" fmla="*/ 78551 h 78550"/>
                  <a:gd name="connsiteX3" fmla="*/ 23476 w 23476"/>
                  <a:gd name="connsiteY3" fmla="*/ 0 h 78550"/>
                </a:gdLst>
                <a:ahLst/>
                <a:cxnLst>
                  <a:cxn ang="0">
                    <a:pos x="connsiteX0" y="connsiteY0"/>
                  </a:cxn>
                  <a:cxn ang="0">
                    <a:pos x="connsiteX1" y="connsiteY1"/>
                  </a:cxn>
                  <a:cxn ang="0">
                    <a:pos x="connsiteX2" y="connsiteY2"/>
                  </a:cxn>
                  <a:cxn ang="0">
                    <a:pos x="connsiteX3" y="connsiteY3"/>
                  </a:cxn>
                </a:cxnLst>
                <a:rect l="l" t="t" r="r" b="b"/>
                <a:pathLst>
                  <a:path w="23476" h="78550">
                    <a:moveTo>
                      <a:pt x="23476" y="0"/>
                    </a:moveTo>
                    <a:lnTo>
                      <a:pt x="0" y="78551"/>
                    </a:lnTo>
                    <a:lnTo>
                      <a:pt x="23476" y="78551"/>
                    </a:lnTo>
                    <a:lnTo>
                      <a:pt x="23476" y="0"/>
                    </a:lnTo>
                    <a:close/>
                  </a:path>
                </a:pathLst>
              </a:custGeom>
              <a:solidFill>
                <a:srgbClr val="708731"/>
              </a:solidFill>
              <a:ln w="0" cap="flat">
                <a:noFill/>
                <a:prstDash val="solid"/>
                <a:miter/>
              </a:ln>
            </p:spPr>
            <p:txBody>
              <a:bodyPr rtlCol="0" anchor="ctr"/>
              <a:lstStyle/>
              <a:p>
                <a:endParaRPr lang="en-US"/>
              </a:p>
            </p:txBody>
          </p:sp>
          <p:sp>
            <p:nvSpPr>
              <p:cNvPr id="39" name="Freeform 25">
                <a:extLst>
                  <a:ext uri="{FF2B5EF4-FFF2-40B4-BE49-F238E27FC236}">
                    <a16:creationId xmlns:a16="http://schemas.microsoft.com/office/drawing/2014/main" id="{9186889E-B0E7-7681-5883-0B9F45B0B78D}"/>
                  </a:ext>
                </a:extLst>
              </p:cNvPr>
              <p:cNvSpPr/>
              <p:nvPr/>
            </p:nvSpPr>
            <p:spPr>
              <a:xfrm>
                <a:off x="5825881" y="5862923"/>
                <a:ext cx="23186" cy="78550"/>
              </a:xfrm>
              <a:custGeom>
                <a:avLst/>
                <a:gdLst>
                  <a:gd name="connsiteX0" fmla="*/ 0 w 23186"/>
                  <a:gd name="connsiteY0" fmla="*/ 0 h 78550"/>
                  <a:gd name="connsiteX1" fmla="*/ 23186 w 23186"/>
                  <a:gd name="connsiteY1" fmla="*/ 78551 h 78550"/>
                  <a:gd name="connsiteX2" fmla="*/ 0 w 23186"/>
                  <a:gd name="connsiteY2" fmla="*/ 78551 h 78550"/>
                  <a:gd name="connsiteX3" fmla="*/ 0 w 23186"/>
                  <a:gd name="connsiteY3" fmla="*/ 0 h 78550"/>
                </a:gdLst>
                <a:ahLst/>
                <a:cxnLst>
                  <a:cxn ang="0">
                    <a:pos x="connsiteX0" y="connsiteY0"/>
                  </a:cxn>
                  <a:cxn ang="0">
                    <a:pos x="connsiteX1" y="connsiteY1"/>
                  </a:cxn>
                  <a:cxn ang="0">
                    <a:pos x="connsiteX2" y="connsiteY2"/>
                  </a:cxn>
                  <a:cxn ang="0">
                    <a:pos x="connsiteX3" y="connsiteY3"/>
                  </a:cxn>
                </a:cxnLst>
                <a:rect l="l" t="t" r="r" b="b"/>
                <a:pathLst>
                  <a:path w="23186" h="78550">
                    <a:moveTo>
                      <a:pt x="0" y="0"/>
                    </a:moveTo>
                    <a:lnTo>
                      <a:pt x="23186" y="78551"/>
                    </a:lnTo>
                    <a:lnTo>
                      <a:pt x="0" y="78551"/>
                    </a:lnTo>
                    <a:lnTo>
                      <a:pt x="0" y="0"/>
                    </a:lnTo>
                    <a:close/>
                  </a:path>
                </a:pathLst>
              </a:custGeom>
              <a:solidFill>
                <a:srgbClr val="A6A928"/>
              </a:solidFill>
              <a:ln w="0" cap="flat">
                <a:noFill/>
                <a:prstDash val="solid"/>
                <a:miter/>
              </a:ln>
            </p:spPr>
            <p:txBody>
              <a:bodyPr rtlCol="0" anchor="ctr"/>
              <a:lstStyle/>
              <a:p>
                <a:endParaRPr lang="en-US"/>
              </a:p>
            </p:txBody>
          </p:sp>
        </p:grpSp>
        <p:grpSp>
          <p:nvGrpSpPr>
            <p:cNvPr id="21" name="Graphic 5">
              <a:extLst>
                <a:ext uri="{FF2B5EF4-FFF2-40B4-BE49-F238E27FC236}">
                  <a16:creationId xmlns:a16="http://schemas.microsoft.com/office/drawing/2014/main" id="{AD3A634C-430E-449E-2447-16474BF4FA23}"/>
                </a:ext>
              </a:extLst>
            </p:cNvPr>
            <p:cNvGrpSpPr/>
            <p:nvPr/>
          </p:nvGrpSpPr>
          <p:grpSpPr>
            <a:xfrm>
              <a:off x="7217071" y="3835575"/>
              <a:ext cx="312573" cy="721402"/>
              <a:chOff x="6294240" y="5831039"/>
              <a:chExt cx="60283" cy="139130"/>
            </a:xfrm>
          </p:grpSpPr>
          <p:sp>
            <p:nvSpPr>
              <p:cNvPr id="34" name="Freeform 27">
                <a:extLst>
                  <a:ext uri="{FF2B5EF4-FFF2-40B4-BE49-F238E27FC236}">
                    <a16:creationId xmlns:a16="http://schemas.microsoft.com/office/drawing/2014/main" id="{7D6B29AC-2CC8-E32F-8FF9-9F203CAFE9FD}"/>
                  </a:ext>
                </a:extLst>
              </p:cNvPr>
              <p:cNvSpPr/>
              <p:nvPr/>
            </p:nvSpPr>
            <p:spPr>
              <a:xfrm>
                <a:off x="6316267" y="5912199"/>
                <a:ext cx="15940" cy="57971"/>
              </a:xfrm>
              <a:custGeom>
                <a:avLst/>
                <a:gdLst>
                  <a:gd name="connsiteX0" fmla="*/ 0 w 15940"/>
                  <a:gd name="connsiteY0" fmla="*/ 0 h 57971"/>
                  <a:gd name="connsiteX1" fmla="*/ 15940 w 15940"/>
                  <a:gd name="connsiteY1" fmla="*/ 0 h 57971"/>
                  <a:gd name="connsiteX2" fmla="*/ 15940 w 15940"/>
                  <a:gd name="connsiteY2" fmla="*/ 57972 h 57971"/>
                  <a:gd name="connsiteX3" fmla="*/ 0 w 15940"/>
                  <a:gd name="connsiteY3" fmla="*/ 57972 h 57971"/>
                </a:gdLst>
                <a:ahLst/>
                <a:cxnLst>
                  <a:cxn ang="0">
                    <a:pos x="connsiteX0" y="connsiteY0"/>
                  </a:cxn>
                  <a:cxn ang="0">
                    <a:pos x="connsiteX1" y="connsiteY1"/>
                  </a:cxn>
                  <a:cxn ang="0">
                    <a:pos x="connsiteX2" y="connsiteY2"/>
                  </a:cxn>
                  <a:cxn ang="0">
                    <a:pos x="connsiteX3" y="connsiteY3"/>
                  </a:cxn>
                </a:cxnLst>
                <a:rect l="l" t="t" r="r" b="b"/>
                <a:pathLst>
                  <a:path w="15940" h="57971">
                    <a:moveTo>
                      <a:pt x="0" y="0"/>
                    </a:moveTo>
                    <a:lnTo>
                      <a:pt x="15940" y="0"/>
                    </a:lnTo>
                    <a:lnTo>
                      <a:pt x="15940" y="57972"/>
                    </a:lnTo>
                    <a:lnTo>
                      <a:pt x="0" y="57972"/>
                    </a:lnTo>
                    <a:close/>
                  </a:path>
                </a:pathLst>
              </a:custGeom>
              <a:solidFill>
                <a:srgbClr val="3B4143"/>
              </a:solidFill>
              <a:ln w="0" cap="flat">
                <a:noFill/>
                <a:prstDash val="solid"/>
                <a:miter/>
              </a:ln>
            </p:spPr>
            <p:txBody>
              <a:bodyPr rtlCol="0" anchor="ctr"/>
              <a:lstStyle/>
              <a:p>
                <a:endParaRPr lang="en-US"/>
              </a:p>
            </p:txBody>
          </p:sp>
          <p:sp>
            <p:nvSpPr>
              <p:cNvPr id="35" name="Freeform 28">
                <a:extLst>
                  <a:ext uri="{FF2B5EF4-FFF2-40B4-BE49-F238E27FC236}">
                    <a16:creationId xmlns:a16="http://schemas.microsoft.com/office/drawing/2014/main" id="{BB0C024F-0F27-0A1C-7B9A-32AF471673C9}"/>
                  </a:ext>
                </a:extLst>
              </p:cNvPr>
              <p:cNvSpPr/>
              <p:nvPr/>
            </p:nvSpPr>
            <p:spPr>
              <a:xfrm>
                <a:off x="6294240" y="5831039"/>
                <a:ext cx="30141" cy="101739"/>
              </a:xfrm>
              <a:custGeom>
                <a:avLst/>
                <a:gdLst>
                  <a:gd name="connsiteX0" fmla="*/ 30142 w 30141"/>
                  <a:gd name="connsiteY0" fmla="*/ 0 h 101739"/>
                  <a:gd name="connsiteX1" fmla="*/ 0 w 30141"/>
                  <a:gd name="connsiteY1" fmla="*/ 101739 h 101739"/>
                  <a:gd name="connsiteX2" fmla="*/ 30142 w 30141"/>
                  <a:gd name="connsiteY2" fmla="*/ 101739 h 101739"/>
                  <a:gd name="connsiteX3" fmla="*/ 30142 w 30141"/>
                  <a:gd name="connsiteY3" fmla="*/ 0 h 101739"/>
                </a:gdLst>
                <a:ahLst/>
                <a:cxnLst>
                  <a:cxn ang="0">
                    <a:pos x="connsiteX0" y="connsiteY0"/>
                  </a:cxn>
                  <a:cxn ang="0">
                    <a:pos x="connsiteX1" y="connsiteY1"/>
                  </a:cxn>
                  <a:cxn ang="0">
                    <a:pos x="connsiteX2" y="connsiteY2"/>
                  </a:cxn>
                  <a:cxn ang="0">
                    <a:pos x="connsiteX3" y="connsiteY3"/>
                  </a:cxn>
                </a:cxnLst>
                <a:rect l="l" t="t" r="r" b="b"/>
                <a:pathLst>
                  <a:path w="30141" h="101739">
                    <a:moveTo>
                      <a:pt x="30142" y="0"/>
                    </a:moveTo>
                    <a:lnTo>
                      <a:pt x="0" y="101739"/>
                    </a:lnTo>
                    <a:lnTo>
                      <a:pt x="30142" y="101739"/>
                    </a:lnTo>
                    <a:lnTo>
                      <a:pt x="30142" y="0"/>
                    </a:lnTo>
                    <a:close/>
                  </a:path>
                </a:pathLst>
              </a:custGeom>
              <a:solidFill>
                <a:srgbClr val="708731"/>
              </a:solidFill>
              <a:ln w="0" cap="flat">
                <a:noFill/>
                <a:prstDash val="solid"/>
                <a:miter/>
              </a:ln>
            </p:spPr>
            <p:txBody>
              <a:bodyPr rtlCol="0" anchor="ctr"/>
              <a:lstStyle/>
              <a:p>
                <a:endParaRPr lang="en-US"/>
              </a:p>
            </p:txBody>
          </p:sp>
          <p:sp>
            <p:nvSpPr>
              <p:cNvPr id="36" name="Freeform 29">
                <a:extLst>
                  <a:ext uri="{FF2B5EF4-FFF2-40B4-BE49-F238E27FC236}">
                    <a16:creationId xmlns:a16="http://schemas.microsoft.com/office/drawing/2014/main" id="{E7C09286-A4A0-8B35-8B5F-9304EA5CB9BD}"/>
                  </a:ext>
                </a:extLst>
              </p:cNvPr>
              <p:cNvSpPr/>
              <p:nvPr/>
            </p:nvSpPr>
            <p:spPr>
              <a:xfrm>
                <a:off x="6324382" y="5831039"/>
                <a:ext cx="30141" cy="101739"/>
              </a:xfrm>
              <a:custGeom>
                <a:avLst/>
                <a:gdLst>
                  <a:gd name="connsiteX0" fmla="*/ 0 w 30141"/>
                  <a:gd name="connsiteY0" fmla="*/ 0 h 101739"/>
                  <a:gd name="connsiteX1" fmla="*/ 30142 w 30141"/>
                  <a:gd name="connsiteY1" fmla="*/ 101739 h 101739"/>
                  <a:gd name="connsiteX2" fmla="*/ 0 w 30141"/>
                  <a:gd name="connsiteY2" fmla="*/ 101739 h 101739"/>
                  <a:gd name="connsiteX3" fmla="*/ 0 w 30141"/>
                  <a:gd name="connsiteY3" fmla="*/ 0 h 101739"/>
                </a:gdLst>
                <a:ahLst/>
                <a:cxnLst>
                  <a:cxn ang="0">
                    <a:pos x="connsiteX0" y="connsiteY0"/>
                  </a:cxn>
                  <a:cxn ang="0">
                    <a:pos x="connsiteX1" y="connsiteY1"/>
                  </a:cxn>
                  <a:cxn ang="0">
                    <a:pos x="connsiteX2" y="connsiteY2"/>
                  </a:cxn>
                  <a:cxn ang="0">
                    <a:pos x="connsiteX3" y="connsiteY3"/>
                  </a:cxn>
                </a:cxnLst>
                <a:rect l="l" t="t" r="r" b="b"/>
                <a:pathLst>
                  <a:path w="30141" h="101739">
                    <a:moveTo>
                      <a:pt x="0" y="0"/>
                    </a:moveTo>
                    <a:lnTo>
                      <a:pt x="30142" y="101739"/>
                    </a:lnTo>
                    <a:lnTo>
                      <a:pt x="0" y="101739"/>
                    </a:lnTo>
                    <a:lnTo>
                      <a:pt x="0" y="0"/>
                    </a:lnTo>
                    <a:close/>
                  </a:path>
                </a:pathLst>
              </a:custGeom>
              <a:solidFill>
                <a:srgbClr val="A6A928"/>
              </a:solidFill>
              <a:ln w="0" cap="flat">
                <a:noFill/>
                <a:prstDash val="solid"/>
                <a:miter/>
              </a:ln>
            </p:spPr>
            <p:txBody>
              <a:bodyPr rtlCol="0" anchor="ctr"/>
              <a:lstStyle/>
              <a:p>
                <a:endParaRPr lang="en-US"/>
              </a:p>
            </p:txBody>
          </p:sp>
        </p:grpSp>
        <p:grpSp>
          <p:nvGrpSpPr>
            <p:cNvPr id="22" name="Graphic 5">
              <a:extLst>
                <a:ext uri="{FF2B5EF4-FFF2-40B4-BE49-F238E27FC236}">
                  <a16:creationId xmlns:a16="http://schemas.microsoft.com/office/drawing/2014/main" id="{C3B653A1-AB1B-F266-9FEF-F943F311FD99}"/>
                </a:ext>
              </a:extLst>
            </p:cNvPr>
            <p:cNvGrpSpPr/>
            <p:nvPr/>
          </p:nvGrpSpPr>
          <p:grpSpPr>
            <a:xfrm>
              <a:off x="6590411" y="4000896"/>
              <a:ext cx="241947" cy="556080"/>
              <a:chOff x="6173382" y="5862923"/>
              <a:chExt cx="46662" cy="107246"/>
            </a:xfrm>
          </p:grpSpPr>
          <p:sp>
            <p:nvSpPr>
              <p:cNvPr id="31" name="Freeform 42">
                <a:extLst>
                  <a:ext uri="{FF2B5EF4-FFF2-40B4-BE49-F238E27FC236}">
                    <a16:creationId xmlns:a16="http://schemas.microsoft.com/office/drawing/2014/main" id="{359028ED-9393-C318-E263-F49BDC0D87C9}"/>
                  </a:ext>
                </a:extLst>
              </p:cNvPr>
              <p:cNvSpPr/>
              <p:nvPr/>
            </p:nvSpPr>
            <p:spPr>
              <a:xfrm>
                <a:off x="6190482" y="5925532"/>
                <a:ext cx="12172" cy="44637"/>
              </a:xfrm>
              <a:custGeom>
                <a:avLst/>
                <a:gdLst>
                  <a:gd name="connsiteX0" fmla="*/ 0 w 12172"/>
                  <a:gd name="connsiteY0" fmla="*/ 0 h 44637"/>
                  <a:gd name="connsiteX1" fmla="*/ 12172 w 12172"/>
                  <a:gd name="connsiteY1" fmla="*/ 0 h 44637"/>
                  <a:gd name="connsiteX2" fmla="*/ 12172 w 12172"/>
                  <a:gd name="connsiteY2" fmla="*/ 44637 h 44637"/>
                  <a:gd name="connsiteX3" fmla="*/ 0 w 12172"/>
                  <a:gd name="connsiteY3" fmla="*/ 44637 h 44637"/>
                </a:gdLst>
                <a:ahLst/>
                <a:cxnLst>
                  <a:cxn ang="0">
                    <a:pos x="connsiteX0" y="connsiteY0"/>
                  </a:cxn>
                  <a:cxn ang="0">
                    <a:pos x="connsiteX1" y="connsiteY1"/>
                  </a:cxn>
                  <a:cxn ang="0">
                    <a:pos x="connsiteX2" y="connsiteY2"/>
                  </a:cxn>
                  <a:cxn ang="0">
                    <a:pos x="connsiteX3" y="connsiteY3"/>
                  </a:cxn>
                </a:cxnLst>
                <a:rect l="l" t="t" r="r" b="b"/>
                <a:pathLst>
                  <a:path w="12172" h="44637">
                    <a:moveTo>
                      <a:pt x="0" y="0"/>
                    </a:moveTo>
                    <a:lnTo>
                      <a:pt x="12172" y="0"/>
                    </a:lnTo>
                    <a:lnTo>
                      <a:pt x="12172" y="44637"/>
                    </a:lnTo>
                    <a:lnTo>
                      <a:pt x="0" y="44637"/>
                    </a:lnTo>
                    <a:close/>
                  </a:path>
                </a:pathLst>
              </a:custGeom>
              <a:solidFill>
                <a:srgbClr val="3B4143"/>
              </a:solidFill>
              <a:ln w="0" cap="flat">
                <a:noFill/>
                <a:prstDash val="solid"/>
                <a:miter/>
              </a:ln>
            </p:spPr>
            <p:txBody>
              <a:bodyPr rtlCol="0" anchor="ctr"/>
              <a:lstStyle/>
              <a:p>
                <a:endParaRPr lang="en-US"/>
              </a:p>
            </p:txBody>
          </p:sp>
          <p:sp>
            <p:nvSpPr>
              <p:cNvPr id="32" name="Freeform 43">
                <a:extLst>
                  <a:ext uri="{FF2B5EF4-FFF2-40B4-BE49-F238E27FC236}">
                    <a16:creationId xmlns:a16="http://schemas.microsoft.com/office/drawing/2014/main" id="{00FC37FC-1932-9DDA-EEE7-3DFA54D5865C}"/>
                  </a:ext>
                </a:extLst>
              </p:cNvPr>
              <p:cNvSpPr/>
              <p:nvPr/>
            </p:nvSpPr>
            <p:spPr>
              <a:xfrm>
                <a:off x="6173382" y="5862923"/>
                <a:ext cx="23476" cy="78550"/>
              </a:xfrm>
              <a:custGeom>
                <a:avLst/>
                <a:gdLst>
                  <a:gd name="connsiteX0" fmla="*/ 23476 w 23476"/>
                  <a:gd name="connsiteY0" fmla="*/ 0 h 78550"/>
                  <a:gd name="connsiteX1" fmla="*/ 0 w 23476"/>
                  <a:gd name="connsiteY1" fmla="*/ 78551 h 78550"/>
                  <a:gd name="connsiteX2" fmla="*/ 23476 w 23476"/>
                  <a:gd name="connsiteY2" fmla="*/ 78551 h 78550"/>
                  <a:gd name="connsiteX3" fmla="*/ 23476 w 23476"/>
                  <a:gd name="connsiteY3" fmla="*/ 0 h 78550"/>
                </a:gdLst>
                <a:ahLst/>
                <a:cxnLst>
                  <a:cxn ang="0">
                    <a:pos x="connsiteX0" y="connsiteY0"/>
                  </a:cxn>
                  <a:cxn ang="0">
                    <a:pos x="connsiteX1" y="connsiteY1"/>
                  </a:cxn>
                  <a:cxn ang="0">
                    <a:pos x="connsiteX2" y="connsiteY2"/>
                  </a:cxn>
                  <a:cxn ang="0">
                    <a:pos x="connsiteX3" y="connsiteY3"/>
                  </a:cxn>
                </a:cxnLst>
                <a:rect l="l" t="t" r="r" b="b"/>
                <a:pathLst>
                  <a:path w="23476" h="78550">
                    <a:moveTo>
                      <a:pt x="23476" y="0"/>
                    </a:moveTo>
                    <a:lnTo>
                      <a:pt x="0" y="78551"/>
                    </a:lnTo>
                    <a:lnTo>
                      <a:pt x="23476" y="78551"/>
                    </a:lnTo>
                    <a:lnTo>
                      <a:pt x="23476" y="0"/>
                    </a:lnTo>
                    <a:close/>
                  </a:path>
                </a:pathLst>
              </a:custGeom>
              <a:solidFill>
                <a:srgbClr val="708731"/>
              </a:solidFill>
              <a:ln w="0" cap="flat">
                <a:noFill/>
                <a:prstDash val="solid"/>
                <a:miter/>
              </a:ln>
            </p:spPr>
            <p:txBody>
              <a:bodyPr rtlCol="0" anchor="ctr"/>
              <a:lstStyle/>
              <a:p>
                <a:endParaRPr lang="en-US"/>
              </a:p>
            </p:txBody>
          </p:sp>
          <p:sp>
            <p:nvSpPr>
              <p:cNvPr id="33" name="Freeform 44">
                <a:extLst>
                  <a:ext uri="{FF2B5EF4-FFF2-40B4-BE49-F238E27FC236}">
                    <a16:creationId xmlns:a16="http://schemas.microsoft.com/office/drawing/2014/main" id="{C9A0F07D-3EFC-8FF4-B003-CDEAD618A173}"/>
                  </a:ext>
                </a:extLst>
              </p:cNvPr>
              <p:cNvSpPr/>
              <p:nvPr/>
            </p:nvSpPr>
            <p:spPr>
              <a:xfrm>
                <a:off x="6196859" y="5862923"/>
                <a:ext cx="23186" cy="78550"/>
              </a:xfrm>
              <a:custGeom>
                <a:avLst/>
                <a:gdLst>
                  <a:gd name="connsiteX0" fmla="*/ 0 w 23186"/>
                  <a:gd name="connsiteY0" fmla="*/ 0 h 78550"/>
                  <a:gd name="connsiteX1" fmla="*/ 23186 w 23186"/>
                  <a:gd name="connsiteY1" fmla="*/ 78551 h 78550"/>
                  <a:gd name="connsiteX2" fmla="*/ 0 w 23186"/>
                  <a:gd name="connsiteY2" fmla="*/ 78551 h 78550"/>
                  <a:gd name="connsiteX3" fmla="*/ 0 w 23186"/>
                  <a:gd name="connsiteY3" fmla="*/ 0 h 78550"/>
                </a:gdLst>
                <a:ahLst/>
                <a:cxnLst>
                  <a:cxn ang="0">
                    <a:pos x="connsiteX0" y="connsiteY0"/>
                  </a:cxn>
                  <a:cxn ang="0">
                    <a:pos x="connsiteX1" y="connsiteY1"/>
                  </a:cxn>
                  <a:cxn ang="0">
                    <a:pos x="connsiteX2" y="connsiteY2"/>
                  </a:cxn>
                  <a:cxn ang="0">
                    <a:pos x="connsiteX3" y="connsiteY3"/>
                  </a:cxn>
                </a:cxnLst>
                <a:rect l="l" t="t" r="r" b="b"/>
                <a:pathLst>
                  <a:path w="23186" h="78550">
                    <a:moveTo>
                      <a:pt x="0" y="0"/>
                    </a:moveTo>
                    <a:lnTo>
                      <a:pt x="23186" y="78551"/>
                    </a:lnTo>
                    <a:lnTo>
                      <a:pt x="0" y="78551"/>
                    </a:lnTo>
                    <a:lnTo>
                      <a:pt x="0" y="0"/>
                    </a:lnTo>
                    <a:close/>
                  </a:path>
                </a:pathLst>
              </a:custGeom>
              <a:solidFill>
                <a:srgbClr val="A6A928"/>
              </a:solidFill>
              <a:ln w="0" cap="flat">
                <a:noFill/>
                <a:prstDash val="solid"/>
                <a:miter/>
              </a:ln>
            </p:spPr>
            <p:txBody>
              <a:bodyPr rtlCol="0" anchor="ctr"/>
              <a:lstStyle/>
              <a:p>
                <a:endParaRPr lang="en-US"/>
              </a:p>
            </p:txBody>
          </p:sp>
        </p:grpSp>
        <p:grpSp>
          <p:nvGrpSpPr>
            <p:cNvPr id="23" name="Graphic 5">
              <a:extLst>
                <a:ext uri="{FF2B5EF4-FFF2-40B4-BE49-F238E27FC236}">
                  <a16:creationId xmlns:a16="http://schemas.microsoft.com/office/drawing/2014/main" id="{B0DF8331-78E3-4F3B-1398-B710C35D6B3F}"/>
                </a:ext>
              </a:extLst>
            </p:cNvPr>
            <p:cNvGrpSpPr/>
            <p:nvPr/>
          </p:nvGrpSpPr>
          <p:grpSpPr>
            <a:xfrm>
              <a:off x="7741537" y="4000896"/>
              <a:ext cx="241942" cy="556080"/>
              <a:chOff x="6395389" y="5862923"/>
              <a:chExt cx="46661" cy="107246"/>
            </a:xfrm>
          </p:grpSpPr>
          <p:sp>
            <p:nvSpPr>
              <p:cNvPr id="28" name="Freeform 46">
                <a:extLst>
                  <a:ext uri="{FF2B5EF4-FFF2-40B4-BE49-F238E27FC236}">
                    <a16:creationId xmlns:a16="http://schemas.microsoft.com/office/drawing/2014/main" id="{010DFA37-B514-EC65-1653-9A219AAB00A7}"/>
                  </a:ext>
                </a:extLst>
              </p:cNvPr>
              <p:cNvSpPr/>
              <p:nvPr/>
            </p:nvSpPr>
            <p:spPr>
              <a:xfrm>
                <a:off x="6412489" y="5925532"/>
                <a:ext cx="12172" cy="44637"/>
              </a:xfrm>
              <a:custGeom>
                <a:avLst/>
                <a:gdLst>
                  <a:gd name="connsiteX0" fmla="*/ 0 w 12172"/>
                  <a:gd name="connsiteY0" fmla="*/ 0 h 44637"/>
                  <a:gd name="connsiteX1" fmla="*/ 12172 w 12172"/>
                  <a:gd name="connsiteY1" fmla="*/ 0 h 44637"/>
                  <a:gd name="connsiteX2" fmla="*/ 12172 w 12172"/>
                  <a:gd name="connsiteY2" fmla="*/ 44637 h 44637"/>
                  <a:gd name="connsiteX3" fmla="*/ 0 w 12172"/>
                  <a:gd name="connsiteY3" fmla="*/ 44637 h 44637"/>
                </a:gdLst>
                <a:ahLst/>
                <a:cxnLst>
                  <a:cxn ang="0">
                    <a:pos x="connsiteX0" y="connsiteY0"/>
                  </a:cxn>
                  <a:cxn ang="0">
                    <a:pos x="connsiteX1" y="connsiteY1"/>
                  </a:cxn>
                  <a:cxn ang="0">
                    <a:pos x="connsiteX2" y="connsiteY2"/>
                  </a:cxn>
                  <a:cxn ang="0">
                    <a:pos x="connsiteX3" y="connsiteY3"/>
                  </a:cxn>
                </a:cxnLst>
                <a:rect l="l" t="t" r="r" b="b"/>
                <a:pathLst>
                  <a:path w="12172" h="44637">
                    <a:moveTo>
                      <a:pt x="0" y="0"/>
                    </a:moveTo>
                    <a:lnTo>
                      <a:pt x="12172" y="0"/>
                    </a:lnTo>
                    <a:lnTo>
                      <a:pt x="12172" y="44637"/>
                    </a:lnTo>
                    <a:lnTo>
                      <a:pt x="0" y="44637"/>
                    </a:lnTo>
                    <a:close/>
                  </a:path>
                </a:pathLst>
              </a:custGeom>
              <a:solidFill>
                <a:srgbClr val="3B4143"/>
              </a:solidFill>
              <a:ln w="0" cap="flat">
                <a:noFill/>
                <a:prstDash val="solid"/>
                <a:miter/>
              </a:ln>
            </p:spPr>
            <p:txBody>
              <a:bodyPr rtlCol="0" anchor="ctr"/>
              <a:lstStyle/>
              <a:p>
                <a:endParaRPr lang="en-US"/>
              </a:p>
            </p:txBody>
          </p:sp>
          <p:sp>
            <p:nvSpPr>
              <p:cNvPr id="29" name="Freeform 47">
                <a:extLst>
                  <a:ext uri="{FF2B5EF4-FFF2-40B4-BE49-F238E27FC236}">
                    <a16:creationId xmlns:a16="http://schemas.microsoft.com/office/drawing/2014/main" id="{3FF66291-B5C8-BFDB-2B2D-A9C3F593078B}"/>
                  </a:ext>
                </a:extLst>
              </p:cNvPr>
              <p:cNvSpPr/>
              <p:nvPr/>
            </p:nvSpPr>
            <p:spPr>
              <a:xfrm>
                <a:off x="6395389" y="5862923"/>
                <a:ext cx="23186" cy="78550"/>
              </a:xfrm>
              <a:custGeom>
                <a:avLst/>
                <a:gdLst>
                  <a:gd name="connsiteX0" fmla="*/ 23186 w 23186"/>
                  <a:gd name="connsiteY0" fmla="*/ 0 h 78550"/>
                  <a:gd name="connsiteX1" fmla="*/ 0 w 23186"/>
                  <a:gd name="connsiteY1" fmla="*/ 78551 h 78550"/>
                  <a:gd name="connsiteX2" fmla="*/ 23186 w 23186"/>
                  <a:gd name="connsiteY2" fmla="*/ 78551 h 78550"/>
                  <a:gd name="connsiteX3" fmla="*/ 23186 w 23186"/>
                  <a:gd name="connsiteY3" fmla="*/ 0 h 78550"/>
                </a:gdLst>
                <a:ahLst/>
                <a:cxnLst>
                  <a:cxn ang="0">
                    <a:pos x="connsiteX0" y="connsiteY0"/>
                  </a:cxn>
                  <a:cxn ang="0">
                    <a:pos x="connsiteX1" y="connsiteY1"/>
                  </a:cxn>
                  <a:cxn ang="0">
                    <a:pos x="connsiteX2" y="connsiteY2"/>
                  </a:cxn>
                  <a:cxn ang="0">
                    <a:pos x="connsiteX3" y="connsiteY3"/>
                  </a:cxn>
                </a:cxnLst>
                <a:rect l="l" t="t" r="r" b="b"/>
                <a:pathLst>
                  <a:path w="23186" h="78550">
                    <a:moveTo>
                      <a:pt x="23186" y="0"/>
                    </a:moveTo>
                    <a:lnTo>
                      <a:pt x="0" y="78551"/>
                    </a:lnTo>
                    <a:lnTo>
                      <a:pt x="23186" y="78551"/>
                    </a:lnTo>
                    <a:lnTo>
                      <a:pt x="23186" y="0"/>
                    </a:lnTo>
                    <a:close/>
                  </a:path>
                </a:pathLst>
              </a:custGeom>
              <a:solidFill>
                <a:srgbClr val="708731"/>
              </a:solidFill>
              <a:ln w="0" cap="flat">
                <a:noFill/>
                <a:prstDash val="solid"/>
                <a:miter/>
              </a:ln>
            </p:spPr>
            <p:txBody>
              <a:bodyPr rtlCol="0" anchor="ctr"/>
              <a:lstStyle/>
              <a:p>
                <a:endParaRPr lang="en-US"/>
              </a:p>
            </p:txBody>
          </p:sp>
          <p:sp>
            <p:nvSpPr>
              <p:cNvPr id="30" name="Freeform 48">
                <a:extLst>
                  <a:ext uri="{FF2B5EF4-FFF2-40B4-BE49-F238E27FC236}">
                    <a16:creationId xmlns:a16="http://schemas.microsoft.com/office/drawing/2014/main" id="{D02CB6B7-566D-7576-B8E9-24E0FE32E771}"/>
                  </a:ext>
                </a:extLst>
              </p:cNvPr>
              <p:cNvSpPr/>
              <p:nvPr/>
            </p:nvSpPr>
            <p:spPr>
              <a:xfrm>
                <a:off x="6418575" y="5862923"/>
                <a:ext cx="23475" cy="78550"/>
              </a:xfrm>
              <a:custGeom>
                <a:avLst/>
                <a:gdLst>
                  <a:gd name="connsiteX0" fmla="*/ 0 w 23475"/>
                  <a:gd name="connsiteY0" fmla="*/ 0 h 78550"/>
                  <a:gd name="connsiteX1" fmla="*/ 23476 w 23475"/>
                  <a:gd name="connsiteY1" fmla="*/ 78551 h 78550"/>
                  <a:gd name="connsiteX2" fmla="*/ 0 w 23475"/>
                  <a:gd name="connsiteY2" fmla="*/ 78551 h 78550"/>
                  <a:gd name="connsiteX3" fmla="*/ 0 w 23475"/>
                  <a:gd name="connsiteY3" fmla="*/ 0 h 78550"/>
                </a:gdLst>
                <a:ahLst/>
                <a:cxnLst>
                  <a:cxn ang="0">
                    <a:pos x="connsiteX0" y="connsiteY0"/>
                  </a:cxn>
                  <a:cxn ang="0">
                    <a:pos x="connsiteX1" y="connsiteY1"/>
                  </a:cxn>
                  <a:cxn ang="0">
                    <a:pos x="connsiteX2" y="connsiteY2"/>
                  </a:cxn>
                  <a:cxn ang="0">
                    <a:pos x="connsiteX3" y="connsiteY3"/>
                  </a:cxn>
                </a:cxnLst>
                <a:rect l="l" t="t" r="r" b="b"/>
                <a:pathLst>
                  <a:path w="23475" h="78550">
                    <a:moveTo>
                      <a:pt x="0" y="0"/>
                    </a:moveTo>
                    <a:lnTo>
                      <a:pt x="23476" y="78551"/>
                    </a:lnTo>
                    <a:lnTo>
                      <a:pt x="0" y="78551"/>
                    </a:lnTo>
                    <a:lnTo>
                      <a:pt x="0" y="0"/>
                    </a:lnTo>
                    <a:close/>
                  </a:path>
                </a:pathLst>
              </a:custGeom>
              <a:solidFill>
                <a:srgbClr val="A6A928"/>
              </a:solidFill>
              <a:ln w="0" cap="flat">
                <a:noFill/>
                <a:prstDash val="solid"/>
                <a:miter/>
              </a:ln>
            </p:spPr>
            <p:txBody>
              <a:bodyPr rtlCol="0" anchor="ctr"/>
              <a:lstStyle/>
              <a:p>
                <a:endParaRPr lang="en-US"/>
              </a:p>
            </p:txBody>
          </p:sp>
        </p:grpSp>
        <p:grpSp>
          <p:nvGrpSpPr>
            <p:cNvPr id="24" name="Graphic 5">
              <a:extLst>
                <a:ext uri="{FF2B5EF4-FFF2-40B4-BE49-F238E27FC236}">
                  <a16:creationId xmlns:a16="http://schemas.microsoft.com/office/drawing/2014/main" id="{350B9F90-D721-A3C8-BE54-F20792482104}"/>
                </a:ext>
              </a:extLst>
            </p:cNvPr>
            <p:cNvGrpSpPr/>
            <p:nvPr/>
          </p:nvGrpSpPr>
          <p:grpSpPr>
            <a:xfrm>
              <a:off x="10550224" y="3835575"/>
              <a:ext cx="314077" cy="721402"/>
              <a:chOff x="6937074" y="5831039"/>
              <a:chExt cx="60573" cy="139130"/>
            </a:xfrm>
          </p:grpSpPr>
          <p:sp>
            <p:nvSpPr>
              <p:cNvPr id="25" name="Freeform 50">
                <a:extLst>
                  <a:ext uri="{FF2B5EF4-FFF2-40B4-BE49-F238E27FC236}">
                    <a16:creationId xmlns:a16="http://schemas.microsoft.com/office/drawing/2014/main" id="{1DC60804-4739-2229-C8C7-63C0B0BAA1DC}"/>
                  </a:ext>
                </a:extLst>
              </p:cNvPr>
              <p:cNvSpPr/>
              <p:nvPr/>
            </p:nvSpPr>
            <p:spPr>
              <a:xfrm>
                <a:off x="6959391" y="5912199"/>
                <a:ext cx="15940" cy="57971"/>
              </a:xfrm>
              <a:custGeom>
                <a:avLst/>
                <a:gdLst>
                  <a:gd name="connsiteX0" fmla="*/ 0 w 15940"/>
                  <a:gd name="connsiteY0" fmla="*/ 0 h 57971"/>
                  <a:gd name="connsiteX1" fmla="*/ 15941 w 15940"/>
                  <a:gd name="connsiteY1" fmla="*/ 0 h 57971"/>
                  <a:gd name="connsiteX2" fmla="*/ 15941 w 15940"/>
                  <a:gd name="connsiteY2" fmla="*/ 57972 h 57971"/>
                  <a:gd name="connsiteX3" fmla="*/ 0 w 15940"/>
                  <a:gd name="connsiteY3" fmla="*/ 57972 h 57971"/>
                </a:gdLst>
                <a:ahLst/>
                <a:cxnLst>
                  <a:cxn ang="0">
                    <a:pos x="connsiteX0" y="connsiteY0"/>
                  </a:cxn>
                  <a:cxn ang="0">
                    <a:pos x="connsiteX1" y="connsiteY1"/>
                  </a:cxn>
                  <a:cxn ang="0">
                    <a:pos x="connsiteX2" y="connsiteY2"/>
                  </a:cxn>
                  <a:cxn ang="0">
                    <a:pos x="connsiteX3" y="connsiteY3"/>
                  </a:cxn>
                </a:cxnLst>
                <a:rect l="l" t="t" r="r" b="b"/>
                <a:pathLst>
                  <a:path w="15940" h="57971">
                    <a:moveTo>
                      <a:pt x="0" y="0"/>
                    </a:moveTo>
                    <a:lnTo>
                      <a:pt x="15941" y="0"/>
                    </a:lnTo>
                    <a:lnTo>
                      <a:pt x="15941" y="57972"/>
                    </a:lnTo>
                    <a:lnTo>
                      <a:pt x="0" y="57972"/>
                    </a:lnTo>
                    <a:close/>
                  </a:path>
                </a:pathLst>
              </a:custGeom>
              <a:solidFill>
                <a:srgbClr val="3B4143"/>
              </a:solidFill>
              <a:ln w="0" cap="flat">
                <a:noFill/>
                <a:prstDash val="solid"/>
                <a:miter/>
              </a:ln>
            </p:spPr>
            <p:txBody>
              <a:bodyPr rtlCol="0" anchor="ctr"/>
              <a:lstStyle/>
              <a:p>
                <a:endParaRPr lang="en-US"/>
              </a:p>
            </p:txBody>
          </p:sp>
          <p:sp>
            <p:nvSpPr>
              <p:cNvPr id="26" name="Freeform 51">
                <a:extLst>
                  <a:ext uri="{FF2B5EF4-FFF2-40B4-BE49-F238E27FC236}">
                    <a16:creationId xmlns:a16="http://schemas.microsoft.com/office/drawing/2014/main" id="{C6A80570-8369-6839-C3B5-157C180CA482}"/>
                  </a:ext>
                </a:extLst>
              </p:cNvPr>
              <p:cNvSpPr/>
              <p:nvPr/>
            </p:nvSpPr>
            <p:spPr>
              <a:xfrm>
                <a:off x="6937074" y="5831039"/>
                <a:ext cx="30431" cy="101739"/>
              </a:xfrm>
              <a:custGeom>
                <a:avLst/>
                <a:gdLst>
                  <a:gd name="connsiteX0" fmla="*/ 30432 w 30431"/>
                  <a:gd name="connsiteY0" fmla="*/ 0 h 101739"/>
                  <a:gd name="connsiteX1" fmla="*/ 0 w 30431"/>
                  <a:gd name="connsiteY1" fmla="*/ 101739 h 101739"/>
                  <a:gd name="connsiteX2" fmla="*/ 30432 w 30431"/>
                  <a:gd name="connsiteY2" fmla="*/ 101739 h 101739"/>
                  <a:gd name="connsiteX3" fmla="*/ 30432 w 30431"/>
                  <a:gd name="connsiteY3" fmla="*/ 0 h 101739"/>
                </a:gdLst>
                <a:ahLst/>
                <a:cxnLst>
                  <a:cxn ang="0">
                    <a:pos x="connsiteX0" y="connsiteY0"/>
                  </a:cxn>
                  <a:cxn ang="0">
                    <a:pos x="connsiteX1" y="connsiteY1"/>
                  </a:cxn>
                  <a:cxn ang="0">
                    <a:pos x="connsiteX2" y="connsiteY2"/>
                  </a:cxn>
                  <a:cxn ang="0">
                    <a:pos x="connsiteX3" y="connsiteY3"/>
                  </a:cxn>
                </a:cxnLst>
                <a:rect l="l" t="t" r="r" b="b"/>
                <a:pathLst>
                  <a:path w="30431" h="101739">
                    <a:moveTo>
                      <a:pt x="30432" y="0"/>
                    </a:moveTo>
                    <a:lnTo>
                      <a:pt x="0" y="101739"/>
                    </a:lnTo>
                    <a:lnTo>
                      <a:pt x="30432" y="101739"/>
                    </a:lnTo>
                    <a:lnTo>
                      <a:pt x="30432" y="0"/>
                    </a:lnTo>
                    <a:close/>
                  </a:path>
                </a:pathLst>
              </a:custGeom>
              <a:solidFill>
                <a:srgbClr val="708731"/>
              </a:solidFill>
              <a:ln w="0" cap="flat">
                <a:noFill/>
                <a:prstDash val="solid"/>
                <a:miter/>
              </a:ln>
            </p:spPr>
            <p:txBody>
              <a:bodyPr rtlCol="0" anchor="ctr"/>
              <a:lstStyle/>
              <a:p>
                <a:endParaRPr lang="en-US"/>
              </a:p>
            </p:txBody>
          </p:sp>
          <p:sp>
            <p:nvSpPr>
              <p:cNvPr id="27" name="Freeform 52">
                <a:extLst>
                  <a:ext uri="{FF2B5EF4-FFF2-40B4-BE49-F238E27FC236}">
                    <a16:creationId xmlns:a16="http://schemas.microsoft.com/office/drawing/2014/main" id="{FFDFFD14-7EB2-2393-56CA-5FB669B82508}"/>
                  </a:ext>
                </a:extLst>
              </p:cNvPr>
              <p:cNvSpPr/>
              <p:nvPr/>
            </p:nvSpPr>
            <p:spPr>
              <a:xfrm>
                <a:off x="6967506" y="5831039"/>
                <a:ext cx="30141" cy="101739"/>
              </a:xfrm>
              <a:custGeom>
                <a:avLst/>
                <a:gdLst>
                  <a:gd name="connsiteX0" fmla="*/ 0 w 30141"/>
                  <a:gd name="connsiteY0" fmla="*/ 0 h 101739"/>
                  <a:gd name="connsiteX1" fmla="*/ 30142 w 30141"/>
                  <a:gd name="connsiteY1" fmla="*/ 101739 h 101739"/>
                  <a:gd name="connsiteX2" fmla="*/ 0 w 30141"/>
                  <a:gd name="connsiteY2" fmla="*/ 101739 h 101739"/>
                  <a:gd name="connsiteX3" fmla="*/ 0 w 30141"/>
                  <a:gd name="connsiteY3" fmla="*/ 0 h 101739"/>
                </a:gdLst>
                <a:ahLst/>
                <a:cxnLst>
                  <a:cxn ang="0">
                    <a:pos x="connsiteX0" y="connsiteY0"/>
                  </a:cxn>
                  <a:cxn ang="0">
                    <a:pos x="connsiteX1" y="connsiteY1"/>
                  </a:cxn>
                  <a:cxn ang="0">
                    <a:pos x="connsiteX2" y="connsiteY2"/>
                  </a:cxn>
                  <a:cxn ang="0">
                    <a:pos x="connsiteX3" y="connsiteY3"/>
                  </a:cxn>
                </a:cxnLst>
                <a:rect l="l" t="t" r="r" b="b"/>
                <a:pathLst>
                  <a:path w="30141" h="101739">
                    <a:moveTo>
                      <a:pt x="0" y="0"/>
                    </a:moveTo>
                    <a:lnTo>
                      <a:pt x="30142" y="101739"/>
                    </a:lnTo>
                    <a:lnTo>
                      <a:pt x="0" y="101739"/>
                    </a:lnTo>
                    <a:lnTo>
                      <a:pt x="0" y="0"/>
                    </a:lnTo>
                    <a:close/>
                  </a:path>
                </a:pathLst>
              </a:custGeom>
              <a:solidFill>
                <a:srgbClr val="A6A928"/>
              </a:solidFill>
              <a:ln w="0" cap="flat">
                <a:noFill/>
                <a:prstDash val="solid"/>
                <a:miter/>
              </a:ln>
            </p:spPr>
            <p:txBody>
              <a:bodyPr rtlCol="0" anchor="ctr"/>
              <a:lstStyle/>
              <a:p>
                <a:endParaRPr lang="en-US"/>
              </a:p>
            </p:txBody>
          </p:sp>
        </p:grpSp>
      </p:grpSp>
      <p:grpSp>
        <p:nvGrpSpPr>
          <p:cNvPr id="46" name="Group 45">
            <a:extLst>
              <a:ext uri="{FF2B5EF4-FFF2-40B4-BE49-F238E27FC236}">
                <a16:creationId xmlns:a16="http://schemas.microsoft.com/office/drawing/2014/main" id="{53DD0ABF-4E51-12EF-50FB-5ABD9EA530DB}"/>
              </a:ext>
            </a:extLst>
          </p:cNvPr>
          <p:cNvGrpSpPr/>
          <p:nvPr/>
        </p:nvGrpSpPr>
        <p:grpSpPr>
          <a:xfrm>
            <a:off x="347640" y="3784541"/>
            <a:ext cx="2926080" cy="2644370"/>
            <a:chOff x="332936" y="2258434"/>
            <a:chExt cx="2926080" cy="2644370"/>
          </a:xfrm>
        </p:grpSpPr>
        <p:sp>
          <p:nvSpPr>
            <p:cNvPr id="47" name="TextBox 46">
              <a:extLst>
                <a:ext uri="{FF2B5EF4-FFF2-40B4-BE49-F238E27FC236}">
                  <a16:creationId xmlns:a16="http://schemas.microsoft.com/office/drawing/2014/main" id="{DDB88FE7-49C9-ED3C-59BC-C6E042C2CEA1}"/>
                </a:ext>
              </a:extLst>
            </p:cNvPr>
            <p:cNvSpPr txBox="1"/>
            <p:nvPr/>
          </p:nvSpPr>
          <p:spPr>
            <a:xfrm>
              <a:off x="332936" y="2258434"/>
              <a:ext cx="2926080" cy="830997"/>
            </a:xfrm>
            <a:prstGeom prst="rect">
              <a:avLst/>
            </a:prstGeom>
            <a:noFill/>
          </p:spPr>
          <p:txBody>
            <a:bodyPr wrap="square" lIns="0" rIns="0" rtlCol="0" anchor="b">
              <a:spAutoFit/>
            </a:bodyPr>
            <a:lstStyle/>
            <a:p>
              <a:pPr algn="r"/>
              <a:r>
                <a:rPr lang="en-US" sz="2400" b="1" noProof="1"/>
                <a:t>Context Fragmentation</a:t>
              </a:r>
            </a:p>
          </p:txBody>
        </p:sp>
        <p:sp>
          <p:nvSpPr>
            <p:cNvPr id="48" name="TextBox 47">
              <a:extLst>
                <a:ext uri="{FF2B5EF4-FFF2-40B4-BE49-F238E27FC236}">
                  <a16:creationId xmlns:a16="http://schemas.microsoft.com/office/drawing/2014/main" id="{3054239F-C993-C2D8-3469-3FDE64C2C2AF}"/>
                </a:ext>
              </a:extLst>
            </p:cNvPr>
            <p:cNvSpPr txBox="1"/>
            <p:nvPr/>
          </p:nvSpPr>
          <p:spPr>
            <a:xfrm>
              <a:off x="332936" y="3086922"/>
              <a:ext cx="2926080" cy="1815882"/>
            </a:xfrm>
            <a:prstGeom prst="rect">
              <a:avLst/>
            </a:prstGeom>
            <a:noFill/>
          </p:spPr>
          <p:txBody>
            <a:bodyPr wrap="square" lIns="0" rIns="0" rtlCol="0" anchor="t">
              <a:spAutoFit/>
            </a:bodyPr>
            <a:lstStyle/>
            <a:p>
              <a:r>
                <a:rPr lang="en-US" sz="1600" noProof="1">
                  <a:solidFill>
                    <a:schemeClr val="tx1">
                      <a:lumMod val="65000"/>
                      <a:lumOff val="35000"/>
                    </a:schemeClr>
                  </a:solidFill>
                </a:rPr>
                <a:t>Humans hold multiple constraints in our mind both how semantic meaning should meet formal rules (up/down, across). LLMs attention mechanism may not retain the entire set of constraints.</a:t>
              </a:r>
            </a:p>
          </p:txBody>
        </p:sp>
      </p:grpSp>
      <p:grpSp>
        <p:nvGrpSpPr>
          <p:cNvPr id="49" name="Group 48">
            <a:extLst>
              <a:ext uri="{FF2B5EF4-FFF2-40B4-BE49-F238E27FC236}">
                <a16:creationId xmlns:a16="http://schemas.microsoft.com/office/drawing/2014/main" id="{D6392C84-A680-FD16-EA14-092AE640C832}"/>
              </a:ext>
            </a:extLst>
          </p:cNvPr>
          <p:cNvGrpSpPr/>
          <p:nvPr/>
        </p:nvGrpSpPr>
        <p:grpSpPr>
          <a:xfrm>
            <a:off x="3973240" y="3952693"/>
            <a:ext cx="2926080" cy="2521259"/>
            <a:chOff x="332936" y="2627766"/>
            <a:chExt cx="2926080" cy="2521259"/>
          </a:xfrm>
        </p:grpSpPr>
        <p:sp>
          <p:nvSpPr>
            <p:cNvPr id="50" name="TextBox 49">
              <a:extLst>
                <a:ext uri="{FF2B5EF4-FFF2-40B4-BE49-F238E27FC236}">
                  <a16:creationId xmlns:a16="http://schemas.microsoft.com/office/drawing/2014/main" id="{AE92A814-E3B7-8567-2219-D5258AB2A8A5}"/>
                </a:ext>
              </a:extLst>
            </p:cNvPr>
            <p:cNvSpPr txBox="1"/>
            <p:nvPr/>
          </p:nvSpPr>
          <p:spPr>
            <a:xfrm>
              <a:off x="332936" y="2627766"/>
              <a:ext cx="2926080" cy="461665"/>
            </a:xfrm>
            <a:prstGeom prst="rect">
              <a:avLst/>
            </a:prstGeom>
            <a:noFill/>
          </p:spPr>
          <p:txBody>
            <a:bodyPr wrap="square" lIns="0" rIns="0" rtlCol="0" anchor="b">
              <a:spAutoFit/>
            </a:bodyPr>
            <a:lstStyle/>
            <a:p>
              <a:pPr algn="ctr"/>
              <a:r>
                <a:rPr lang="en-US" sz="2400" b="1" noProof="1"/>
                <a:t>False Confidence </a:t>
              </a:r>
            </a:p>
          </p:txBody>
        </p:sp>
        <p:sp>
          <p:nvSpPr>
            <p:cNvPr id="51" name="TextBox 50">
              <a:extLst>
                <a:ext uri="{FF2B5EF4-FFF2-40B4-BE49-F238E27FC236}">
                  <a16:creationId xmlns:a16="http://schemas.microsoft.com/office/drawing/2014/main" id="{F830B15B-CC76-2BE2-7275-8A0E256F7B8D}"/>
                </a:ext>
              </a:extLst>
            </p:cNvPr>
            <p:cNvSpPr txBox="1"/>
            <p:nvPr/>
          </p:nvSpPr>
          <p:spPr>
            <a:xfrm>
              <a:off x="332936" y="3086922"/>
              <a:ext cx="2926080" cy="2062103"/>
            </a:xfrm>
            <a:prstGeom prst="rect">
              <a:avLst/>
            </a:prstGeom>
            <a:noFill/>
          </p:spPr>
          <p:txBody>
            <a:bodyPr wrap="square" lIns="0" rIns="0" rtlCol="0" anchor="t">
              <a:spAutoFit/>
            </a:bodyPr>
            <a:lstStyle/>
            <a:p>
              <a:r>
                <a:rPr lang="en-US" sz="1600" noProof="1">
                  <a:solidFill>
                    <a:schemeClr val="tx1">
                      <a:lumMod val="65000"/>
                      <a:lumOff val="35000"/>
                    </a:schemeClr>
                  </a:solidFill>
                </a:rPr>
                <a:t>LLMs are not well calibrated. Due to their pretraining and amount of data, the probability masses are dramatically skewed (overconfident). LLMs tend to behave overconfident when faced with ambiguous or constraint heavy problems..</a:t>
              </a:r>
            </a:p>
          </p:txBody>
        </p:sp>
      </p:grpSp>
      <p:grpSp>
        <p:nvGrpSpPr>
          <p:cNvPr id="52" name="Group 51">
            <a:extLst>
              <a:ext uri="{FF2B5EF4-FFF2-40B4-BE49-F238E27FC236}">
                <a16:creationId xmlns:a16="http://schemas.microsoft.com/office/drawing/2014/main" id="{4B83F913-588F-414D-1C6D-5196BA6787DD}"/>
              </a:ext>
            </a:extLst>
          </p:cNvPr>
          <p:cNvGrpSpPr/>
          <p:nvPr/>
        </p:nvGrpSpPr>
        <p:grpSpPr>
          <a:xfrm>
            <a:off x="7586224" y="3790883"/>
            <a:ext cx="3635762" cy="2644370"/>
            <a:chOff x="332936" y="2258434"/>
            <a:chExt cx="2926080" cy="2644370"/>
          </a:xfrm>
        </p:grpSpPr>
        <p:sp>
          <p:nvSpPr>
            <p:cNvPr id="53" name="TextBox 52">
              <a:extLst>
                <a:ext uri="{FF2B5EF4-FFF2-40B4-BE49-F238E27FC236}">
                  <a16:creationId xmlns:a16="http://schemas.microsoft.com/office/drawing/2014/main" id="{C4CE0825-43C2-666C-3937-A6892E58219B}"/>
                </a:ext>
              </a:extLst>
            </p:cNvPr>
            <p:cNvSpPr txBox="1"/>
            <p:nvPr/>
          </p:nvSpPr>
          <p:spPr>
            <a:xfrm>
              <a:off x="332936" y="2258434"/>
              <a:ext cx="2926080" cy="830997"/>
            </a:xfrm>
            <a:prstGeom prst="rect">
              <a:avLst/>
            </a:prstGeom>
            <a:noFill/>
          </p:spPr>
          <p:txBody>
            <a:bodyPr wrap="square" lIns="0" rIns="0" rtlCol="0" anchor="b">
              <a:spAutoFit/>
            </a:bodyPr>
            <a:lstStyle/>
            <a:p>
              <a:pPr algn="ctr"/>
              <a:r>
                <a:rPr lang="en-US" sz="2400" b="1" noProof="1"/>
                <a:t>Not a Formal Verifier</a:t>
              </a:r>
            </a:p>
          </p:txBody>
        </p:sp>
        <p:sp>
          <p:nvSpPr>
            <p:cNvPr id="54" name="TextBox 53">
              <a:extLst>
                <a:ext uri="{FF2B5EF4-FFF2-40B4-BE49-F238E27FC236}">
                  <a16:creationId xmlns:a16="http://schemas.microsoft.com/office/drawing/2014/main" id="{C6464705-DC60-EC33-FB15-11A9530F38AE}"/>
                </a:ext>
              </a:extLst>
            </p:cNvPr>
            <p:cNvSpPr txBox="1"/>
            <p:nvPr/>
          </p:nvSpPr>
          <p:spPr>
            <a:xfrm>
              <a:off x="332936" y="3086922"/>
              <a:ext cx="2926080" cy="1815882"/>
            </a:xfrm>
            <a:prstGeom prst="rect">
              <a:avLst/>
            </a:prstGeom>
            <a:noFill/>
          </p:spPr>
          <p:txBody>
            <a:bodyPr wrap="square" lIns="0" rIns="0" rtlCol="0" anchor="t">
              <a:spAutoFit/>
            </a:bodyPr>
            <a:lstStyle/>
            <a:p>
              <a:r>
                <a:rPr lang="en-US" sz="1600" noProof="1">
                  <a:solidFill>
                    <a:schemeClr val="tx1">
                      <a:lumMod val="65000"/>
                      <a:lumOff val="35000"/>
                    </a:schemeClr>
                  </a:solidFill>
                </a:rPr>
                <a:t>Models are not formal logic checkers. They cannot solve with traditional grammeres and finite state machines. They will match data yet struggle to understand the simplist of rigid rules that require strict and precise adherence.</a:t>
              </a:r>
            </a:p>
          </p:txBody>
        </p:sp>
      </p:grpSp>
      <p:sp>
        <p:nvSpPr>
          <p:cNvPr id="55" name="TextBox 54">
            <a:extLst>
              <a:ext uri="{FF2B5EF4-FFF2-40B4-BE49-F238E27FC236}">
                <a16:creationId xmlns:a16="http://schemas.microsoft.com/office/drawing/2014/main" id="{32576443-96A0-3701-8136-B9ACA2A46527}"/>
              </a:ext>
            </a:extLst>
          </p:cNvPr>
          <p:cNvSpPr txBox="1"/>
          <p:nvPr/>
        </p:nvSpPr>
        <p:spPr>
          <a:xfrm>
            <a:off x="1393474" y="6430415"/>
            <a:ext cx="3412024" cy="369332"/>
          </a:xfrm>
          <a:prstGeom prst="rect">
            <a:avLst/>
          </a:prstGeom>
          <a:noFill/>
        </p:spPr>
        <p:txBody>
          <a:bodyPr wrap="none" rtlCol="0">
            <a:spAutoFit/>
          </a:bodyPr>
          <a:lstStyle/>
          <a:p>
            <a:r>
              <a:rPr lang="en-US" dirty="0"/>
              <a:t>https://</a:t>
            </a:r>
            <a:r>
              <a:rPr lang="en-US" dirty="0" err="1"/>
              <a:t>arxiv.org</a:t>
            </a:r>
            <a:r>
              <a:rPr lang="en-US" dirty="0"/>
              <a:t>/pdf/2412.15296</a:t>
            </a:r>
          </a:p>
        </p:txBody>
      </p:sp>
    </p:spTree>
    <p:extLst>
      <p:ext uri="{BB962C8B-B14F-4D97-AF65-F5344CB8AC3E}">
        <p14:creationId xmlns:p14="http://schemas.microsoft.com/office/powerpoint/2010/main" val="334998228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D899CD-4842-B666-7EC3-42E285C0DDC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063638E-D837-5538-931C-74EF99B01093}"/>
              </a:ext>
            </a:extLst>
          </p:cNvPr>
          <p:cNvSpPr>
            <a:spLocks noGrp="1"/>
          </p:cNvSpPr>
          <p:nvPr>
            <p:ph type="title"/>
          </p:nvPr>
        </p:nvSpPr>
        <p:spPr/>
        <p:txBody>
          <a:bodyPr/>
          <a:lstStyle/>
          <a:p>
            <a:r>
              <a:rPr lang="en-US" dirty="0"/>
              <a:t>Pattern Matching Challenges</a:t>
            </a:r>
          </a:p>
        </p:txBody>
      </p:sp>
      <p:sp>
        <p:nvSpPr>
          <p:cNvPr id="4" name="Text Placeholder 3">
            <a:extLst>
              <a:ext uri="{FF2B5EF4-FFF2-40B4-BE49-F238E27FC236}">
                <a16:creationId xmlns:a16="http://schemas.microsoft.com/office/drawing/2014/main" id="{473191C0-6058-47CA-6C21-2B4A61E1BCA6}"/>
              </a:ext>
            </a:extLst>
          </p:cNvPr>
          <p:cNvSpPr>
            <a:spLocks noGrp="1"/>
          </p:cNvSpPr>
          <p:nvPr>
            <p:ph type="body" sz="quarter" idx="10"/>
          </p:nvPr>
        </p:nvSpPr>
        <p:spPr>
          <a:xfrm>
            <a:off x="213756" y="950118"/>
            <a:ext cx="8621486" cy="4957763"/>
          </a:xfrm>
        </p:spPr>
        <p:txBody>
          <a:bodyPr/>
          <a:lstStyle/>
          <a:p>
            <a:r>
              <a:rPr lang="en-US" dirty="0"/>
              <a:t>Why did our experiment reveal fundamental limitations?</a:t>
            </a:r>
            <a:br>
              <a:rPr lang="en-US" dirty="0"/>
            </a:br>
            <a:endParaRPr lang="en-US" dirty="0"/>
          </a:p>
          <a:p>
            <a:r>
              <a:rPr lang="en-US" dirty="0"/>
              <a:t>Let’s demystify what is going on:</a:t>
            </a:r>
          </a:p>
          <a:p>
            <a:pPr lvl="1"/>
            <a:r>
              <a:rPr lang="en-US" dirty="0"/>
              <a:t>LLMs do not think in the way humans do. They perform Next Token Prediction (NTP).</a:t>
            </a:r>
          </a:p>
          <a:p>
            <a:pPr lvl="1"/>
            <a:r>
              <a:rPr lang="en-US" dirty="0"/>
              <a:t>Even an extremely correct autocomplete cannot validate formal logic.</a:t>
            </a:r>
          </a:p>
          <a:p>
            <a:pPr lvl="1"/>
            <a:r>
              <a:rPr lang="en-US" dirty="0"/>
              <a:t>Most LLMs perform some surface level reasoning just through “in-context learning”.</a:t>
            </a:r>
          </a:p>
          <a:p>
            <a:pPr lvl="1"/>
            <a:r>
              <a:rPr lang="en-US" dirty="0"/>
              <a:t>The model matches with similar patterns and attempts to explain the prompt with a corresponding answer.</a:t>
            </a:r>
          </a:p>
          <a:p>
            <a:r>
              <a:rPr lang="en-US" dirty="0"/>
              <a:t>Why would the crossword be a challenge??</a:t>
            </a:r>
          </a:p>
        </p:txBody>
      </p:sp>
      <p:sp>
        <p:nvSpPr>
          <p:cNvPr id="2" name="TextBox 1">
            <a:extLst>
              <a:ext uri="{FF2B5EF4-FFF2-40B4-BE49-F238E27FC236}">
                <a16:creationId xmlns:a16="http://schemas.microsoft.com/office/drawing/2014/main" id="{C7646897-F904-05E8-8E46-885AB54EA2E3}"/>
              </a:ext>
            </a:extLst>
          </p:cNvPr>
          <p:cNvSpPr txBox="1"/>
          <p:nvPr/>
        </p:nvSpPr>
        <p:spPr>
          <a:xfrm>
            <a:off x="213756" y="6289286"/>
            <a:ext cx="5130443" cy="369332"/>
          </a:xfrm>
          <a:prstGeom prst="rect">
            <a:avLst/>
          </a:prstGeom>
          <a:noFill/>
        </p:spPr>
        <p:txBody>
          <a:bodyPr wrap="none" rtlCol="0">
            <a:spAutoFit/>
          </a:bodyPr>
          <a:lstStyle/>
          <a:p>
            <a:r>
              <a:rPr lang="en-US" dirty="0"/>
              <a:t>https://</a:t>
            </a:r>
            <a:r>
              <a:rPr lang="en-US" dirty="0" err="1"/>
              <a:t>dl.acm.org</a:t>
            </a:r>
            <a:r>
              <a:rPr lang="en-US" dirty="0"/>
              <a:t>/</a:t>
            </a:r>
            <a:r>
              <a:rPr lang="en-US" dirty="0" err="1"/>
              <a:t>doi</a:t>
            </a:r>
            <a:r>
              <a:rPr lang="en-US" dirty="0"/>
              <a:t>/10.1145/3442188.3445922</a:t>
            </a:r>
          </a:p>
        </p:txBody>
      </p:sp>
      <p:pic>
        <p:nvPicPr>
          <p:cNvPr id="6" name="Picture 5" descr="A drawing of a parrot&#10;&#10;AI-generated content may be incorrect.">
            <a:extLst>
              <a:ext uri="{FF2B5EF4-FFF2-40B4-BE49-F238E27FC236}">
                <a16:creationId xmlns:a16="http://schemas.microsoft.com/office/drawing/2014/main" id="{31A5A2D8-0F28-DB36-5316-DAAC4A8ED5D9}"/>
              </a:ext>
            </a:extLst>
          </p:cNvPr>
          <p:cNvPicPr>
            <a:picLocks noChangeAspect="1"/>
          </p:cNvPicPr>
          <p:nvPr/>
        </p:nvPicPr>
        <p:blipFill>
          <a:blip r:embed="rId2"/>
          <a:stretch>
            <a:fillRect/>
          </a:stretch>
        </p:blipFill>
        <p:spPr>
          <a:xfrm>
            <a:off x="8628551" y="0"/>
            <a:ext cx="3484280" cy="4797631"/>
          </a:xfrm>
          <a:prstGeom prst="rect">
            <a:avLst/>
          </a:prstGeom>
        </p:spPr>
      </p:pic>
      <p:sp>
        <p:nvSpPr>
          <p:cNvPr id="7" name="TextBox 6">
            <a:extLst>
              <a:ext uri="{FF2B5EF4-FFF2-40B4-BE49-F238E27FC236}">
                <a16:creationId xmlns:a16="http://schemas.microsoft.com/office/drawing/2014/main" id="{46E4F96E-D431-64B7-DBDF-47BF9A3E3E61}"/>
              </a:ext>
            </a:extLst>
          </p:cNvPr>
          <p:cNvSpPr txBox="1"/>
          <p:nvPr/>
        </p:nvSpPr>
        <p:spPr>
          <a:xfrm>
            <a:off x="10477143" y="4624840"/>
            <a:ext cx="1714857" cy="923330"/>
          </a:xfrm>
          <a:prstGeom prst="rect">
            <a:avLst/>
          </a:prstGeom>
          <a:noFill/>
        </p:spPr>
        <p:txBody>
          <a:bodyPr wrap="square" rtlCol="0">
            <a:spAutoFit/>
          </a:bodyPr>
          <a:lstStyle/>
          <a:p>
            <a:r>
              <a:rPr lang="en-US" dirty="0"/>
              <a:t>Any idea why there is a parrot here?</a:t>
            </a:r>
          </a:p>
        </p:txBody>
      </p:sp>
    </p:spTree>
    <p:extLst>
      <p:ext uri="{BB962C8B-B14F-4D97-AF65-F5344CB8AC3E}">
        <p14:creationId xmlns:p14="http://schemas.microsoft.com/office/powerpoint/2010/main" val="30581660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7B3B1D-8AD8-5A48-5249-507C9414110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2FD7F5-B819-E4D9-5E58-26B0FBEE51A7}"/>
              </a:ext>
            </a:extLst>
          </p:cNvPr>
          <p:cNvSpPr>
            <a:spLocks noGrp="1"/>
          </p:cNvSpPr>
          <p:nvPr>
            <p:ph type="title"/>
          </p:nvPr>
        </p:nvSpPr>
        <p:spPr/>
        <p:txBody>
          <a:bodyPr/>
          <a:lstStyle/>
          <a:p>
            <a:r>
              <a:rPr lang="en-US" dirty="0"/>
              <a:t>You’re Agentic Learning Journey</a:t>
            </a:r>
          </a:p>
        </p:txBody>
      </p:sp>
      <p:sp>
        <p:nvSpPr>
          <p:cNvPr id="5" name="Freeform 4">
            <a:extLst>
              <a:ext uri="{FF2B5EF4-FFF2-40B4-BE49-F238E27FC236}">
                <a16:creationId xmlns:a16="http://schemas.microsoft.com/office/drawing/2014/main" id="{34FE496A-FFE2-FA8C-5973-B025A5962250}"/>
              </a:ext>
            </a:extLst>
          </p:cNvPr>
          <p:cNvSpPr/>
          <p:nvPr/>
        </p:nvSpPr>
        <p:spPr>
          <a:xfrm>
            <a:off x="3595950" y="1389352"/>
            <a:ext cx="5029237" cy="4937131"/>
          </a:xfrm>
          <a:custGeom>
            <a:avLst/>
            <a:gdLst>
              <a:gd name="connsiteX0" fmla="*/ 1318709 w 4317960"/>
              <a:gd name="connsiteY0" fmla="*/ 43160 h 4238882"/>
              <a:gd name="connsiteX1" fmla="*/ 1218800 w 4317960"/>
              <a:gd name="connsiteY1" fmla="*/ 135053 h 4238882"/>
              <a:gd name="connsiteX2" fmla="*/ 1151113 w 4317960"/>
              <a:gd name="connsiteY2" fmla="*/ 77433 h 4238882"/>
              <a:gd name="connsiteX3" fmla="*/ 1026178 w 4317960"/>
              <a:gd name="connsiteY3" fmla="*/ 145985 h 4238882"/>
              <a:gd name="connsiteX4" fmla="*/ 2012889 w 4317960"/>
              <a:gd name="connsiteY4" fmla="*/ 343557 h 4238882"/>
              <a:gd name="connsiteX5" fmla="*/ 2775064 w 4317960"/>
              <a:gd name="connsiteY5" fmla="*/ 473673 h 4238882"/>
              <a:gd name="connsiteX6" fmla="*/ 1953109 w 4317960"/>
              <a:gd name="connsiteY6" fmla="*/ 612428 h 4238882"/>
              <a:gd name="connsiteX7" fmla="*/ 1132833 w 4317960"/>
              <a:gd name="connsiteY7" fmla="*/ 686619 h 4238882"/>
              <a:gd name="connsiteX8" fmla="*/ 930933 w 4317960"/>
              <a:gd name="connsiteY8" fmla="*/ 909897 h 4238882"/>
              <a:gd name="connsiteX9" fmla="*/ 805011 w 4317960"/>
              <a:gd name="connsiteY9" fmla="*/ 795696 h 4238882"/>
              <a:gd name="connsiteX10" fmla="*/ 717971 w 4317960"/>
              <a:gd name="connsiteY10" fmla="*/ 902498 h 4238882"/>
              <a:gd name="connsiteX11" fmla="*/ 1942554 w 4317960"/>
              <a:gd name="connsiteY11" fmla="*/ 1264922 h 4238882"/>
              <a:gd name="connsiteX12" fmla="*/ 2990388 w 4317960"/>
              <a:gd name="connsiteY12" fmla="*/ 1487635 h 4238882"/>
              <a:gd name="connsiteX13" fmla="*/ 1953109 w 4317960"/>
              <a:gd name="connsiteY13" fmla="*/ 1745276 h 4238882"/>
              <a:gd name="connsiteX14" fmla="*/ 637372 w 4317960"/>
              <a:gd name="connsiteY14" fmla="*/ 1903219 h 4238882"/>
              <a:gd name="connsiteX15" fmla="*/ 681439 w 4317960"/>
              <a:gd name="connsiteY15" fmla="*/ 2073578 h 4238882"/>
              <a:gd name="connsiteX16" fmla="*/ 681450 w 4317960"/>
              <a:gd name="connsiteY16" fmla="*/ 2073578 h 4238882"/>
              <a:gd name="connsiteX17" fmla="*/ 336010 w 4317960"/>
              <a:gd name="connsiteY17" fmla="*/ 2569928 h 4238882"/>
              <a:gd name="connsiteX18" fmla="*/ 37690 w 4317960"/>
              <a:gd name="connsiteY18" fmla="*/ 2245809 h 4238882"/>
              <a:gd name="connsiteX19" fmla="*/ 6941 w 4317960"/>
              <a:gd name="connsiteY19" fmla="*/ 2333772 h 4238882"/>
              <a:gd name="connsiteX20" fmla="*/ 1895056 w 4317960"/>
              <a:gd name="connsiteY20" fmla="*/ 3165802 h 4238882"/>
              <a:gd name="connsiteX21" fmla="*/ 3418638 w 4317960"/>
              <a:gd name="connsiteY21" fmla="*/ 3684634 h 4238882"/>
              <a:gd name="connsiteX22" fmla="*/ 2754088 w 4317960"/>
              <a:gd name="connsiteY22" fmla="*/ 4239065 h 4238882"/>
              <a:gd name="connsiteX23" fmla="*/ 4127212 w 4317960"/>
              <a:gd name="connsiteY23" fmla="*/ 4239065 h 4238882"/>
              <a:gd name="connsiteX24" fmla="*/ 4306236 w 4317960"/>
              <a:gd name="connsiteY24" fmla="*/ 3665155 h 4238882"/>
              <a:gd name="connsiteX25" fmla="*/ 4142719 w 4317960"/>
              <a:gd name="connsiteY25" fmla="*/ 3328504 h 4238882"/>
              <a:gd name="connsiteX26" fmla="*/ 3886364 w 4317960"/>
              <a:gd name="connsiteY26" fmla="*/ 3567856 h 4238882"/>
              <a:gd name="connsiteX27" fmla="*/ 3483351 w 4317960"/>
              <a:gd name="connsiteY27" fmla="*/ 2992545 h 4238882"/>
              <a:gd name="connsiteX28" fmla="*/ 3483360 w 4317960"/>
              <a:gd name="connsiteY28" fmla="*/ 2992545 h 4238882"/>
              <a:gd name="connsiteX29" fmla="*/ 3485577 w 4317960"/>
              <a:gd name="connsiteY29" fmla="*/ 2949998 h 4238882"/>
              <a:gd name="connsiteX30" fmla="*/ 1911656 w 4317960"/>
              <a:gd name="connsiteY30" fmla="*/ 2719513 h 4238882"/>
              <a:gd name="connsiteX31" fmla="*/ 672968 w 4317960"/>
              <a:gd name="connsiteY31" fmla="*/ 2352675 h 4238882"/>
              <a:gd name="connsiteX32" fmla="*/ 1942554 w 4317960"/>
              <a:gd name="connsiteY32" fmla="*/ 1993993 h 4238882"/>
              <a:gd name="connsiteX33" fmla="*/ 3488302 w 4317960"/>
              <a:gd name="connsiteY33" fmla="*/ 1487443 h 4238882"/>
              <a:gd name="connsiteX34" fmla="*/ 3376552 w 4317960"/>
              <a:gd name="connsiteY34" fmla="*/ 1329798 h 4238882"/>
              <a:gd name="connsiteX35" fmla="*/ 3233866 w 4317960"/>
              <a:gd name="connsiteY35" fmla="*/ 1456834 h 4238882"/>
              <a:gd name="connsiteX36" fmla="*/ 2984075 w 4317960"/>
              <a:gd name="connsiteY36" fmla="*/ 1181950 h 4238882"/>
              <a:gd name="connsiteX37" fmla="*/ 1981416 w 4317960"/>
              <a:gd name="connsiteY37" fmla="*/ 1081743 h 4238882"/>
              <a:gd name="connsiteX38" fmla="*/ 1105534 w 4317960"/>
              <a:gd name="connsiteY38" fmla="*/ 902402 h 4238882"/>
              <a:gd name="connsiteX39" fmla="*/ 1996097 w 4317960"/>
              <a:gd name="connsiteY39" fmla="*/ 737359 h 4238882"/>
              <a:gd name="connsiteX40" fmla="*/ 3104192 w 4317960"/>
              <a:gd name="connsiteY40" fmla="*/ 473673 h 4238882"/>
              <a:gd name="connsiteX41" fmla="*/ 3033069 w 4317960"/>
              <a:gd name="connsiteY41" fmla="*/ 402960 h 4238882"/>
              <a:gd name="connsiteX42" fmla="*/ 2946000 w 4317960"/>
              <a:gd name="connsiteY42" fmla="*/ 480493 h 4238882"/>
              <a:gd name="connsiteX43" fmla="*/ 2803573 w 4317960"/>
              <a:gd name="connsiteY43" fmla="*/ 329767 h 4238882"/>
              <a:gd name="connsiteX44" fmla="*/ 2016632 w 4317960"/>
              <a:gd name="connsiteY44" fmla="*/ 256430 h 4238882"/>
              <a:gd name="connsiteX45" fmla="*/ 1357897 w 4317960"/>
              <a:gd name="connsiteY45" fmla="*/ 145985 h 4238882"/>
              <a:gd name="connsiteX46" fmla="*/ 2023377 w 4317960"/>
              <a:gd name="connsiteY46" fmla="*/ 182 h 4238882"/>
              <a:gd name="connsiteX47" fmla="*/ 1318709 w 4317960"/>
              <a:gd name="connsiteY47" fmla="*/ 43160 h 4238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317960" h="4238882">
                <a:moveTo>
                  <a:pt x="1318709" y="43160"/>
                </a:moveTo>
                <a:cubicBezTo>
                  <a:pt x="1271518" y="97957"/>
                  <a:pt x="1218800" y="135053"/>
                  <a:pt x="1218800" y="135053"/>
                </a:cubicBezTo>
                <a:cubicBezTo>
                  <a:pt x="1218800" y="135053"/>
                  <a:pt x="1187250" y="112853"/>
                  <a:pt x="1151113" y="77433"/>
                </a:cubicBezTo>
                <a:cubicBezTo>
                  <a:pt x="1082082" y="96990"/>
                  <a:pt x="1037847" y="119958"/>
                  <a:pt x="1026178" y="145985"/>
                </a:cubicBezTo>
                <a:cubicBezTo>
                  <a:pt x="981559" y="245491"/>
                  <a:pt x="1332085" y="317745"/>
                  <a:pt x="2012889" y="343557"/>
                </a:cubicBezTo>
                <a:cubicBezTo>
                  <a:pt x="2405540" y="358430"/>
                  <a:pt x="2756929" y="394126"/>
                  <a:pt x="2775064" y="473673"/>
                </a:cubicBezTo>
                <a:cubicBezTo>
                  <a:pt x="2794255" y="558114"/>
                  <a:pt x="2392010" y="599953"/>
                  <a:pt x="1953109" y="612428"/>
                </a:cubicBezTo>
                <a:cubicBezTo>
                  <a:pt x="1592758" y="622669"/>
                  <a:pt x="1325138" y="649212"/>
                  <a:pt x="1132833" y="686619"/>
                </a:cubicBezTo>
                <a:cubicBezTo>
                  <a:pt x="1071258" y="811157"/>
                  <a:pt x="930933" y="909897"/>
                  <a:pt x="930933" y="909897"/>
                </a:cubicBezTo>
                <a:cubicBezTo>
                  <a:pt x="930933" y="909897"/>
                  <a:pt x="865942" y="864164"/>
                  <a:pt x="805011" y="795696"/>
                </a:cubicBezTo>
                <a:cubicBezTo>
                  <a:pt x="751796" y="829066"/>
                  <a:pt x="724371" y="865162"/>
                  <a:pt x="717971" y="902498"/>
                </a:cubicBezTo>
                <a:cubicBezTo>
                  <a:pt x="693743" y="1043841"/>
                  <a:pt x="851827" y="1213682"/>
                  <a:pt x="1942554" y="1264922"/>
                </a:cubicBezTo>
                <a:cubicBezTo>
                  <a:pt x="2485470" y="1290427"/>
                  <a:pt x="2966879" y="1374504"/>
                  <a:pt x="2990388" y="1487635"/>
                </a:cubicBezTo>
                <a:cubicBezTo>
                  <a:pt x="3034048" y="1614393"/>
                  <a:pt x="2655791" y="1717958"/>
                  <a:pt x="1953109" y="1745276"/>
                </a:cubicBezTo>
                <a:cubicBezTo>
                  <a:pt x="1386204" y="1767317"/>
                  <a:pt x="951199" y="1821474"/>
                  <a:pt x="637372" y="1903219"/>
                </a:cubicBezTo>
                <a:cubicBezTo>
                  <a:pt x="665434" y="1953576"/>
                  <a:pt x="681439" y="2011687"/>
                  <a:pt x="681439" y="2073578"/>
                </a:cubicBezTo>
                <a:lnTo>
                  <a:pt x="681450" y="2073578"/>
                </a:lnTo>
                <a:cubicBezTo>
                  <a:pt x="681450" y="2328235"/>
                  <a:pt x="336010" y="2569928"/>
                  <a:pt x="336010" y="2569928"/>
                </a:cubicBezTo>
                <a:cubicBezTo>
                  <a:pt x="336010" y="2569928"/>
                  <a:pt x="132215" y="2427338"/>
                  <a:pt x="37690" y="2245809"/>
                </a:cubicBezTo>
                <a:cubicBezTo>
                  <a:pt x="22604" y="2274135"/>
                  <a:pt x="12388" y="2303469"/>
                  <a:pt x="6941" y="2333772"/>
                </a:cubicBezTo>
                <a:cubicBezTo>
                  <a:pt x="-71735" y="2771425"/>
                  <a:pt x="537516" y="3040100"/>
                  <a:pt x="1895056" y="3165802"/>
                </a:cubicBezTo>
                <a:cubicBezTo>
                  <a:pt x="2638606" y="3234650"/>
                  <a:pt x="3350509" y="3385540"/>
                  <a:pt x="3418638" y="3684634"/>
                </a:cubicBezTo>
                <a:cubicBezTo>
                  <a:pt x="3473035" y="3923486"/>
                  <a:pt x="3216978" y="4115752"/>
                  <a:pt x="2754088" y="4239065"/>
                </a:cubicBezTo>
                <a:lnTo>
                  <a:pt x="4127212" y="4239065"/>
                </a:lnTo>
                <a:cubicBezTo>
                  <a:pt x="4282382" y="4067381"/>
                  <a:pt x="4346979" y="3873417"/>
                  <a:pt x="4306236" y="3665155"/>
                </a:cubicBezTo>
                <a:cubicBezTo>
                  <a:pt x="4282132" y="3541986"/>
                  <a:pt x="4229875" y="3429584"/>
                  <a:pt x="4142719" y="3328504"/>
                </a:cubicBezTo>
                <a:cubicBezTo>
                  <a:pt x="4027486" y="3469761"/>
                  <a:pt x="3886364" y="3567856"/>
                  <a:pt x="3886364" y="3567856"/>
                </a:cubicBezTo>
                <a:cubicBezTo>
                  <a:pt x="3886364" y="3567856"/>
                  <a:pt x="3483351" y="3287723"/>
                  <a:pt x="3483351" y="2992545"/>
                </a:cubicBezTo>
                <a:lnTo>
                  <a:pt x="3483360" y="2992545"/>
                </a:lnTo>
                <a:cubicBezTo>
                  <a:pt x="3483360" y="2978180"/>
                  <a:pt x="3484108" y="2963979"/>
                  <a:pt x="3485577" y="2949998"/>
                </a:cubicBezTo>
                <a:cubicBezTo>
                  <a:pt x="3115937" y="2833537"/>
                  <a:pt x="2603908" y="2755631"/>
                  <a:pt x="1911656" y="2719513"/>
                </a:cubicBezTo>
                <a:cubicBezTo>
                  <a:pt x="1152168" y="2679883"/>
                  <a:pt x="643385" y="2538445"/>
                  <a:pt x="672968" y="2352675"/>
                </a:cubicBezTo>
                <a:cubicBezTo>
                  <a:pt x="702551" y="2166905"/>
                  <a:pt x="1105534" y="2046960"/>
                  <a:pt x="1942554" y="1993993"/>
                </a:cubicBezTo>
                <a:cubicBezTo>
                  <a:pt x="3104192" y="1920481"/>
                  <a:pt x="3530349" y="1745276"/>
                  <a:pt x="3488302" y="1487443"/>
                </a:cubicBezTo>
                <a:cubicBezTo>
                  <a:pt x="3479109" y="1431031"/>
                  <a:pt x="3444220" y="1377929"/>
                  <a:pt x="3376552" y="1329798"/>
                </a:cubicBezTo>
                <a:cubicBezTo>
                  <a:pt x="3305008" y="1406620"/>
                  <a:pt x="3233866" y="1456834"/>
                  <a:pt x="3233866" y="1456834"/>
                </a:cubicBezTo>
                <a:cubicBezTo>
                  <a:pt x="3233866" y="1456834"/>
                  <a:pt x="3062307" y="1335719"/>
                  <a:pt x="2984075" y="1181950"/>
                </a:cubicBezTo>
                <a:cubicBezTo>
                  <a:pt x="2750557" y="1131026"/>
                  <a:pt x="2424318" y="1095753"/>
                  <a:pt x="1981416" y="1081743"/>
                </a:cubicBezTo>
                <a:cubicBezTo>
                  <a:pt x="1298222" y="1060134"/>
                  <a:pt x="1076651" y="990490"/>
                  <a:pt x="1105534" y="902402"/>
                </a:cubicBezTo>
                <a:cubicBezTo>
                  <a:pt x="1134224" y="817866"/>
                  <a:pt x="1521981" y="755782"/>
                  <a:pt x="1996097" y="737359"/>
                </a:cubicBezTo>
                <a:cubicBezTo>
                  <a:pt x="2783508" y="706749"/>
                  <a:pt x="3150922" y="602253"/>
                  <a:pt x="3104192" y="473673"/>
                </a:cubicBezTo>
                <a:cubicBezTo>
                  <a:pt x="3094846" y="447955"/>
                  <a:pt x="3071384" y="424380"/>
                  <a:pt x="3033069" y="402960"/>
                </a:cubicBezTo>
                <a:cubicBezTo>
                  <a:pt x="2989650" y="449777"/>
                  <a:pt x="2946000" y="480493"/>
                  <a:pt x="2946000" y="480493"/>
                </a:cubicBezTo>
                <a:cubicBezTo>
                  <a:pt x="2946000" y="480493"/>
                  <a:pt x="2853105" y="415130"/>
                  <a:pt x="2803573" y="329767"/>
                </a:cubicBezTo>
                <a:cubicBezTo>
                  <a:pt x="2625450" y="294124"/>
                  <a:pt x="2366044" y="269628"/>
                  <a:pt x="2016632" y="256430"/>
                </a:cubicBezTo>
                <a:cubicBezTo>
                  <a:pt x="1617073" y="241365"/>
                  <a:pt x="1337458" y="211426"/>
                  <a:pt x="1357897" y="145985"/>
                </a:cubicBezTo>
                <a:cubicBezTo>
                  <a:pt x="1377328" y="83964"/>
                  <a:pt x="1675145" y="605"/>
                  <a:pt x="2023377" y="182"/>
                </a:cubicBezTo>
                <a:cubicBezTo>
                  <a:pt x="1753685" y="362"/>
                  <a:pt x="1502108" y="15444"/>
                  <a:pt x="1318709" y="43160"/>
                </a:cubicBezTo>
                <a:close/>
              </a:path>
            </a:pathLst>
          </a:custGeom>
          <a:solidFill>
            <a:schemeClr val="tx1">
              <a:lumMod val="50000"/>
              <a:lumOff val="5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Freeform 5">
            <a:extLst>
              <a:ext uri="{FF2B5EF4-FFF2-40B4-BE49-F238E27FC236}">
                <a16:creationId xmlns:a16="http://schemas.microsoft.com/office/drawing/2014/main" id="{C2173DA7-38CB-91EA-83F5-A44215ED6531}"/>
              </a:ext>
            </a:extLst>
          </p:cNvPr>
          <p:cNvSpPr/>
          <p:nvPr/>
        </p:nvSpPr>
        <p:spPr>
          <a:xfrm>
            <a:off x="7652859" y="4404750"/>
            <a:ext cx="938799" cy="1139970"/>
          </a:xfrm>
          <a:custGeom>
            <a:avLst/>
            <a:gdLst>
              <a:gd name="connsiteX0" fmla="*/ 586 w 806026"/>
              <a:gd name="connsiteY0" fmla="*/ 403887 h 978746"/>
              <a:gd name="connsiteX1" fmla="*/ 402986 w 806026"/>
              <a:gd name="connsiteY1" fmla="*/ 452 h 978746"/>
              <a:gd name="connsiteX2" fmla="*/ 404189 w 806026"/>
              <a:gd name="connsiteY2" fmla="*/ 452 h 978746"/>
              <a:gd name="connsiteX3" fmla="*/ 806589 w 806026"/>
              <a:gd name="connsiteY3" fmla="*/ 403887 h 978746"/>
              <a:gd name="connsiteX4" fmla="*/ 806601 w 806026"/>
              <a:gd name="connsiteY4" fmla="*/ 403887 h 978746"/>
              <a:gd name="connsiteX5" fmla="*/ 403587 w 806026"/>
              <a:gd name="connsiteY5" fmla="*/ 979199 h 978746"/>
              <a:gd name="connsiteX6" fmla="*/ 574 w 806026"/>
              <a:gd name="connsiteY6" fmla="*/ 403887 h 978746"/>
              <a:gd name="connsiteX7" fmla="*/ 586 w 806026"/>
              <a:gd name="connsiteY7" fmla="*/ 403887 h 97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6026" h="978746">
                <a:moveTo>
                  <a:pt x="586" y="403887"/>
                </a:moveTo>
                <a:cubicBezTo>
                  <a:pt x="586" y="181074"/>
                  <a:pt x="180744" y="452"/>
                  <a:pt x="402986" y="452"/>
                </a:cubicBezTo>
                <a:lnTo>
                  <a:pt x="404189" y="452"/>
                </a:lnTo>
                <a:cubicBezTo>
                  <a:pt x="626431" y="452"/>
                  <a:pt x="806589" y="181074"/>
                  <a:pt x="806589" y="403887"/>
                </a:cubicBezTo>
                <a:lnTo>
                  <a:pt x="806601" y="403887"/>
                </a:lnTo>
                <a:cubicBezTo>
                  <a:pt x="806601" y="699064"/>
                  <a:pt x="403587" y="979199"/>
                  <a:pt x="403587" y="979199"/>
                </a:cubicBezTo>
                <a:cubicBezTo>
                  <a:pt x="403587" y="979199"/>
                  <a:pt x="574" y="699064"/>
                  <a:pt x="574" y="403887"/>
                </a:cubicBezTo>
                <a:lnTo>
                  <a:pt x="586" y="403887"/>
                </a:lnTo>
                <a:close/>
              </a:path>
            </a:pathLst>
          </a:custGeom>
          <a:solidFill>
            <a:schemeClr val="accent1">
              <a:lumMod val="5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Freeform 6">
            <a:extLst>
              <a:ext uri="{FF2B5EF4-FFF2-40B4-BE49-F238E27FC236}">
                <a16:creationId xmlns:a16="http://schemas.microsoft.com/office/drawing/2014/main" id="{7DE7AC54-19F8-D090-0A71-E54644FE08B8}"/>
              </a:ext>
            </a:extLst>
          </p:cNvPr>
          <p:cNvSpPr/>
          <p:nvPr/>
        </p:nvSpPr>
        <p:spPr>
          <a:xfrm>
            <a:off x="3584728" y="3398894"/>
            <a:ext cx="804684" cy="983503"/>
          </a:xfrm>
          <a:custGeom>
            <a:avLst/>
            <a:gdLst>
              <a:gd name="connsiteX0" fmla="*/ 221 w 690879"/>
              <a:gd name="connsiteY0" fmla="*/ 348424 h 844408"/>
              <a:gd name="connsiteX1" fmla="*/ 345135 w 690879"/>
              <a:gd name="connsiteY1" fmla="*/ 362 h 844408"/>
              <a:gd name="connsiteX2" fmla="*/ 346165 w 690879"/>
              <a:gd name="connsiteY2" fmla="*/ 362 h 844408"/>
              <a:gd name="connsiteX3" fmla="*/ 691079 w 690879"/>
              <a:gd name="connsiteY3" fmla="*/ 348424 h 844408"/>
              <a:gd name="connsiteX4" fmla="*/ 691090 w 690879"/>
              <a:gd name="connsiteY4" fmla="*/ 348424 h 844408"/>
              <a:gd name="connsiteX5" fmla="*/ 345650 w 690879"/>
              <a:gd name="connsiteY5" fmla="*/ 844771 h 844408"/>
              <a:gd name="connsiteX6" fmla="*/ 210 w 690879"/>
              <a:gd name="connsiteY6" fmla="*/ 348424 h 844408"/>
              <a:gd name="connsiteX7" fmla="*/ 221 w 690879"/>
              <a:gd name="connsiteY7" fmla="*/ 348424 h 84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879" h="844408">
                <a:moveTo>
                  <a:pt x="221" y="348424"/>
                </a:moveTo>
                <a:cubicBezTo>
                  <a:pt x="221" y="156193"/>
                  <a:pt x="154642" y="362"/>
                  <a:pt x="345135" y="362"/>
                </a:cubicBezTo>
                <a:lnTo>
                  <a:pt x="346165" y="362"/>
                </a:lnTo>
                <a:cubicBezTo>
                  <a:pt x="536658" y="362"/>
                  <a:pt x="691079" y="156193"/>
                  <a:pt x="691079" y="348424"/>
                </a:cubicBezTo>
                <a:lnTo>
                  <a:pt x="691090" y="348424"/>
                </a:lnTo>
                <a:cubicBezTo>
                  <a:pt x="691090" y="603087"/>
                  <a:pt x="345650" y="844771"/>
                  <a:pt x="345650" y="844771"/>
                </a:cubicBezTo>
                <a:cubicBezTo>
                  <a:pt x="345650" y="844771"/>
                  <a:pt x="210" y="603087"/>
                  <a:pt x="210" y="348424"/>
                </a:cubicBezTo>
                <a:lnTo>
                  <a:pt x="221" y="348424"/>
                </a:lnTo>
                <a:close/>
              </a:path>
            </a:pathLst>
          </a:custGeom>
          <a:solidFill>
            <a:schemeClr val="accent1">
              <a:lumMod val="75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 name="Freeform 7">
            <a:extLst>
              <a:ext uri="{FF2B5EF4-FFF2-40B4-BE49-F238E27FC236}">
                <a16:creationId xmlns:a16="http://schemas.microsoft.com/office/drawing/2014/main" id="{1C5AEAD1-7E2A-3FE8-0188-72A7735A9F6A}"/>
              </a:ext>
            </a:extLst>
          </p:cNvPr>
          <p:cNvSpPr/>
          <p:nvPr/>
        </p:nvSpPr>
        <p:spPr>
          <a:xfrm>
            <a:off x="7026993" y="2258924"/>
            <a:ext cx="670571" cy="827037"/>
          </a:xfrm>
          <a:custGeom>
            <a:avLst/>
            <a:gdLst>
              <a:gd name="connsiteX0" fmla="*/ 527 w 575733"/>
              <a:gd name="connsiteY0" fmla="*/ 292947 h 710071"/>
              <a:gd name="connsiteX1" fmla="*/ 287955 w 575733"/>
              <a:gd name="connsiteY1" fmla="*/ 260 h 710071"/>
              <a:gd name="connsiteX2" fmla="*/ 288815 w 575733"/>
              <a:gd name="connsiteY2" fmla="*/ 260 h 710071"/>
              <a:gd name="connsiteX3" fmla="*/ 576243 w 575733"/>
              <a:gd name="connsiteY3" fmla="*/ 292947 h 710071"/>
              <a:gd name="connsiteX4" fmla="*/ 576251 w 575733"/>
              <a:gd name="connsiteY4" fmla="*/ 292947 h 710071"/>
              <a:gd name="connsiteX5" fmla="*/ 288385 w 575733"/>
              <a:gd name="connsiteY5" fmla="*/ 710331 h 710071"/>
              <a:gd name="connsiteX6" fmla="*/ 518 w 575733"/>
              <a:gd name="connsiteY6" fmla="*/ 292947 h 710071"/>
              <a:gd name="connsiteX7" fmla="*/ 527 w 575733"/>
              <a:gd name="connsiteY7" fmla="*/ 292947 h 7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33" h="710071">
                <a:moveTo>
                  <a:pt x="527" y="292947"/>
                </a:moveTo>
                <a:cubicBezTo>
                  <a:pt x="527" y="131299"/>
                  <a:pt x="129211" y="260"/>
                  <a:pt x="287955" y="260"/>
                </a:cubicBezTo>
                <a:lnTo>
                  <a:pt x="288815" y="260"/>
                </a:lnTo>
                <a:cubicBezTo>
                  <a:pt x="447559" y="260"/>
                  <a:pt x="576243" y="131299"/>
                  <a:pt x="576243" y="292947"/>
                </a:cubicBezTo>
                <a:lnTo>
                  <a:pt x="576251" y="292947"/>
                </a:lnTo>
                <a:cubicBezTo>
                  <a:pt x="576251" y="507096"/>
                  <a:pt x="288385" y="710331"/>
                  <a:pt x="288385" y="710331"/>
                </a:cubicBezTo>
                <a:cubicBezTo>
                  <a:pt x="288385" y="710331"/>
                  <a:pt x="518" y="507096"/>
                  <a:pt x="518" y="292947"/>
                </a:cubicBezTo>
                <a:lnTo>
                  <a:pt x="527" y="292947"/>
                </a:lnTo>
                <a:close/>
              </a:path>
            </a:pathLst>
          </a:custGeom>
          <a:solidFill>
            <a:schemeClr val="accent6">
              <a:lumMod val="5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 name="Freeform 8">
            <a:extLst>
              <a:ext uri="{FF2B5EF4-FFF2-40B4-BE49-F238E27FC236}">
                <a16:creationId xmlns:a16="http://schemas.microsoft.com/office/drawing/2014/main" id="{C88422FB-0937-82CD-5ADD-72D1009748CC}"/>
              </a:ext>
            </a:extLst>
          </p:cNvPr>
          <p:cNvSpPr/>
          <p:nvPr/>
        </p:nvSpPr>
        <p:spPr>
          <a:xfrm>
            <a:off x="4411766" y="1789523"/>
            <a:ext cx="536456" cy="659394"/>
          </a:xfrm>
          <a:custGeom>
            <a:avLst/>
            <a:gdLst>
              <a:gd name="connsiteX0" fmla="*/ 291 w 460586"/>
              <a:gd name="connsiteY0" fmla="*/ 233577 h 566137"/>
              <a:gd name="connsiteX1" fmla="*/ 230234 w 460586"/>
              <a:gd name="connsiteY1" fmla="*/ 218 h 566137"/>
              <a:gd name="connsiteX2" fmla="*/ 230921 w 460586"/>
              <a:gd name="connsiteY2" fmla="*/ 218 h 566137"/>
              <a:gd name="connsiteX3" fmla="*/ 460864 w 460586"/>
              <a:gd name="connsiteY3" fmla="*/ 233577 h 566137"/>
              <a:gd name="connsiteX4" fmla="*/ 460871 w 460586"/>
              <a:gd name="connsiteY4" fmla="*/ 233577 h 566137"/>
              <a:gd name="connsiteX5" fmla="*/ 230577 w 460586"/>
              <a:gd name="connsiteY5" fmla="*/ 566356 h 566137"/>
              <a:gd name="connsiteX6" fmla="*/ 284 w 460586"/>
              <a:gd name="connsiteY6" fmla="*/ 233577 h 566137"/>
              <a:gd name="connsiteX7" fmla="*/ 291 w 460586"/>
              <a:gd name="connsiteY7" fmla="*/ 233577 h 566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586" h="566137">
                <a:moveTo>
                  <a:pt x="291" y="233577"/>
                </a:moveTo>
                <a:cubicBezTo>
                  <a:pt x="291" y="104695"/>
                  <a:pt x="103239" y="218"/>
                  <a:pt x="230234" y="218"/>
                </a:cubicBezTo>
                <a:lnTo>
                  <a:pt x="230921" y="218"/>
                </a:lnTo>
                <a:cubicBezTo>
                  <a:pt x="357916" y="218"/>
                  <a:pt x="460864" y="104695"/>
                  <a:pt x="460864" y="233577"/>
                </a:cubicBezTo>
                <a:lnTo>
                  <a:pt x="460871" y="233577"/>
                </a:lnTo>
                <a:cubicBezTo>
                  <a:pt x="460871" y="404318"/>
                  <a:pt x="230577" y="566356"/>
                  <a:pt x="230577" y="566356"/>
                </a:cubicBezTo>
                <a:cubicBezTo>
                  <a:pt x="230577" y="566356"/>
                  <a:pt x="284" y="404318"/>
                  <a:pt x="284" y="233577"/>
                </a:cubicBezTo>
                <a:lnTo>
                  <a:pt x="291" y="233577"/>
                </a:lnTo>
                <a:close/>
              </a:path>
            </a:pathLst>
          </a:custGeom>
          <a:solidFill>
            <a:schemeClr val="accent6">
              <a:lumMod val="75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 name="Freeform 9">
            <a:extLst>
              <a:ext uri="{FF2B5EF4-FFF2-40B4-BE49-F238E27FC236}">
                <a16:creationId xmlns:a16="http://schemas.microsoft.com/office/drawing/2014/main" id="{2713EA0A-0D4B-8624-FEA4-BCEEE70AF964}"/>
              </a:ext>
            </a:extLst>
          </p:cNvPr>
          <p:cNvSpPr/>
          <p:nvPr/>
        </p:nvSpPr>
        <p:spPr>
          <a:xfrm>
            <a:off x="6825822" y="1454239"/>
            <a:ext cx="402341" cy="494546"/>
          </a:xfrm>
          <a:custGeom>
            <a:avLst/>
            <a:gdLst>
              <a:gd name="connsiteX0" fmla="*/ 505 w 345439"/>
              <a:gd name="connsiteY0" fmla="*/ 175207 h 424603"/>
              <a:gd name="connsiteX1" fmla="*/ 172962 w 345439"/>
              <a:gd name="connsiteY1" fmla="*/ 188 h 424603"/>
              <a:gd name="connsiteX2" fmla="*/ 173478 w 345439"/>
              <a:gd name="connsiteY2" fmla="*/ 188 h 424603"/>
              <a:gd name="connsiteX3" fmla="*/ 345935 w 345439"/>
              <a:gd name="connsiteY3" fmla="*/ 175207 h 424603"/>
              <a:gd name="connsiteX4" fmla="*/ 345940 w 345439"/>
              <a:gd name="connsiteY4" fmla="*/ 175207 h 424603"/>
              <a:gd name="connsiteX5" fmla="*/ 173220 w 345439"/>
              <a:gd name="connsiteY5" fmla="*/ 424791 h 424603"/>
              <a:gd name="connsiteX6" fmla="*/ 500 w 345439"/>
              <a:gd name="connsiteY6" fmla="*/ 175207 h 424603"/>
              <a:gd name="connsiteX7" fmla="*/ 505 w 345439"/>
              <a:gd name="connsiteY7" fmla="*/ 175207 h 42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39" h="424603">
                <a:moveTo>
                  <a:pt x="505" y="175207"/>
                </a:moveTo>
                <a:cubicBezTo>
                  <a:pt x="505" y="78546"/>
                  <a:pt x="77715" y="188"/>
                  <a:pt x="172962" y="188"/>
                </a:cubicBezTo>
                <a:lnTo>
                  <a:pt x="173478" y="188"/>
                </a:lnTo>
                <a:cubicBezTo>
                  <a:pt x="268725" y="188"/>
                  <a:pt x="345935" y="78546"/>
                  <a:pt x="345935" y="175207"/>
                </a:cubicBezTo>
                <a:lnTo>
                  <a:pt x="345940" y="175207"/>
                </a:lnTo>
                <a:cubicBezTo>
                  <a:pt x="345940" y="303263"/>
                  <a:pt x="173220" y="424791"/>
                  <a:pt x="173220" y="424791"/>
                </a:cubicBezTo>
                <a:cubicBezTo>
                  <a:pt x="173220" y="424791"/>
                  <a:pt x="500" y="303263"/>
                  <a:pt x="500" y="175207"/>
                </a:cubicBezTo>
                <a:lnTo>
                  <a:pt x="505" y="175207"/>
                </a:lnTo>
                <a:close/>
              </a:path>
            </a:pathLst>
          </a:custGeom>
          <a:solidFill>
            <a:schemeClr val="tx2">
              <a:lumMod val="50000"/>
              <a:lumOff val="5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Freeform 10">
            <a:extLst>
              <a:ext uri="{FF2B5EF4-FFF2-40B4-BE49-F238E27FC236}">
                <a16:creationId xmlns:a16="http://schemas.microsoft.com/office/drawing/2014/main" id="{F38AEE72-86D2-FAAB-15B2-DF59D197AF67}"/>
              </a:ext>
            </a:extLst>
          </p:cNvPr>
          <p:cNvSpPr/>
          <p:nvPr/>
        </p:nvSpPr>
        <p:spPr>
          <a:xfrm>
            <a:off x="4814108" y="1051895"/>
            <a:ext cx="402341" cy="494546"/>
          </a:xfrm>
          <a:custGeom>
            <a:avLst/>
            <a:gdLst>
              <a:gd name="connsiteX0" fmla="*/ 325 w 345439"/>
              <a:gd name="connsiteY0" fmla="*/ 175171 h 424603"/>
              <a:gd name="connsiteX1" fmla="*/ 172782 w 345439"/>
              <a:gd name="connsiteY1" fmla="*/ 152 h 424603"/>
              <a:gd name="connsiteX2" fmla="*/ 173298 w 345439"/>
              <a:gd name="connsiteY2" fmla="*/ 152 h 424603"/>
              <a:gd name="connsiteX3" fmla="*/ 345755 w 345439"/>
              <a:gd name="connsiteY3" fmla="*/ 175171 h 424603"/>
              <a:gd name="connsiteX4" fmla="*/ 345760 w 345439"/>
              <a:gd name="connsiteY4" fmla="*/ 175171 h 424603"/>
              <a:gd name="connsiteX5" fmla="*/ 173040 w 345439"/>
              <a:gd name="connsiteY5" fmla="*/ 424755 h 424603"/>
              <a:gd name="connsiteX6" fmla="*/ 320 w 345439"/>
              <a:gd name="connsiteY6" fmla="*/ 175171 h 424603"/>
              <a:gd name="connsiteX7" fmla="*/ 325 w 345439"/>
              <a:gd name="connsiteY7" fmla="*/ 175171 h 42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39" h="424603">
                <a:moveTo>
                  <a:pt x="325" y="175171"/>
                </a:moveTo>
                <a:cubicBezTo>
                  <a:pt x="325" y="78510"/>
                  <a:pt x="77535" y="152"/>
                  <a:pt x="172782" y="152"/>
                </a:cubicBezTo>
                <a:lnTo>
                  <a:pt x="173298" y="152"/>
                </a:lnTo>
                <a:cubicBezTo>
                  <a:pt x="268545" y="152"/>
                  <a:pt x="345755" y="78510"/>
                  <a:pt x="345755" y="175171"/>
                </a:cubicBezTo>
                <a:lnTo>
                  <a:pt x="345760" y="175171"/>
                </a:lnTo>
                <a:cubicBezTo>
                  <a:pt x="345760" y="303227"/>
                  <a:pt x="173040" y="424755"/>
                  <a:pt x="173040" y="424755"/>
                </a:cubicBezTo>
                <a:cubicBezTo>
                  <a:pt x="173040" y="424755"/>
                  <a:pt x="320" y="303227"/>
                  <a:pt x="320" y="175171"/>
                </a:cubicBezTo>
                <a:lnTo>
                  <a:pt x="325" y="175171"/>
                </a:lnTo>
                <a:close/>
              </a:path>
            </a:pathLst>
          </a:custGeom>
          <a:solidFill>
            <a:schemeClr val="accent1">
              <a:lumMod val="40000"/>
              <a:lumOff val="60000"/>
            </a:schemeClr>
          </a:solidFill>
          <a:ln w="9588"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 name="TextBox 11">
            <a:extLst>
              <a:ext uri="{FF2B5EF4-FFF2-40B4-BE49-F238E27FC236}">
                <a16:creationId xmlns:a16="http://schemas.microsoft.com/office/drawing/2014/main" id="{11DAE9E3-0DAE-939E-15C0-6753E39CC2F3}"/>
              </a:ext>
            </a:extLst>
          </p:cNvPr>
          <p:cNvSpPr txBox="1"/>
          <p:nvPr/>
        </p:nvSpPr>
        <p:spPr>
          <a:xfrm>
            <a:off x="7362278" y="1599933"/>
            <a:ext cx="3670877" cy="169277"/>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Apply human + AI evaluation, guardrails, and observability.</a:t>
            </a:r>
          </a:p>
        </p:txBody>
      </p:sp>
      <p:sp>
        <p:nvSpPr>
          <p:cNvPr id="13" name="TextBox 12">
            <a:extLst>
              <a:ext uri="{FF2B5EF4-FFF2-40B4-BE49-F238E27FC236}">
                <a16:creationId xmlns:a16="http://schemas.microsoft.com/office/drawing/2014/main" id="{DD27D373-F50A-528F-50EF-9B5C3A3264BD}"/>
              </a:ext>
            </a:extLst>
          </p:cNvPr>
          <p:cNvSpPr txBox="1"/>
          <p:nvPr/>
        </p:nvSpPr>
        <p:spPr>
          <a:xfrm>
            <a:off x="1838580" y="1948434"/>
            <a:ext cx="2370842" cy="307777"/>
          </a:xfrm>
          <a:prstGeom prst="rect">
            <a:avLst/>
          </a:prstGeom>
          <a:noFill/>
        </p:spPr>
        <p:txBody>
          <a:bodyPr wrap="non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rPr>
              <a:t>Process Reinvention</a:t>
            </a:r>
          </a:p>
        </p:txBody>
      </p:sp>
      <p:sp>
        <p:nvSpPr>
          <p:cNvPr id="14" name="TextBox 13">
            <a:extLst>
              <a:ext uri="{FF2B5EF4-FFF2-40B4-BE49-F238E27FC236}">
                <a16:creationId xmlns:a16="http://schemas.microsoft.com/office/drawing/2014/main" id="{AF4F1608-29F3-A619-C362-249946030043}"/>
              </a:ext>
            </a:extLst>
          </p:cNvPr>
          <p:cNvSpPr txBox="1"/>
          <p:nvPr/>
        </p:nvSpPr>
        <p:spPr>
          <a:xfrm>
            <a:off x="8776395" y="4855899"/>
            <a:ext cx="2660966"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Introduce the many ways to build an Agent via Bedrock</a:t>
            </a:r>
          </a:p>
        </p:txBody>
      </p:sp>
      <p:sp>
        <p:nvSpPr>
          <p:cNvPr id="15" name="TextBox 14">
            <a:extLst>
              <a:ext uri="{FF2B5EF4-FFF2-40B4-BE49-F238E27FC236}">
                <a16:creationId xmlns:a16="http://schemas.microsoft.com/office/drawing/2014/main" id="{AB477F62-A233-D00F-E11A-C219E91AA271}"/>
              </a:ext>
            </a:extLst>
          </p:cNvPr>
          <p:cNvSpPr txBox="1"/>
          <p:nvPr/>
        </p:nvSpPr>
        <p:spPr>
          <a:xfrm>
            <a:off x="7362278" y="1289795"/>
            <a:ext cx="3691716" cy="307777"/>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US" sz="2000" b="1" dirty="0">
                <a:ln/>
                <a:solidFill>
                  <a:srgbClr val="666666"/>
                </a:solidFill>
                <a:latin typeface="Roboto"/>
                <a:ea typeface="Roboto"/>
                <a:cs typeface="Roboto"/>
                <a:sym typeface="Roboto"/>
                <a:rtl val="0"/>
              </a:rPr>
              <a:t>Evaluations of Agentic Software</a:t>
            </a:r>
            <a:endPar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endParaRPr>
          </a:p>
        </p:txBody>
      </p:sp>
      <p:sp>
        <p:nvSpPr>
          <p:cNvPr id="16" name="TextBox 15">
            <a:extLst>
              <a:ext uri="{FF2B5EF4-FFF2-40B4-BE49-F238E27FC236}">
                <a16:creationId xmlns:a16="http://schemas.microsoft.com/office/drawing/2014/main" id="{D80DB612-F5E4-CB96-DE27-1B19EE3D5BC1}"/>
              </a:ext>
            </a:extLst>
          </p:cNvPr>
          <p:cNvSpPr txBox="1"/>
          <p:nvPr/>
        </p:nvSpPr>
        <p:spPr>
          <a:xfrm>
            <a:off x="7869398" y="2324690"/>
            <a:ext cx="2388474" cy="307777"/>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US" sz="2000" b="1" dirty="0">
                <a:ln/>
                <a:solidFill>
                  <a:srgbClr val="666666"/>
                </a:solidFill>
                <a:latin typeface="Roboto"/>
                <a:ea typeface="Roboto"/>
                <a:cs typeface="Roboto"/>
                <a:sym typeface="Roboto"/>
                <a:rtl val="0"/>
              </a:rPr>
              <a:t>Agents with </a:t>
            </a:r>
            <a:r>
              <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rPr>
              <a:t>Memory</a:t>
            </a:r>
          </a:p>
        </p:txBody>
      </p:sp>
      <p:sp>
        <p:nvSpPr>
          <p:cNvPr id="17" name="TextBox 16">
            <a:extLst>
              <a:ext uri="{FF2B5EF4-FFF2-40B4-BE49-F238E27FC236}">
                <a16:creationId xmlns:a16="http://schemas.microsoft.com/office/drawing/2014/main" id="{2E727489-651B-4311-BFEC-DE522DE59325}"/>
              </a:ext>
            </a:extLst>
          </p:cNvPr>
          <p:cNvSpPr txBox="1"/>
          <p:nvPr/>
        </p:nvSpPr>
        <p:spPr>
          <a:xfrm>
            <a:off x="7869398" y="2626092"/>
            <a:ext cx="2699452"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US" sz="1100" dirty="0">
                <a:ln/>
                <a:solidFill>
                  <a:srgbClr val="666666"/>
                </a:solidFill>
                <a:latin typeface="Arial"/>
                <a:cs typeface="Arial"/>
                <a:sym typeface="Arial"/>
                <a:rtl val="0"/>
              </a:rPr>
              <a:t>Use memory layers like short-term and long-term memory </a:t>
            </a:r>
            <a:endParaRPr kumimoji="0" lang="en-US" sz="1100" b="0" i="0" u="none" strike="noStrike" kern="1200" cap="none" spc="0" normalizeH="0" baseline="0" noProof="0" dirty="0">
              <a:ln/>
              <a:solidFill>
                <a:srgbClr val="666666"/>
              </a:solidFill>
              <a:effectLst/>
              <a:uLnTx/>
              <a:uFillTx/>
              <a:latin typeface="Arial"/>
              <a:ea typeface="+mn-ea"/>
              <a:cs typeface="Arial"/>
              <a:sym typeface="Arial"/>
              <a:rtl val="0"/>
            </a:endParaRPr>
          </a:p>
        </p:txBody>
      </p:sp>
      <p:sp>
        <p:nvSpPr>
          <p:cNvPr id="18" name="TextBox 17">
            <a:extLst>
              <a:ext uri="{FF2B5EF4-FFF2-40B4-BE49-F238E27FC236}">
                <a16:creationId xmlns:a16="http://schemas.microsoft.com/office/drawing/2014/main" id="{75A1BA2C-CD03-74AD-2A5A-FCDBB0BE9D21}"/>
              </a:ext>
            </a:extLst>
          </p:cNvPr>
          <p:cNvSpPr txBox="1"/>
          <p:nvPr/>
        </p:nvSpPr>
        <p:spPr>
          <a:xfrm>
            <a:off x="627959" y="3398894"/>
            <a:ext cx="2698389" cy="615553"/>
          </a:xfrm>
          <a:prstGeom prst="rect">
            <a:avLst/>
          </a:prstGeom>
          <a:noFill/>
        </p:spPr>
        <p:txBody>
          <a:bodyPr wrap="squar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2000" b="1" dirty="0">
                <a:ln/>
                <a:solidFill>
                  <a:srgbClr val="666666"/>
                </a:solidFill>
                <a:latin typeface="Roboto"/>
                <a:ea typeface="Roboto"/>
                <a:cs typeface="Roboto"/>
                <a:sym typeface="Roboto"/>
                <a:rtl val="0"/>
              </a:rPr>
              <a:t>Tools and Reasoning with Agents</a:t>
            </a:r>
            <a:endPar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endParaRPr>
          </a:p>
        </p:txBody>
      </p:sp>
      <p:sp>
        <p:nvSpPr>
          <p:cNvPr id="19" name="TextBox 18">
            <a:extLst>
              <a:ext uri="{FF2B5EF4-FFF2-40B4-BE49-F238E27FC236}">
                <a16:creationId xmlns:a16="http://schemas.microsoft.com/office/drawing/2014/main" id="{1D53CD10-2961-3CE9-8224-132E222B7160}"/>
              </a:ext>
            </a:extLst>
          </p:cNvPr>
          <p:cNvSpPr txBox="1"/>
          <p:nvPr/>
        </p:nvSpPr>
        <p:spPr>
          <a:xfrm>
            <a:off x="2188326" y="1337973"/>
            <a:ext cx="2370841" cy="338554"/>
          </a:xfrm>
          <a:prstGeom prst="rect">
            <a:avLst/>
          </a:prstGeom>
          <a:noFill/>
        </p:spPr>
        <p:txBody>
          <a:bodyPr wrap="squar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Orchestrate multiple agents, introduce LangGraph workflows</a:t>
            </a:r>
          </a:p>
        </p:txBody>
      </p:sp>
      <p:sp>
        <p:nvSpPr>
          <p:cNvPr id="20" name="TextBox 19">
            <a:extLst>
              <a:ext uri="{FF2B5EF4-FFF2-40B4-BE49-F238E27FC236}">
                <a16:creationId xmlns:a16="http://schemas.microsoft.com/office/drawing/2014/main" id="{52DCC28C-10FF-6ECF-B0BE-20AB4CB64BC7}"/>
              </a:ext>
            </a:extLst>
          </p:cNvPr>
          <p:cNvSpPr txBox="1"/>
          <p:nvPr/>
        </p:nvSpPr>
        <p:spPr>
          <a:xfrm>
            <a:off x="859316" y="4043843"/>
            <a:ext cx="2467032" cy="338554"/>
          </a:xfrm>
          <a:prstGeom prst="rect">
            <a:avLst/>
          </a:prstGeom>
          <a:noFill/>
        </p:spPr>
        <p:txBody>
          <a:bodyPr wrap="squar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See how tools, decision-making, and reasoning chains</a:t>
            </a:r>
            <a:r>
              <a:rPr lang="en-US" sz="1100" dirty="0">
                <a:ln/>
                <a:solidFill>
                  <a:srgbClr val="666666"/>
                </a:solidFill>
                <a:latin typeface="Arial"/>
                <a:cs typeface="Arial"/>
                <a:sym typeface="Arial"/>
                <a:rtl val="0"/>
              </a:rPr>
              <a:t> work</a:t>
            </a:r>
            <a:endParaRPr kumimoji="0" lang="en-US" sz="1100" b="0" i="0" u="none" strike="noStrike" kern="1200" cap="none" spc="0" normalizeH="0" baseline="0" noProof="0" dirty="0">
              <a:ln/>
              <a:solidFill>
                <a:srgbClr val="666666"/>
              </a:solidFill>
              <a:effectLst/>
              <a:uLnTx/>
              <a:uFillTx/>
              <a:latin typeface="Arial"/>
              <a:ea typeface="+mn-ea"/>
              <a:cs typeface="Arial"/>
              <a:sym typeface="Arial"/>
              <a:rtl val="0"/>
            </a:endParaRPr>
          </a:p>
        </p:txBody>
      </p:sp>
      <p:sp>
        <p:nvSpPr>
          <p:cNvPr id="21" name="TextBox 20">
            <a:extLst>
              <a:ext uri="{FF2B5EF4-FFF2-40B4-BE49-F238E27FC236}">
                <a16:creationId xmlns:a16="http://schemas.microsoft.com/office/drawing/2014/main" id="{4F6EA4E2-8377-A137-880E-DD696E4ABBD1}"/>
              </a:ext>
            </a:extLst>
          </p:cNvPr>
          <p:cNvSpPr txBox="1"/>
          <p:nvPr/>
        </p:nvSpPr>
        <p:spPr>
          <a:xfrm>
            <a:off x="2978606" y="1027543"/>
            <a:ext cx="1580562" cy="307777"/>
          </a:xfrm>
          <a:prstGeom prst="rect">
            <a:avLst/>
          </a:prstGeom>
          <a:noFill/>
        </p:spPr>
        <p:txBody>
          <a:bodyPr wrap="non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rPr>
              <a:t>Orchestrating</a:t>
            </a:r>
          </a:p>
        </p:txBody>
      </p:sp>
      <p:sp>
        <p:nvSpPr>
          <p:cNvPr id="22" name="TextBox 21">
            <a:extLst>
              <a:ext uri="{FF2B5EF4-FFF2-40B4-BE49-F238E27FC236}">
                <a16:creationId xmlns:a16="http://schemas.microsoft.com/office/drawing/2014/main" id="{C702D986-7FDC-243E-3304-5A4396C289F8}"/>
              </a:ext>
            </a:extLst>
          </p:cNvPr>
          <p:cNvSpPr txBox="1"/>
          <p:nvPr/>
        </p:nvSpPr>
        <p:spPr>
          <a:xfrm>
            <a:off x="8768151" y="4570715"/>
            <a:ext cx="1723229" cy="307777"/>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solidFill>
                  <a:srgbClr val="666666"/>
                </a:solidFill>
                <a:effectLst/>
                <a:uLnTx/>
                <a:uFillTx/>
                <a:latin typeface="Roboto"/>
                <a:ea typeface="Roboto"/>
                <a:cs typeface="Roboto"/>
                <a:sym typeface="Roboto"/>
                <a:rtl val="0"/>
              </a:rPr>
              <a:t>Intro to Agents</a:t>
            </a:r>
          </a:p>
        </p:txBody>
      </p:sp>
      <p:sp>
        <p:nvSpPr>
          <p:cNvPr id="23" name="TextBox 22">
            <a:extLst>
              <a:ext uri="{FF2B5EF4-FFF2-40B4-BE49-F238E27FC236}">
                <a16:creationId xmlns:a16="http://schemas.microsoft.com/office/drawing/2014/main" id="{342E36BA-F447-33E1-E9FE-BC2E7AAD715A}"/>
              </a:ext>
            </a:extLst>
          </p:cNvPr>
          <p:cNvSpPr txBox="1"/>
          <p:nvPr/>
        </p:nvSpPr>
        <p:spPr>
          <a:xfrm>
            <a:off x="1834880" y="2255112"/>
            <a:ext cx="2320827" cy="338554"/>
          </a:xfrm>
          <a:prstGeom prst="rect">
            <a:avLst/>
          </a:prstGeom>
          <a:noFill/>
        </p:spPr>
        <p:txBody>
          <a:bodyPr wrap="square" lIns="0" tIns="0" rIns="0" bIns="0" rtlCol="0">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solidFill>
                  <a:srgbClr val="666666"/>
                </a:solidFill>
                <a:effectLst/>
                <a:uLnTx/>
                <a:uFillTx/>
                <a:latin typeface="Arial"/>
                <a:ea typeface="+mn-ea"/>
                <a:cs typeface="Arial"/>
                <a:sym typeface="Arial"/>
                <a:rtl val="0"/>
              </a:rPr>
              <a:t>Learn how to transform an as is to an agentic to-be.</a:t>
            </a:r>
          </a:p>
        </p:txBody>
      </p:sp>
      <p:sp>
        <p:nvSpPr>
          <p:cNvPr id="24" name="Freeform 23">
            <a:extLst>
              <a:ext uri="{FF2B5EF4-FFF2-40B4-BE49-F238E27FC236}">
                <a16:creationId xmlns:a16="http://schemas.microsoft.com/office/drawing/2014/main" id="{FB3A01F6-5551-8B1C-1D7F-809C90860EA3}"/>
              </a:ext>
            </a:extLst>
          </p:cNvPr>
          <p:cNvSpPr>
            <a:spLocks noChangeAspect="1"/>
          </p:cNvSpPr>
          <p:nvPr/>
        </p:nvSpPr>
        <p:spPr>
          <a:xfrm>
            <a:off x="3595950" y="1389350"/>
            <a:ext cx="5032937" cy="4941713"/>
          </a:xfrm>
          <a:custGeom>
            <a:avLst/>
            <a:gdLst>
              <a:gd name="connsiteX0" fmla="*/ 2754088 w 4317963"/>
              <a:gd name="connsiteY0" fmla="*/ 4239067 h 4239700"/>
              <a:gd name="connsiteX1" fmla="*/ 3418638 w 4317963"/>
              <a:gd name="connsiteY1" fmla="*/ 3684636 h 4239700"/>
              <a:gd name="connsiteX2" fmla="*/ 1895056 w 4317963"/>
              <a:gd name="connsiteY2" fmla="*/ 3165804 h 4239700"/>
              <a:gd name="connsiteX3" fmla="*/ 6941 w 4317963"/>
              <a:gd name="connsiteY3" fmla="*/ 2333774 h 4239700"/>
              <a:gd name="connsiteX4" fmla="*/ 37757 w 4317963"/>
              <a:gd name="connsiteY4" fmla="*/ 2245686 h 4239700"/>
              <a:gd name="connsiteX5" fmla="*/ 4127212 w 4317963"/>
              <a:gd name="connsiteY5" fmla="*/ 4239067 h 4239700"/>
              <a:gd name="connsiteX6" fmla="*/ 4306236 w 4317963"/>
              <a:gd name="connsiteY6" fmla="*/ 3665157 h 4239700"/>
              <a:gd name="connsiteX7" fmla="*/ 4142258 w 4317963"/>
              <a:gd name="connsiteY7" fmla="*/ 3327979 h 4239700"/>
              <a:gd name="connsiteX8" fmla="*/ 803859 w 4317963"/>
              <a:gd name="connsiteY8" fmla="*/ 796426 h 4239700"/>
              <a:gd name="connsiteX9" fmla="*/ 717971 w 4317963"/>
              <a:gd name="connsiteY9" fmla="*/ 902500 h 4239700"/>
              <a:gd name="connsiteX10" fmla="*/ 1942554 w 4317963"/>
              <a:gd name="connsiteY10" fmla="*/ 1264924 h 4239700"/>
              <a:gd name="connsiteX11" fmla="*/ 2990388 w 4317963"/>
              <a:gd name="connsiteY11" fmla="*/ 1487637 h 4239700"/>
              <a:gd name="connsiteX12" fmla="*/ 1953109 w 4317963"/>
              <a:gd name="connsiteY12" fmla="*/ 1745278 h 4239700"/>
              <a:gd name="connsiteX13" fmla="*/ 638269 w 4317963"/>
              <a:gd name="connsiteY13" fmla="*/ 1902990 h 4239700"/>
              <a:gd name="connsiteX14" fmla="*/ 1132440 w 4317963"/>
              <a:gd name="connsiteY14" fmla="*/ 686698 h 4239700"/>
              <a:gd name="connsiteX15" fmla="*/ 1953109 w 4317963"/>
              <a:gd name="connsiteY15" fmla="*/ 612429 h 4239700"/>
              <a:gd name="connsiteX16" fmla="*/ 2775064 w 4317963"/>
              <a:gd name="connsiteY16" fmla="*/ 473675 h 4239700"/>
              <a:gd name="connsiteX17" fmla="*/ 2012889 w 4317963"/>
              <a:gd name="connsiteY17" fmla="*/ 343559 h 4239700"/>
              <a:gd name="connsiteX18" fmla="*/ 1026178 w 4317963"/>
              <a:gd name="connsiteY18" fmla="*/ 145987 h 4239700"/>
              <a:gd name="connsiteX19" fmla="*/ 1151631 w 4317963"/>
              <a:gd name="connsiteY19" fmla="*/ 77289 h 4239700"/>
              <a:gd name="connsiteX20" fmla="*/ 1319553 w 4317963"/>
              <a:gd name="connsiteY20" fmla="*/ 43033 h 4239700"/>
              <a:gd name="connsiteX21" fmla="*/ 2028242 w 4317963"/>
              <a:gd name="connsiteY21" fmla="*/ 182 h 4239700"/>
              <a:gd name="connsiteX22" fmla="*/ 2026035 w 4317963"/>
              <a:gd name="connsiteY22" fmla="*/ 182 h 4239700"/>
              <a:gd name="connsiteX23" fmla="*/ 1357897 w 4317963"/>
              <a:gd name="connsiteY23" fmla="*/ 145987 h 4239700"/>
              <a:gd name="connsiteX24" fmla="*/ 2016632 w 4317963"/>
              <a:gd name="connsiteY24" fmla="*/ 256432 h 4239700"/>
              <a:gd name="connsiteX25" fmla="*/ 2804398 w 4317963"/>
              <a:gd name="connsiteY25" fmla="*/ 329933 h 4239700"/>
              <a:gd name="connsiteX26" fmla="*/ 3032359 w 4317963"/>
              <a:gd name="connsiteY26" fmla="*/ 402567 h 4239700"/>
              <a:gd name="connsiteX27" fmla="*/ 3104192 w 4317963"/>
              <a:gd name="connsiteY27" fmla="*/ 473675 h 4239700"/>
              <a:gd name="connsiteX28" fmla="*/ 1996097 w 4317963"/>
              <a:gd name="connsiteY28" fmla="*/ 737361 h 4239700"/>
              <a:gd name="connsiteX29" fmla="*/ 1105534 w 4317963"/>
              <a:gd name="connsiteY29" fmla="*/ 902404 h 4239700"/>
              <a:gd name="connsiteX30" fmla="*/ 1981416 w 4317963"/>
              <a:gd name="connsiteY30" fmla="*/ 1081745 h 4239700"/>
              <a:gd name="connsiteX31" fmla="*/ 2984382 w 4317963"/>
              <a:gd name="connsiteY31" fmla="*/ 1182028 h 4239700"/>
              <a:gd name="connsiteX32" fmla="*/ 3376312 w 4317963"/>
              <a:gd name="connsiteY32" fmla="*/ 1329627 h 4239700"/>
              <a:gd name="connsiteX33" fmla="*/ 3488302 w 4317963"/>
              <a:gd name="connsiteY33" fmla="*/ 1487445 h 4239700"/>
              <a:gd name="connsiteX34" fmla="*/ 1942554 w 4317963"/>
              <a:gd name="connsiteY34" fmla="*/ 1993995 h 4239700"/>
              <a:gd name="connsiteX35" fmla="*/ 672968 w 4317963"/>
              <a:gd name="connsiteY35" fmla="*/ 2352677 h 4239700"/>
              <a:gd name="connsiteX36" fmla="*/ 1911656 w 4317963"/>
              <a:gd name="connsiteY36" fmla="*/ 2719515 h 4239700"/>
              <a:gd name="connsiteX37" fmla="*/ 3485567 w 4317963"/>
              <a:gd name="connsiteY37" fmla="*/ 2950000 h 4239700"/>
              <a:gd name="connsiteX38" fmla="*/ 3860801 w 4317963"/>
              <a:gd name="connsiteY38" fmla="*/ 3919631 h 4239700"/>
              <a:gd name="connsiteX39" fmla="*/ 3793920 w 4317963"/>
              <a:gd name="connsiteY39" fmla="*/ 4037368 h 4239700"/>
              <a:gd name="connsiteX40" fmla="*/ 3879224 w 4317963"/>
              <a:gd name="connsiteY40" fmla="*/ 3685691 h 4239700"/>
              <a:gd name="connsiteX41" fmla="*/ 3888628 w 4317963"/>
              <a:gd name="connsiteY41" fmla="*/ 3801701 h 4239700"/>
              <a:gd name="connsiteX42" fmla="*/ 3759376 w 4317963"/>
              <a:gd name="connsiteY42" fmla="*/ 3467297 h 4239700"/>
              <a:gd name="connsiteX43" fmla="*/ 3835373 w 4317963"/>
              <a:gd name="connsiteY43" fmla="*/ 3573615 h 4239700"/>
              <a:gd name="connsiteX44" fmla="*/ 3521982 w 4317963"/>
              <a:gd name="connsiteY44" fmla="*/ 3286612 h 4239700"/>
              <a:gd name="connsiteX45" fmla="*/ 3653825 w 4317963"/>
              <a:gd name="connsiteY45" fmla="*/ 3377578 h 4239700"/>
              <a:gd name="connsiteX46" fmla="*/ 3192087 w 4317963"/>
              <a:gd name="connsiteY46" fmla="*/ 3142391 h 4239700"/>
              <a:gd name="connsiteX47" fmla="*/ 3367014 w 4317963"/>
              <a:gd name="connsiteY47" fmla="*/ 3214454 h 4239700"/>
              <a:gd name="connsiteX48" fmla="*/ 2794735 w 4317963"/>
              <a:gd name="connsiteY48" fmla="*/ 3029931 h 4239700"/>
              <a:gd name="connsiteX49" fmla="*/ 3000368 w 4317963"/>
              <a:gd name="connsiteY49" fmla="*/ 3080788 h 4239700"/>
              <a:gd name="connsiteX50" fmla="*/ 2352668 w 4317963"/>
              <a:gd name="connsiteY50" fmla="*/ 2963347 h 4239700"/>
              <a:gd name="connsiteX51" fmla="*/ 2577971 w 4317963"/>
              <a:gd name="connsiteY51" fmla="*/ 2990301 h 4239700"/>
              <a:gd name="connsiteX52" fmla="*/ 1888051 w 4317963"/>
              <a:gd name="connsiteY52" fmla="*/ 2924965 h 4239700"/>
              <a:gd name="connsiteX53" fmla="*/ 2121991 w 4317963"/>
              <a:gd name="connsiteY53" fmla="*/ 2937248 h 4239700"/>
              <a:gd name="connsiteX54" fmla="*/ 1421227 w 4317963"/>
              <a:gd name="connsiteY54" fmla="*/ 2886957 h 4239700"/>
              <a:gd name="connsiteX55" fmla="*/ 1651329 w 4317963"/>
              <a:gd name="connsiteY55" fmla="*/ 2905093 h 4239700"/>
              <a:gd name="connsiteX56" fmla="*/ 1012361 w 4317963"/>
              <a:gd name="connsiteY56" fmla="*/ 2818253 h 4239700"/>
              <a:gd name="connsiteX57" fmla="*/ 1212908 w 4317963"/>
              <a:gd name="connsiteY57" fmla="*/ 2857691 h 4239700"/>
              <a:gd name="connsiteX58" fmla="*/ 669412 w 4317963"/>
              <a:gd name="connsiteY58" fmla="*/ 2723449 h 4239700"/>
              <a:gd name="connsiteX59" fmla="*/ 823616 w 4317963"/>
              <a:gd name="connsiteY59" fmla="*/ 2779487 h 4239700"/>
              <a:gd name="connsiteX60" fmla="*/ 445068 w 4317963"/>
              <a:gd name="connsiteY60" fmla="*/ 2594677 h 4239700"/>
              <a:gd name="connsiteX61" fmla="*/ 542654 w 4317963"/>
              <a:gd name="connsiteY61" fmla="*/ 2661366 h 4239700"/>
              <a:gd name="connsiteX62" fmla="*/ 971963 w 4317963"/>
              <a:gd name="connsiteY62" fmla="*/ 1974324 h 4239700"/>
              <a:gd name="connsiteX63" fmla="*/ 822657 w 4317963"/>
              <a:gd name="connsiteY63" fmla="*/ 2017024 h 4239700"/>
              <a:gd name="connsiteX64" fmla="*/ 1306752 w 4317963"/>
              <a:gd name="connsiteY64" fmla="*/ 1908978 h 4239700"/>
              <a:gd name="connsiteX65" fmla="*/ 1134128 w 4317963"/>
              <a:gd name="connsiteY65" fmla="*/ 1938149 h 4239700"/>
              <a:gd name="connsiteX66" fmla="*/ 1673686 w 4317963"/>
              <a:gd name="connsiteY66" fmla="*/ 1872419 h 4239700"/>
              <a:gd name="connsiteX67" fmla="*/ 1487437 w 4317963"/>
              <a:gd name="connsiteY67" fmla="*/ 1887004 h 4239700"/>
              <a:gd name="connsiteX68" fmla="*/ 2050983 w 4317963"/>
              <a:gd name="connsiteY68" fmla="*/ 1853900 h 4239700"/>
              <a:gd name="connsiteX69" fmla="*/ 1862815 w 4317963"/>
              <a:gd name="connsiteY69" fmla="*/ 1865318 h 4239700"/>
              <a:gd name="connsiteX70" fmla="*/ 2414079 w 4317963"/>
              <a:gd name="connsiteY70" fmla="*/ 1831350 h 4239700"/>
              <a:gd name="connsiteX71" fmla="*/ 2235698 w 4317963"/>
              <a:gd name="connsiteY71" fmla="*/ 1846223 h 4239700"/>
              <a:gd name="connsiteX72" fmla="*/ 2736202 w 4317963"/>
              <a:gd name="connsiteY72" fmla="*/ 1782029 h 4239700"/>
              <a:gd name="connsiteX73" fmla="*/ 2582194 w 4317963"/>
              <a:gd name="connsiteY73" fmla="*/ 1809760 h 4239700"/>
              <a:gd name="connsiteX74" fmla="*/ 3000559 w 4317963"/>
              <a:gd name="connsiteY74" fmla="*/ 1711214 h 4239700"/>
              <a:gd name="connsiteX75" fmla="*/ 2873323 w 4317963"/>
              <a:gd name="connsiteY75" fmla="*/ 1748924 h 4239700"/>
              <a:gd name="connsiteX76" fmla="*/ 3160614 w 4317963"/>
              <a:gd name="connsiteY76" fmla="*/ 1635505 h 4239700"/>
              <a:gd name="connsiteX77" fmla="*/ 3087208 w 4317963"/>
              <a:gd name="connsiteY77" fmla="*/ 1679453 h 4239700"/>
              <a:gd name="connsiteX78" fmla="*/ 3236227 w 4317963"/>
              <a:gd name="connsiteY78" fmla="*/ 1543292 h 4239700"/>
              <a:gd name="connsiteX79" fmla="*/ 3210414 w 4317963"/>
              <a:gd name="connsiteY79" fmla="*/ 1589830 h 4239700"/>
              <a:gd name="connsiteX80" fmla="*/ 3218858 w 4317963"/>
              <a:gd name="connsiteY80" fmla="*/ 1451462 h 4239700"/>
              <a:gd name="connsiteX81" fmla="*/ 3236418 w 4317963"/>
              <a:gd name="connsiteY81" fmla="*/ 1487445 h 4239700"/>
              <a:gd name="connsiteX82" fmla="*/ 3238721 w 4317963"/>
              <a:gd name="connsiteY82" fmla="*/ 1496849 h 4239700"/>
              <a:gd name="connsiteX83" fmla="*/ 2940299 w 4317963"/>
              <a:gd name="connsiteY83" fmla="*/ 1293039 h 4239700"/>
              <a:gd name="connsiteX84" fmla="*/ 3036639 w 4317963"/>
              <a:gd name="connsiteY84" fmla="*/ 1327967 h 4239700"/>
              <a:gd name="connsiteX85" fmla="*/ 2705976 w 4317963"/>
              <a:gd name="connsiteY85" fmla="*/ 1235082 h 4239700"/>
              <a:gd name="connsiteX86" fmla="*/ 2829471 w 4317963"/>
              <a:gd name="connsiteY86" fmla="*/ 1261950 h 4239700"/>
              <a:gd name="connsiteX87" fmla="*/ 2429432 w 4317963"/>
              <a:gd name="connsiteY87" fmla="*/ 1195261 h 4239700"/>
              <a:gd name="connsiteX88" fmla="*/ 2571926 w 4317963"/>
              <a:gd name="connsiteY88" fmla="*/ 1212821 h 4239700"/>
              <a:gd name="connsiteX89" fmla="*/ 2127172 w 4317963"/>
              <a:gd name="connsiteY89" fmla="*/ 1175206 h 4239700"/>
              <a:gd name="connsiteX90" fmla="*/ 2280413 w 4317963"/>
              <a:gd name="connsiteY90" fmla="*/ 1182691 h 4239700"/>
              <a:gd name="connsiteX91" fmla="*/ 1813877 w 4317963"/>
              <a:gd name="connsiteY91" fmla="*/ 1170120 h 4239700"/>
              <a:gd name="connsiteX92" fmla="*/ 1971628 w 4317963"/>
              <a:gd name="connsiteY92" fmla="*/ 1172903 h 4239700"/>
              <a:gd name="connsiteX93" fmla="*/ 1513249 w 4317963"/>
              <a:gd name="connsiteY93" fmla="*/ 1149298 h 4239700"/>
              <a:gd name="connsiteX94" fmla="*/ 1659869 w 4317963"/>
              <a:gd name="connsiteY94" fmla="*/ 1162156 h 4239700"/>
              <a:gd name="connsiteX95" fmla="*/ 1254169 w 4317963"/>
              <a:gd name="connsiteY95" fmla="*/ 1110148 h 4239700"/>
              <a:gd name="connsiteX96" fmla="*/ 1377184 w 4317963"/>
              <a:gd name="connsiteY96" fmla="*/ 1131834 h 4239700"/>
              <a:gd name="connsiteX97" fmla="*/ 1056308 w 4317963"/>
              <a:gd name="connsiteY97" fmla="*/ 1056509 h 4239700"/>
              <a:gd name="connsiteX98" fmla="*/ 1146507 w 4317963"/>
              <a:gd name="connsiteY98" fmla="*/ 1084816 h 4239700"/>
              <a:gd name="connsiteX99" fmla="*/ 933197 w 4317963"/>
              <a:gd name="connsiteY99" fmla="*/ 993562 h 4239700"/>
              <a:gd name="connsiteX100" fmla="*/ 984918 w 4317963"/>
              <a:gd name="connsiteY100" fmla="*/ 1025899 h 4239700"/>
              <a:gd name="connsiteX101" fmla="*/ 890785 w 4317963"/>
              <a:gd name="connsiteY101" fmla="*/ 926489 h 4239700"/>
              <a:gd name="connsiteX102" fmla="*/ 901820 w 4317963"/>
              <a:gd name="connsiteY102" fmla="*/ 960170 h 4239700"/>
              <a:gd name="connsiteX103" fmla="*/ 1202737 w 4317963"/>
              <a:gd name="connsiteY103" fmla="*/ 748304 h 4239700"/>
              <a:gd name="connsiteX104" fmla="*/ 1111771 w 4317963"/>
              <a:gd name="connsiteY104" fmla="*/ 772676 h 4239700"/>
              <a:gd name="connsiteX105" fmla="*/ 1418541 w 4317963"/>
              <a:gd name="connsiteY105" fmla="*/ 708578 h 4239700"/>
              <a:gd name="connsiteX106" fmla="*/ 1305601 w 4317963"/>
              <a:gd name="connsiteY106" fmla="*/ 726810 h 4239700"/>
              <a:gd name="connsiteX107" fmla="*/ 1667449 w 4317963"/>
              <a:gd name="connsiteY107" fmla="*/ 682478 h 4239700"/>
              <a:gd name="connsiteX108" fmla="*/ 1539732 w 4317963"/>
              <a:gd name="connsiteY108" fmla="*/ 693705 h 4239700"/>
              <a:gd name="connsiteX109" fmla="*/ 1934685 w 4317963"/>
              <a:gd name="connsiteY109" fmla="*/ 671251 h 4239700"/>
              <a:gd name="connsiteX110" fmla="*/ 1799868 w 4317963"/>
              <a:gd name="connsiteY110" fmla="*/ 674994 h 4239700"/>
              <a:gd name="connsiteX111" fmla="*/ 2200962 w 4317963"/>
              <a:gd name="connsiteY111" fmla="*/ 666549 h 4239700"/>
              <a:gd name="connsiteX112" fmla="*/ 2069023 w 4317963"/>
              <a:gd name="connsiteY112" fmla="*/ 670388 h 4239700"/>
              <a:gd name="connsiteX113" fmla="*/ 2449583 w 4317963"/>
              <a:gd name="connsiteY113" fmla="*/ 648030 h 4239700"/>
              <a:gd name="connsiteX114" fmla="*/ 2328775 w 4317963"/>
              <a:gd name="connsiteY114" fmla="*/ 658969 h 4239700"/>
              <a:gd name="connsiteX115" fmla="*/ 2660973 w 4317963"/>
              <a:gd name="connsiteY115" fmla="*/ 616844 h 4239700"/>
              <a:gd name="connsiteX116" fmla="*/ 2561083 w 4317963"/>
              <a:gd name="connsiteY116" fmla="*/ 633829 h 4239700"/>
              <a:gd name="connsiteX117" fmla="*/ 2819300 w 4317963"/>
              <a:gd name="connsiteY117" fmla="*/ 575871 h 4239700"/>
              <a:gd name="connsiteX118" fmla="*/ 2747525 w 4317963"/>
              <a:gd name="connsiteY118" fmla="*/ 597365 h 4239700"/>
              <a:gd name="connsiteX119" fmla="*/ 2914104 w 4317963"/>
              <a:gd name="connsiteY119" fmla="*/ 528757 h 4239700"/>
              <a:gd name="connsiteX120" fmla="*/ 2875050 w 4317963"/>
              <a:gd name="connsiteY120" fmla="*/ 552842 h 4239700"/>
              <a:gd name="connsiteX121" fmla="*/ 2940875 w 4317963"/>
              <a:gd name="connsiteY121" fmla="*/ 479244 h 4239700"/>
              <a:gd name="connsiteX122" fmla="*/ 2935982 w 4317963"/>
              <a:gd name="connsiteY122" fmla="*/ 504001 h 4239700"/>
              <a:gd name="connsiteX123" fmla="*/ 2802507 w 4317963"/>
              <a:gd name="connsiteY123" fmla="*/ 387511 h 4239700"/>
              <a:gd name="connsiteX124" fmla="*/ 2859217 w 4317963"/>
              <a:gd name="connsiteY124" fmla="*/ 408621 h 4239700"/>
              <a:gd name="connsiteX125" fmla="*/ 2651953 w 4317963"/>
              <a:gd name="connsiteY125" fmla="*/ 350952 h 4239700"/>
              <a:gd name="connsiteX126" fmla="*/ 2732940 w 4317963"/>
              <a:gd name="connsiteY126" fmla="*/ 368224 h 4239700"/>
              <a:gd name="connsiteX127" fmla="*/ 2461865 w 4317963"/>
              <a:gd name="connsiteY127" fmla="*/ 323508 h 4239700"/>
              <a:gd name="connsiteX128" fmla="*/ 2561083 w 4317963"/>
              <a:gd name="connsiteY128" fmla="*/ 335983 h 4239700"/>
              <a:gd name="connsiteX129" fmla="*/ 2244526 w 4317963"/>
              <a:gd name="connsiteY129" fmla="*/ 306524 h 4239700"/>
              <a:gd name="connsiteX130" fmla="*/ 2355834 w 4317963"/>
              <a:gd name="connsiteY130" fmla="*/ 313625 h 4239700"/>
              <a:gd name="connsiteX131" fmla="*/ 2013273 w 4317963"/>
              <a:gd name="connsiteY131" fmla="*/ 300863 h 4239700"/>
              <a:gd name="connsiteX132" fmla="*/ 2014712 w 4317963"/>
              <a:gd name="connsiteY132" fmla="*/ 300863 h 4239700"/>
              <a:gd name="connsiteX133" fmla="*/ 2129763 w 4317963"/>
              <a:gd name="connsiteY133" fmla="*/ 302206 h 4239700"/>
              <a:gd name="connsiteX134" fmla="*/ 1779333 w 4317963"/>
              <a:gd name="connsiteY134" fmla="*/ 295009 h 4239700"/>
              <a:gd name="connsiteX135" fmla="*/ 1894960 w 4317963"/>
              <a:gd name="connsiteY135" fmla="*/ 299423 h 4239700"/>
              <a:gd name="connsiteX136" fmla="*/ 1565640 w 4317963"/>
              <a:gd name="connsiteY136" fmla="*/ 278025 h 4239700"/>
              <a:gd name="connsiteX137" fmla="*/ 1668793 w 4317963"/>
              <a:gd name="connsiteY137" fmla="*/ 287813 h 4239700"/>
              <a:gd name="connsiteX138" fmla="*/ 1389274 w 4317963"/>
              <a:gd name="connsiteY138" fmla="*/ 251446 h 4239700"/>
              <a:gd name="connsiteX139" fmla="*/ 1471892 w 4317963"/>
              <a:gd name="connsiteY139" fmla="*/ 265743 h 4239700"/>
              <a:gd name="connsiteX140" fmla="*/ 1262901 w 4317963"/>
              <a:gd name="connsiteY140" fmla="*/ 217861 h 4239700"/>
              <a:gd name="connsiteX141" fmla="*/ 1319227 w 4317963"/>
              <a:gd name="connsiteY141" fmla="*/ 235325 h 4239700"/>
              <a:gd name="connsiteX142" fmla="*/ 1194772 w 4317963"/>
              <a:gd name="connsiteY142" fmla="*/ 180055 h 4239700"/>
              <a:gd name="connsiteX143" fmla="*/ 1221256 w 4317963"/>
              <a:gd name="connsiteY143" fmla="*/ 199342 h 4239700"/>
              <a:gd name="connsiteX144" fmla="*/ 1187576 w 4317963"/>
              <a:gd name="connsiteY144" fmla="*/ 140905 h 4239700"/>
              <a:gd name="connsiteX145" fmla="*/ 1185177 w 4317963"/>
              <a:gd name="connsiteY145" fmla="*/ 145895 h 4239700"/>
              <a:gd name="connsiteX146" fmla="*/ 1183641 w 4317963"/>
              <a:gd name="connsiteY146" fmla="*/ 160480 h 4239700"/>
              <a:gd name="connsiteX147" fmla="*/ 1341680 w 4317963"/>
              <a:gd name="connsiteY147" fmla="*/ 69898 h 4239700"/>
              <a:gd name="connsiteX148" fmla="*/ 1283915 w 4317963"/>
              <a:gd name="connsiteY148" fmla="*/ 86018 h 4239700"/>
              <a:gd name="connsiteX149" fmla="*/ 1488684 w 4317963"/>
              <a:gd name="connsiteY149" fmla="*/ 42359 h 4239700"/>
              <a:gd name="connsiteX150" fmla="*/ 1410384 w 4317963"/>
              <a:gd name="connsiteY150" fmla="*/ 55217 h 4239700"/>
              <a:gd name="connsiteX151" fmla="*/ 1668505 w 4317963"/>
              <a:gd name="connsiteY151" fmla="*/ 22400 h 4239700"/>
              <a:gd name="connsiteX152" fmla="*/ 1575140 w 4317963"/>
              <a:gd name="connsiteY152" fmla="*/ 31420 h 4239700"/>
              <a:gd name="connsiteX153" fmla="*/ 3687409 w 4317963"/>
              <a:gd name="connsiteY153" fmla="*/ 4152323 h 4239700"/>
              <a:gd name="connsiteX154" fmla="*/ 3574508 w 4317963"/>
              <a:gd name="connsiteY154" fmla="*/ 4239883 h 42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4317963" h="4239700">
                <a:moveTo>
                  <a:pt x="2754088" y="4239067"/>
                </a:moveTo>
                <a:cubicBezTo>
                  <a:pt x="3216978" y="4115764"/>
                  <a:pt x="3473035" y="3923488"/>
                  <a:pt x="3418638" y="3684636"/>
                </a:cubicBezTo>
                <a:cubicBezTo>
                  <a:pt x="3350509" y="3385542"/>
                  <a:pt x="2638606" y="3234652"/>
                  <a:pt x="1895056" y="3165804"/>
                </a:cubicBezTo>
                <a:cubicBezTo>
                  <a:pt x="537516" y="3040112"/>
                  <a:pt x="-71734" y="2771427"/>
                  <a:pt x="6941" y="2333774"/>
                </a:cubicBezTo>
                <a:cubicBezTo>
                  <a:pt x="12397" y="2303423"/>
                  <a:pt x="22635" y="2274051"/>
                  <a:pt x="37757" y="2245686"/>
                </a:cubicBezTo>
                <a:moveTo>
                  <a:pt x="4127212" y="4239067"/>
                </a:moveTo>
                <a:cubicBezTo>
                  <a:pt x="4282382" y="4067393"/>
                  <a:pt x="4346989" y="3873419"/>
                  <a:pt x="4306236" y="3665157"/>
                </a:cubicBezTo>
                <a:cubicBezTo>
                  <a:pt x="4282094" y="3541777"/>
                  <a:pt x="4229693" y="3429193"/>
                  <a:pt x="4142258" y="3327979"/>
                </a:cubicBezTo>
                <a:moveTo>
                  <a:pt x="803859" y="796426"/>
                </a:moveTo>
                <a:cubicBezTo>
                  <a:pt x="751398" y="829592"/>
                  <a:pt x="724324" y="865433"/>
                  <a:pt x="717971" y="902500"/>
                </a:cubicBezTo>
                <a:cubicBezTo>
                  <a:pt x="693744" y="1043843"/>
                  <a:pt x="851827" y="1213684"/>
                  <a:pt x="1942554" y="1264924"/>
                </a:cubicBezTo>
                <a:cubicBezTo>
                  <a:pt x="2485470" y="1290429"/>
                  <a:pt x="2966879" y="1374506"/>
                  <a:pt x="2990388" y="1487637"/>
                </a:cubicBezTo>
                <a:cubicBezTo>
                  <a:pt x="3034048" y="1614395"/>
                  <a:pt x="2655791" y="1717959"/>
                  <a:pt x="1953109" y="1745278"/>
                </a:cubicBezTo>
                <a:cubicBezTo>
                  <a:pt x="1386751" y="1767300"/>
                  <a:pt x="952034" y="1821371"/>
                  <a:pt x="638269" y="1902990"/>
                </a:cubicBezTo>
                <a:moveTo>
                  <a:pt x="1132440" y="686698"/>
                </a:moveTo>
                <a:cubicBezTo>
                  <a:pt x="1324773" y="649250"/>
                  <a:pt x="1592508" y="622678"/>
                  <a:pt x="1953109" y="612429"/>
                </a:cubicBezTo>
                <a:cubicBezTo>
                  <a:pt x="2392010" y="599954"/>
                  <a:pt x="2794255" y="558116"/>
                  <a:pt x="2775064" y="473675"/>
                </a:cubicBezTo>
                <a:cubicBezTo>
                  <a:pt x="2756928" y="394128"/>
                  <a:pt x="2405539" y="358432"/>
                  <a:pt x="2012889" y="343559"/>
                </a:cubicBezTo>
                <a:cubicBezTo>
                  <a:pt x="1332085" y="317747"/>
                  <a:pt x="981559" y="245493"/>
                  <a:pt x="1026178" y="145987"/>
                </a:cubicBezTo>
                <a:cubicBezTo>
                  <a:pt x="1037875" y="119895"/>
                  <a:pt x="1082303" y="96879"/>
                  <a:pt x="1151631" y="77289"/>
                </a:cubicBezTo>
                <a:moveTo>
                  <a:pt x="1319553" y="43033"/>
                </a:moveTo>
                <a:cubicBezTo>
                  <a:pt x="1503979" y="15233"/>
                  <a:pt x="1757129" y="182"/>
                  <a:pt x="2028242" y="182"/>
                </a:cubicBezTo>
                <a:lnTo>
                  <a:pt x="2026035" y="182"/>
                </a:lnTo>
                <a:cubicBezTo>
                  <a:pt x="1676661" y="182"/>
                  <a:pt x="1377376" y="83807"/>
                  <a:pt x="1357897" y="145987"/>
                </a:cubicBezTo>
                <a:cubicBezTo>
                  <a:pt x="1337458" y="211428"/>
                  <a:pt x="1617073" y="241366"/>
                  <a:pt x="2016632" y="256432"/>
                </a:cubicBezTo>
                <a:cubicBezTo>
                  <a:pt x="2366591" y="269649"/>
                  <a:pt x="2626256" y="294202"/>
                  <a:pt x="2804398" y="329933"/>
                </a:cubicBezTo>
                <a:moveTo>
                  <a:pt x="3032359" y="402567"/>
                </a:moveTo>
                <a:cubicBezTo>
                  <a:pt x="3071096" y="424092"/>
                  <a:pt x="3094788" y="447799"/>
                  <a:pt x="3104192" y="473675"/>
                </a:cubicBezTo>
                <a:cubicBezTo>
                  <a:pt x="3150922" y="602255"/>
                  <a:pt x="2783508" y="706751"/>
                  <a:pt x="1996097" y="737361"/>
                </a:cubicBezTo>
                <a:cubicBezTo>
                  <a:pt x="1521981" y="755784"/>
                  <a:pt x="1134224" y="817867"/>
                  <a:pt x="1105534" y="902404"/>
                </a:cubicBezTo>
                <a:cubicBezTo>
                  <a:pt x="1076651" y="990492"/>
                  <a:pt x="1298231" y="1060136"/>
                  <a:pt x="1981416" y="1081745"/>
                </a:cubicBezTo>
                <a:cubicBezTo>
                  <a:pt x="2424519" y="1095764"/>
                  <a:pt x="2750855" y="1131066"/>
                  <a:pt x="2984382" y="1182028"/>
                </a:cubicBezTo>
                <a:moveTo>
                  <a:pt x="3376312" y="1329627"/>
                </a:moveTo>
                <a:cubicBezTo>
                  <a:pt x="3444133" y="1377807"/>
                  <a:pt x="3479090" y="1430966"/>
                  <a:pt x="3488302" y="1487445"/>
                </a:cubicBezTo>
                <a:cubicBezTo>
                  <a:pt x="3530349" y="1745278"/>
                  <a:pt x="3104192" y="1920483"/>
                  <a:pt x="1942554" y="1993995"/>
                </a:cubicBezTo>
                <a:cubicBezTo>
                  <a:pt x="1105534" y="2046962"/>
                  <a:pt x="702551" y="2166907"/>
                  <a:pt x="672968" y="2352677"/>
                </a:cubicBezTo>
                <a:cubicBezTo>
                  <a:pt x="643385" y="2538447"/>
                  <a:pt x="1152168" y="2679885"/>
                  <a:pt x="1911656" y="2719515"/>
                </a:cubicBezTo>
                <a:cubicBezTo>
                  <a:pt x="2603908" y="2755632"/>
                  <a:pt x="3115937" y="2833539"/>
                  <a:pt x="3485567" y="2950000"/>
                </a:cubicBezTo>
                <a:moveTo>
                  <a:pt x="3860801" y="3919631"/>
                </a:moveTo>
                <a:cubicBezTo>
                  <a:pt x="3845064" y="3959261"/>
                  <a:pt x="3822611" y="3998890"/>
                  <a:pt x="3793920" y="4037368"/>
                </a:cubicBezTo>
                <a:moveTo>
                  <a:pt x="3879224" y="3685691"/>
                </a:moveTo>
                <a:cubicBezTo>
                  <a:pt x="3888340" y="3724073"/>
                  <a:pt x="3891507" y="3763031"/>
                  <a:pt x="3888628" y="3801701"/>
                </a:cubicBezTo>
                <a:moveTo>
                  <a:pt x="3759376" y="3467297"/>
                </a:moveTo>
                <a:cubicBezTo>
                  <a:pt x="3789794" y="3501649"/>
                  <a:pt x="3815414" y="3537440"/>
                  <a:pt x="3835373" y="3573615"/>
                </a:cubicBezTo>
                <a:moveTo>
                  <a:pt x="3521982" y="3286612"/>
                </a:moveTo>
                <a:cubicBezTo>
                  <a:pt x="3570056" y="3315495"/>
                  <a:pt x="3614483" y="3346105"/>
                  <a:pt x="3653825" y="3377578"/>
                </a:cubicBezTo>
                <a:moveTo>
                  <a:pt x="3192087" y="3142391"/>
                </a:moveTo>
                <a:cubicBezTo>
                  <a:pt x="3253498" y="3164749"/>
                  <a:pt x="3312319" y="3188929"/>
                  <a:pt x="3367014" y="3214454"/>
                </a:cubicBezTo>
                <a:moveTo>
                  <a:pt x="2794735" y="3029931"/>
                </a:moveTo>
                <a:cubicBezTo>
                  <a:pt x="2865262" y="3044996"/>
                  <a:pt x="2934446" y="3062076"/>
                  <a:pt x="3000368" y="3080788"/>
                </a:cubicBezTo>
                <a:moveTo>
                  <a:pt x="2352668" y="2963347"/>
                </a:moveTo>
                <a:cubicBezTo>
                  <a:pt x="2428760" y="2970832"/>
                  <a:pt x="2504470" y="2979075"/>
                  <a:pt x="2577971" y="2990301"/>
                </a:cubicBezTo>
                <a:moveTo>
                  <a:pt x="1888051" y="2924965"/>
                </a:moveTo>
                <a:cubicBezTo>
                  <a:pt x="1888051" y="2924965"/>
                  <a:pt x="2044046" y="2933611"/>
                  <a:pt x="2121991" y="2937248"/>
                </a:cubicBezTo>
                <a:moveTo>
                  <a:pt x="1421227" y="2886957"/>
                </a:moveTo>
                <a:cubicBezTo>
                  <a:pt x="1495785" y="2894826"/>
                  <a:pt x="1573221" y="2900967"/>
                  <a:pt x="1651329" y="2905093"/>
                </a:cubicBezTo>
                <a:moveTo>
                  <a:pt x="1012361" y="2818253"/>
                </a:moveTo>
                <a:cubicBezTo>
                  <a:pt x="1075883" y="2832934"/>
                  <a:pt x="1143340" y="2846272"/>
                  <a:pt x="1212908" y="2857691"/>
                </a:cubicBezTo>
                <a:moveTo>
                  <a:pt x="669412" y="2723449"/>
                </a:moveTo>
                <a:cubicBezTo>
                  <a:pt x="716429" y="2743216"/>
                  <a:pt x="768245" y="2762119"/>
                  <a:pt x="823616" y="2779487"/>
                </a:cubicBezTo>
                <a:moveTo>
                  <a:pt x="445068" y="2594677"/>
                </a:moveTo>
                <a:cubicBezTo>
                  <a:pt x="472510" y="2617514"/>
                  <a:pt x="505327" y="2639968"/>
                  <a:pt x="542654" y="2661366"/>
                </a:cubicBezTo>
                <a:moveTo>
                  <a:pt x="971963" y="1974324"/>
                </a:moveTo>
                <a:cubicBezTo>
                  <a:pt x="919860" y="1987470"/>
                  <a:pt x="869675" y="2001863"/>
                  <a:pt x="822657" y="2017024"/>
                </a:cubicBezTo>
                <a:moveTo>
                  <a:pt x="1306752" y="1908978"/>
                </a:moveTo>
                <a:cubicBezTo>
                  <a:pt x="1247836" y="1917518"/>
                  <a:pt x="1189783" y="1927306"/>
                  <a:pt x="1134128" y="1938149"/>
                </a:cubicBezTo>
                <a:moveTo>
                  <a:pt x="1673686" y="1872419"/>
                </a:moveTo>
                <a:cubicBezTo>
                  <a:pt x="1611027" y="1876065"/>
                  <a:pt x="1548368" y="1880959"/>
                  <a:pt x="1487437" y="1887004"/>
                </a:cubicBezTo>
                <a:moveTo>
                  <a:pt x="2050983" y="1853900"/>
                </a:moveTo>
                <a:lnTo>
                  <a:pt x="1862815" y="1865318"/>
                </a:lnTo>
                <a:moveTo>
                  <a:pt x="2414079" y="1831350"/>
                </a:moveTo>
                <a:cubicBezTo>
                  <a:pt x="2356218" y="1837491"/>
                  <a:pt x="2296150" y="1842481"/>
                  <a:pt x="2235698" y="1846223"/>
                </a:cubicBezTo>
                <a:moveTo>
                  <a:pt x="2736202" y="1782029"/>
                </a:moveTo>
                <a:cubicBezTo>
                  <a:pt x="2687457" y="1792200"/>
                  <a:pt x="2635641" y="1801604"/>
                  <a:pt x="2582194" y="1809760"/>
                </a:cubicBezTo>
                <a:moveTo>
                  <a:pt x="3000559" y="1711214"/>
                </a:moveTo>
                <a:cubicBezTo>
                  <a:pt x="2964768" y="1724456"/>
                  <a:pt x="2915639" y="1737122"/>
                  <a:pt x="2873323" y="1748924"/>
                </a:cubicBezTo>
                <a:moveTo>
                  <a:pt x="3160614" y="1635505"/>
                </a:moveTo>
                <a:cubicBezTo>
                  <a:pt x="3140079" y="1650474"/>
                  <a:pt x="3115418" y="1665347"/>
                  <a:pt x="3087208" y="1679453"/>
                </a:cubicBezTo>
                <a:moveTo>
                  <a:pt x="3236227" y="1543292"/>
                </a:moveTo>
                <a:cubicBezTo>
                  <a:pt x="3231525" y="1558836"/>
                  <a:pt x="3222889" y="1574477"/>
                  <a:pt x="3210414" y="1589830"/>
                </a:cubicBezTo>
                <a:moveTo>
                  <a:pt x="3218858" y="1451462"/>
                </a:moveTo>
                <a:cubicBezTo>
                  <a:pt x="3226919" y="1463265"/>
                  <a:pt x="3232868" y="1475355"/>
                  <a:pt x="3236418" y="1487445"/>
                </a:cubicBezTo>
                <a:cubicBezTo>
                  <a:pt x="3237378" y="1490612"/>
                  <a:pt x="3238145" y="1493778"/>
                  <a:pt x="3238721" y="1496849"/>
                </a:cubicBezTo>
                <a:moveTo>
                  <a:pt x="2940299" y="1293039"/>
                </a:moveTo>
                <a:cubicBezTo>
                  <a:pt x="2974939" y="1304074"/>
                  <a:pt x="3007373" y="1315781"/>
                  <a:pt x="3036639" y="1327967"/>
                </a:cubicBezTo>
                <a:moveTo>
                  <a:pt x="2705976" y="1235082"/>
                </a:moveTo>
                <a:cubicBezTo>
                  <a:pt x="2748964" y="1243238"/>
                  <a:pt x="2790513" y="1252258"/>
                  <a:pt x="2829471" y="1261950"/>
                </a:cubicBezTo>
                <a:moveTo>
                  <a:pt x="2429432" y="1195261"/>
                </a:moveTo>
                <a:cubicBezTo>
                  <a:pt x="2477986" y="1200250"/>
                  <a:pt x="2525963" y="1206200"/>
                  <a:pt x="2571926" y="1212821"/>
                </a:cubicBezTo>
                <a:moveTo>
                  <a:pt x="2127172" y="1175206"/>
                </a:moveTo>
                <a:cubicBezTo>
                  <a:pt x="2178700" y="1176837"/>
                  <a:pt x="2230229" y="1179332"/>
                  <a:pt x="2280413" y="1182691"/>
                </a:cubicBezTo>
                <a:moveTo>
                  <a:pt x="1813877" y="1170120"/>
                </a:moveTo>
                <a:cubicBezTo>
                  <a:pt x="1865693" y="1171944"/>
                  <a:pt x="1918757" y="1172807"/>
                  <a:pt x="1971628" y="1172903"/>
                </a:cubicBezTo>
                <a:moveTo>
                  <a:pt x="1513249" y="1149298"/>
                </a:moveTo>
                <a:cubicBezTo>
                  <a:pt x="1560555" y="1154384"/>
                  <a:pt x="1609876" y="1158702"/>
                  <a:pt x="1659869" y="1162156"/>
                </a:cubicBezTo>
                <a:moveTo>
                  <a:pt x="1254169" y="1110148"/>
                </a:moveTo>
                <a:cubicBezTo>
                  <a:pt x="1292647" y="1118017"/>
                  <a:pt x="1334100" y="1125309"/>
                  <a:pt x="1377184" y="1131834"/>
                </a:cubicBezTo>
                <a:moveTo>
                  <a:pt x="1056308" y="1056509"/>
                </a:moveTo>
                <a:cubicBezTo>
                  <a:pt x="1083272" y="1066392"/>
                  <a:pt x="1113690" y="1075892"/>
                  <a:pt x="1146507" y="1084816"/>
                </a:cubicBezTo>
                <a:moveTo>
                  <a:pt x="933197" y="993562"/>
                </a:moveTo>
                <a:cubicBezTo>
                  <a:pt x="947111" y="1004597"/>
                  <a:pt x="964479" y="1015440"/>
                  <a:pt x="984918" y="1025899"/>
                </a:cubicBezTo>
                <a:moveTo>
                  <a:pt x="890785" y="926489"/>
                </a:moveTo>
                <a:cubicBezTo>
                  <a:pt x="891169" y="937716"/>
                  <a:pt x="894815" y="949135"/>
                  <a:pt x="901820" y="960170"/>
                </a:cubicBezTo>
                <a:moveTo>
                  <a:pt x="1202737" y="748304"/>
                </a:moveTo>
                <a:cubicBezTo>
                  <a:pt x="1170400" y="755980"/>
                  <a:pt x="1139694" y="764136"/>
                  <a:pt x="1111771" y="772676"/>
                </a:cubicBezTo>
                <a:moveTo>
                  <a:pt x="1418541" y="708578"/>
                </a:moveTo>
                <a:cubicBezTo>
                  <a:pt x="1379583" y="714047"/>
                  <a:pt x="1341584" y="720285"/>
                  <a:pt x="1305601" y="726810"/>
                </a:cubicBezTo>
                <a:moveTo>
                  <a:pt x="1667449" y="682478"/>
                </a:moveTo>
                <a:cubicBezTo>
                  <a:pt x="1624077" y="685645"/>
                  <a:pt x="1581185" y="689387"/>
                  <a:pt x="1539732" y="693705"/>
                </a:cubicBezTo>
                <a:moveTo>
                  <a:pt x="1934685" y="671251"/>
                </a:moveTo>
                <a:cubicBezTo>
                  <a:pt x="1889586" y="671827"/>
                  <a:pt x="1844199" y="673074"/>
                  <a:pt x="1799868" y="674994"/>
                </a:cubicBezTo>
                <a:moveTo>
                  <a:pt x="2200962" y="666549"/>
                </a:moveTo>
                <a:cubicBezTo>
                  <a:pt x="2157686" y="668469"/>
                  <a:pt x="2113355" y="669716"/>
                  <a:pt x="2069023" y="670388"/>
                </a:cubicBezTo>
                <a:moveTo>
                  <a:pt x="2449583" y="648030"/>
                </a:moveTo>
                <a:cubicBezTo>
                  <a:pt x="2410817" y="652252"/>
                  <a:pt x="2370132" y="655898"/>
                  <a:pt x="2328775" y="658969"/>
                </a:cubicBezTo>
                <a:moveTo>
                  <a:pt x="2660973" y="616844"/>
                </a:moveTo>
                <a:cubicBezTo>
                  <a:pt x="2629787" y="622986"/>
                  <a:pt x="2596203" y="628647"/>
                  <a:pt x="2561083" y="633829"/>
                </a:cubicBezTo>
                <a:moveTo>
                  <a:pt x="2819300" y="575871"/>
                </a:moveTo>
                <a:cubicBezTo>
                  <a:pt x="2797997" y="583260"/>
                  <a:pt x="2773913" y="590553"/>
                  <a:pt x="2747525" y="597365"/>
                </a:cubicBezTo>
                <a:moveTo>
                  <a:pt x="2914104" y="528757"/>
                </a:moveTo>
                <a:cubicBezTo>
                  <a:pt x="2903932" y="536913"/>
                  <a:pt x="2890787" y="545070"/>
                  <a:pt x="2875050" y="552842"/>
                </a:cubicBezTo>
                <a:moveTo>
                  <a:pt x="2940875" y="479244"/>
                </a:moveTo>
                <a:cubicBezTo>
                  <a:pt x="2942027" y="487496"/>
                  <a:pt x="2940395" y="495844"/>
                  <a:pt x="2935982" y="504001"/>
                </a:cubicBezTo>
                <a:moveTo>
                  <a:pt x="2802507" y="387511"/>
                </a:moveTo>
                <a:cubicBezTo>
                  <a:pt x="2823618" y="394228"/>
                  <a:pt x="2842713" y="401328"/>
                  <a:pt x="2859217" y="408621"/>
                </a:cubicBezTo>
                <a:moveTo>
                  <a:pt x="2651953" y="350952"/>
                </a:moveTo>
                <a:cubicBezTo>
                  <a:pt x="2680644" y="356325"/>
                  <a:pt x="2707895" y="362082"/>
                  <a:pt x="2732940" y="368224"/>
                </a:cubicBezTo>
                <a:moveTo>
                  <a:pt x="2461865" y="323508"/>
                </a:moveTo>
                <a:cubicBezTo>
                  <a:pt x="2496025" y="327251"/>
                  <a:pt x="2529418" y="331473"/>
                  <a:pt x="2561083" y="335983"/>
                </a:cubicBezTo>
                <a:moveTo>
                  <a:pt x="2244526" y="306524"/>
                </a:moveTo>
                <a:cubicBezTo>
                  <a:pt x="2282236" y="308443"/>
                  <a:pt x="2319659" y="310842"/>
                  <a:pt x="2355834" y="313625"/>
                </a:cubicBezTo>
                <a:moveTo>
                  <a:pt x="2013273" y="300863"/>
                </a:moveTo>
                <a:lnTo>
                  <a:pt x="2014712" y="300863"/>
                </a:lnTo>
                <a:cubicBezTo>
                  <a:pt x="2053191" y="300863"/>
                  <a:pt x="2091861" y="301343"/>
                  <a:pt x="2129763" y="302206"/>
                </a:cubicBezTo>
                <a:moveTo>
                  <a:pt x="1779333" y="295009"/>
                </a:moveTo>
                <a:cubicBezTo>
                  <a:pt x="1817044" y="296929"/>
                  <a:pt x="1855906" y="298368"/>
                  <a:pt x="1894960" y="299423"/>
                </a:cubicBezTo>
                <a:moveTo>
                  <a:pt x="1565640" y="278025"/>
                </a:moveTo>
                <a:cubicBezTo>
                  <a:pt x="1598553" y="281672"/>
                  <a:pt x="1633193" y="285030"/>
                  <a:pt x="1668793" y="287813"/>
                </a:cubicBezTo>
                <a:moveTo>
                  <a:pt x="1389274" y="251446"/>
                </a:moveTo>
                <a:cubicBezTo>
                  <a:pt x="1414798" y="256531"/>
                  <a:pt x="1442530" y="261329"/>
                  <a:pt x="1471892" y="265743"/>
                </a:cubicBezTo>
                <a:moveTo>
                  <a:pt x="1262901" y="217861"/>
                </a:moveTo>
                <a:cubicBezTo>
                  <a:pt x="1279213" y="223906"/>
                  <a:pt x="1298212" y="229760"/>
                  <a:pt x="1319227" y="235325"/>
                </a:cubicBezTo>
                <a:moveTo>
                  <a:pt x="1194772" y="180055"/>
                </a:moveTo>
                <a:cubicBezTo>
                  <a:pt x="1201009" y="186580"/>
                  <a:pt x="1209933" y="193009"/>
                  <a:pt x="1221256" y="199342"/>
                </a:cubicBezTo>
                <a:moveTo>
                  <a:pt x="1187576" y="140905"/>
                </a:moveTo>
                <a:cubicBezTo>
                  <a:pt x="1186616" y="142536"/>
                  <a:pt x="1185848" y="144167"/>
                  <a:pt x="1185177" y="145895"/>
                </a:cubicBezTo>
                <a:cubicBezTo>
                  <a:pt x="1183354" y="150692"/>
                  <a:pt x="1182778" y="155586"/>
                  <a:pt x="1183641" y="160480"/>
                </a:cubicBezTo>
                <a:moveTo>
                  <a:pt x="1341680" y="69898"/>
                </a:moveTo>
                <a:cubicBezTo>
                  <a:pt x="1320474" y="75079"/>
                  <a:pt x="1301091" y="80453"/>
                  <a:pt x="1283915" y="86018"/>
                </a:cubicBezTo>
                <a:moveTo>
                  <a:pt x="1488684" y="42359"/>
                </a:moveTo>
                <a:cubicBezTo>
                  <a:pt x="1461241" y="46389"/>
                  <a:pt x="1434853" y="50707"/>
                  <a:pt x="1410384" y="55217"/>
                </a:cubicBezTo>
                <a:moveTo>
                  <a:pt x="1668505" y="22400"/>
                </a:moveTo>
                <a:cubicBezTo>
                  <a:pt x="1636552" y="24991"/>
                  <a:pt x="1605078" y="28061"/>
                  <a:pt x="1575140" y="31420"/>
                </a:cubicBezTo>
                <a:moveTo>
                  <a:pt x="3687409" y="4152323"/>
                </a:moveTo>
                <a:cubicBezTo>
                  <a:pt x="3653892" y="4182184"/>
                  <a:pt x="3616018" y="4211566"/>
                  <a:pt x="3574508" y="4239883"/>
                </a:cubicBezTo>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5" name="Freeform 24">
            <a:extLst>
              <a:ext uri="{FF2B5EF4-FFF2-40B4-BE49-F238E27FC236}">
                <a16:creationId xmlns:a16="http://schemas.microsoft.com/office/drawing/2014/main" id="{98549FCC-2AF7-F61A-5A5E-5F302550DD23}"/>
              </a:ext>
            </a:extLst>
          </p:cNvPr>
          <p:cNvSpPr/>
          <p:nvPr/>
        </p:nvSpPr>
        <p:spPr>
          <a:xfrm>
            <a:off x="7652859" y="4404750"/>
            <a:ext cx="938799" cy="1139970"/>
          </a:xfrm>
          <a:custGeom>
            <a:avLst/>
            <a:gdLst>
              <a:gd name="connsiteX0" fmla="*/ 586 w 806026"/>
              <a:gd name="connsiteY0" fmla="*/ 403887 h 978746"/>
              <a:gd name="connsiteX1" fmla="*/ 402986 w 806026"/>
              <a:gd name="connsiteY1" fmla="*/ 452 h 978746"/>
              <a:gd name="connsiteX2" fmla="*/ 404189 w 806026"/>
              <a:gd name="connsiteY2" fmla="*/ 452 h 978746"/>
              <a:gd name="connsiteX3" fmla="*/ 806589 w 806026"/>
              <a:gd name="connsiteY3" fmla="*/ 403887 h 978746"/>
              <a:gd name="connsiteX4" fmla="*/ 806601 w 806026"/>
              <a:gd name="connsiteY4" fmla="*/ 403887 h 978746"/>
              <a:gd name="connsiteX5" fmla="*/ 403587 w 806026"/>
              <a:gd name="connsiteY5" fmla="*/ 979199 h 978746"/>
              <a:gd name="connsiteX6" fmla="*/ 574 w 806026"/>
              <a:gd name="connsiteY6" fmla="*/ 403887 h 978746"/>
              <a:gd name="connsiteX7" fmla="*/ 586 w 806026"/>
              <a:gd name="connsiteY7" fmla="*/ 403887 h 97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6026" h="978746">
                <a:moveTo>
                  <a:pt x="586" y="403887"/>
                </a:moveTo>
                <a:cubicBezTo>
                  <a:pt x="586" y="181074"/>
                  <a:pt x="180744" y="452"/>
                  <a:pt x="402986" y="452"/>
                </a:cubicBezTo>
                <a:lnTo>
                  <a:pt x="404189" y="452"/>
                </a:lnTo>
                <a:cubicBezTo>
                  <a:pt x="626431" y="452"/>
                  <a:pt x="806589" y="181074"/>
                  <a:pt x="806589" y="403887"/>
                </a:cubicBezTo>
                <a:lnTo>
                  <a:pt x="806601" y="403887"/>
                </a:lnTo>
                <a:cubicBezTo>
                  <a:pt x="806601" y="699064"/>
                  <a:pt x="403587" y="979199"/>
                  <a:pt x="403587" y="979199"/>
                </a:cubicBezTo>
                <a:cubicBezTo>
                  <a:pt x="403587" y="979199"/>
                  <a:pt x="574" y="699064"/>
                  <a:pt x="574" y="403887"/>
                </a:cubicBezTo>
                <a:lnTo>
                  <a:pt x="586" y="403887"/>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6" name="Freeform 25">
            <a:extLst>
              <a:ext uri="{FF2B5EF4-FFF2-40B4-BE49-F238E27FC236}">
                <a16:creationId xmlns:a16="http://schemas.microsoft.com/office/drawing/2014/main" id="{457C8678-F9CA-A576-9F23-8F89066AD6CB}"/>
              </a:ext>
            </a:extLst>
          </p:cNvPr>
          <p:cNvSpPr/>
          <p:nvPr/>
        </p:nvSpPr>
        <p:spPr>
          <a:xfrm>
            <a:off x="3584728" y="3398894"/>
            <a:ext cx="804684" cy="983503"/>
          </a:xfrm>
          <a:custGeom>
            <a:avLst/>
            <a:gdLst>
              <a:gd name="connsiteX0" fmla="*/ 221 w 690879"/>
              <a:gd name="connsiteY0" fmla="*/ 348424 h 844408"/>
              <a:gd name="connsiteX1" fmla="*/ 345135 w 690879"/>
              <a:gd name="connsiteY1" fmla="*/ 362 h 844408"/>
              <a:gd name="connsiteX2" fmla="*/ 346165 w 690879"/>
              <a:gd name="connsiteY2" fmla="*/ 362 h 844408"/>
              <a:gd name="connsiteX3" fmla="*/ 691079 w 690879"/>
              <a:gd name="connsiteY3" fmla="*/ 348424 h 844408"/>
              <a:gd name="connsiteX4" fmla="*/ 691090 w 690879"/>
              <a:gd name="connsiteY4" fmla="*/ 348424 h 844408"/>
              <a:gd name="connsiteX5" fmla="*/ 345650 w 690879"/>
              <a:gd name="connsiteY5" fmla="*/ 844771 h 844408"/>
              <a:gd name="connsiteX6" fmla="*/ 210 w 690879"/>
              <a:gd name="connsiteY6" fmla="*/ 348424 h 844408"/>
              <a:gd name="connsiteX7" fmla="*/ 221 w 690879"/>
              <a:gd name="connsiteY7" fmla="*/ 348424 h 84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879" h="844408">
                <a:moveTo>
                  <a:pt x="221" y="348424"/>
                </a:moveTo>
                <a:cubicBezTo>
                  <a:pt x="221" y="156193"/>
                  <a:pt x="154642" y="362"/>
                  <a:pt x="345135" y="362"/>
                </a:cubicBezTo>
                <a:lnTo>
                  <a:pt x="346165" y="362"/>
                </a:lnTo>
                <a:cubicBezTo>
                  <a:pt x="536658" y="362"/>
                  <a:pt x="691079" y="156193"/>
                  <a:pt x="691079" y="348424"/>
                </a:cubicBezTo>
                <a:lnTo>
                  <a:pt x="691090" y="348424"/>
                </a:lnTo>
                <a:cubicBezTo>
                  <a:pt x="691090" y="603087"/>
                  <a:pt x="345650" y="844771"/>
                  <a:pt x="345650" y="844771"/>
                </a:cubicBezTo>
                <a:cubicBezTo>
                  <a:pt x="345650" y="844771"/>
                  <a:pt x="210" y="603087"/>
                  <a:pt x="210" y="348424"/>
                </a:cubicBezTo>
                <a:lnTo>
                  <a:pt x="221" y="348424"/>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7" name="Freeform 26">
            <a:extLst>
              <a:ext uri="{FF2B5EF4-FFF2-40B4-BE49-F238E27FC236}">
                <a16:creationId xmlns:a16="http://schemas.microsoft.com/office/drawing/2014/main" id="{B4704548-AB57-A823-7253-CBCF7D04F5AF}"/>
              </a:ext>
            </a:extLst>
          </p:cNvPr>
          <p:cNvSpPr/>
          <p:nvPr/>
        </p:nvSpPr>
        <p:spPr>
          <a:xfrm>
            <a:off x="7026993" y="2258924"/>
            <a:ext cx="670571" cy="827037"/>
          </a:xfrm>
          <a:custGeom>
            <a:avLst/>
            <a:gdLst>
              <a:gd name="connsiteX0" fmla="*/ 527 w 575733"/>
              <a:gd name="connsiteY0" fmla="*/ 292947 h 710071"/>
              <a:gd name="connsiteX1" fmla="*/ 287955 w 575733"/>
              <a:gd name="connsiteY1" fmla="*/ 260 h 710071"/>
              <a:gd name="connsiteX2" fmla="*/ 288815 w 575733"/>
              <a:gd name="connsiteY2" fmla="*/ 260 h 710071"/>
              <a:gd name="connsiteX3" fmla="*/ 576243 w 575733"/>
              <a:gd name="connsiteY3" fmla="*/ 292947 h 710071"/>
              <a:gd name="connsiteX4" fmla="*/ 576251 w 575733"/>
              <a:gd name="connsiteY4" fmla="*/ 292947 h 710071"/>
              <a:gd name="connsiteX5" fmla="*/ 288385 w 575733"/>
              <a:gd name="connsiteY5" fmla="*/ 710331 h 710071"/>
              <a:gd name="connsiteX6" fmla="*/ 518 w 575733"/>
              <a:gd name="connsiteY6" fmla="*/ 292947 h 710071"/>
              <a:gd name="connsiteX7" fmla="*/ 527 w 575733"/>
              <a:gd name="connsiteY7" fmla="*/ 292947 h 7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33" h="710071">
                <a:moveTo>
                  <a:pt x="527" y="292947"/>
                </a:moveTo>
                <a:cubicBezTo>
                  <a:pt x="527" y="131299"/>
                  <a:pt x="129211" y="260"/>
                  <a:pt x="287955" y="260"/>
                </a:cubicBezTo>
                <a:lnTo>
                  <a:pt x="288815" y="260"/>
                </a:lnTo>
                <a:cubicBezTo>
                  <a:pt x="447559" y="260"/>
                  <a:pt x="576243" y="131299"/>
                  <a:pt x="576243" y="292947"/>
                </a:cubicBezTo>
                <a:lnTo>
                  <a:pt x="576251" y="292947"/>
                </a:lnTo>
                <a:cubicBezTo>
                  <a:pt x="576251" y="507096"/>
                  <a:pt x="288385" y="710331"/>
                  <a:pt x="288385" y="710331"/>
                </a:cubicBezTo>
                <a:cubicBezTo>
                  <a:pt x="288385" y="710331"/>
                  <a:pt x="518" y="507096"/>
                  <a:pt x="518" y="292947"/>
                </a:cubicBezTo>
                <a:lnTo>
                  <a:pt x="527" y="292947"/>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8" name="Freeform 27">
            <a:extLst>
              <a:ext uri="{FF2B5EF4-FFF2-40B4-BE49-F238E27FC236}">
                <a16:creationId xmlns:a16="http://schemas.microsoft.com/office/drawing/2014/main" id="{FD7D8D53-A329-455C-81C5-3F619ECA596B}"/>
              </a:ext>
            </a:extLst>
          </p:cNvPr>
          <p:cNvSpPr/>
          <p:nvPr/>
        </p:nvSpPr>
        <p:spPr>
          <a:xfrm>
            <a:off x="4411766" y="1789523"/>
            <a:ext cx="536456" cy="659394"/>
          </a:xfrm>
          <a:custGeom>
            <a:avLst/>
            <a:gdLst>
              <a:gd name="connsiteX0" fmla="*/ 291 w 460586"/>
              <a:gd name="connsiteY0" fmla="*/ 233577 h 566137"/>
              <a:gd name="connsiteX1" fmla="*/ 230234 w 460586"/>
              <a:gd name="connsiteY1" fmla="*/ 218 h 566137"/>
              <a:gd name="connsiteX2" fmla="*/ 230921 w 460586"/>
              <a:gd name="connsiteY2" fmla="*/ 218 h 566137"/>
              <a:gd name="connsiteX3" fmla="*/ 460864 w 460586"/>
              <a:gd name="connsiteY3" fmla="*/ 233577 h 566137"/>
              <a:gd name="connsiteX4" fmla="*/ 460871 w 460586"/>
              <a:gd name="connsiteY4" fmla="*/ 233577 h 566137"/>
              <a:gd name="connsiteX5" fmla="*/ 230577 w 460586"/>
              <a:gd name="connsiteY5" fmla="*/ 566356 h 566137"/>
              <a:gd name="connsiteX6" fmla="*/ 284 w 460586"/>
              <a:gd name="connsiteY6" fmla="*/ 233577 h 566137"/>
              <a:gd name="connsiteX7" fmla="*/ 291 w 460586"/>
              <a:gd name="connsiteY7" fmla="*/ 233577 h 566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586" h="566137">
                <a:moveTo>
                  <a:pt x="291" y="233577"/>
                </a:moveTo>
                <a:cubicBezTo>
                  <a:pt x="291" y="104695"/>
                  <a:pt x="103239" y="218"/>
                  <a:pt x="230234" y="218"/>
                </a:cubicBezTo>
                <a:lnTo>
                  <a:pt x="230921" y="218"/>
                </a:lnTo>
                <a:cubicBezTo>
                  <a:pt x="357916" y="218"/>
                  <a:pt x="460864" y="104695"/>
                  <a:pt x="460864" y="233577"/>
                </a:cubicBezTo>
                <a:lnTo>
                  <a:pt x="460871" y="233577"/>
                </a:lnTo>
                <a:cubicBezTo>
                  <a:pt x="460871" y="404318"/>
                  <a:pt x="230577" y="566356"/>
                  <a:pt x="230577" y="566356"/>
                </a:cubicBezTo>
                <a:cubicBezTo>
                  <a:pt x="230577" y="566356"/>
                  <a:pt x="284" y="404318"/>
                  <a:pt x="284" y="233577"/>
                </a:cubicBezTo>
                <a:lnTo>
                  <a:pt x="291" y="233577"/>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 name="Freeform 28">
            <a:extLst>
              <a:ext uri="{FF2B5EF4-FFF2-40B4-BE49-F238E27FC236}">
                <a16:creationId xmlns:a16="http://schemas.microsoft.com/office/drawing/2014/main" id="{A6939BB7-C1EC-DF01-2659-F2827C5D46E9}"/>
              </a:ext>
            </a:extLst>
          </p:cNvPr>
          <p:cNvSpPr/>
          <p:nvPr/>
        </p:nvSpPr>
        <p:spPr>
          <a:xfrm>
            <a:off x="6825822" y="1454239"/>
            <a:ext cx="402341" cy="494546"/>
          </a:xfrm>
          <a:custGeom>
            <a:avLst/>
            <a:gdLst>
              <a:gd name="connsiteX0" fmla="*/ 505 w 345439"/>
              <a:gd name="connsiteY0" fmla="*/ 175207 h 424603"/>
              <a:gd name="connsiteX1" fmla="*/ 172962 w 345439"/>
              <a:gd name="connsiteY1" fmla="*/ 188 h 424603"/>
              <a:gd name="connsiteX2" fmla="*/ 173478 w 345439"/>
              <a:gd name="connsiteY2" fmla="*/ 188 h 424603"/>
              <a:gd name="connsiteX3" fmla="*/ 345935 w 345439"/>
              <a:gd name="connsiteY3" fmla="*/ 175207 h 424603"/>
              <a:gd name="connsiteX4" fmla="*/ 345940 w 345439"/>
              <a:gd name="connsiteY4" fmla="*/ 175207 h 424603"/>
              <a:gd name="connsiteX5" fmla="*/ 173220 w 345439"/>
              <a:gd name="connsiteY5" fmla="*/ 424791 h 424603"/>
              <a:gd name="connsiteX6" fmla="*/ 500 w 345439"/>
              <a:gd name="connsiteY6" fmla="*/ 175207 h 424603"/>
              <a:gd name="connsiteX7" fmla="*/ 505 w 345439"/>
              <a:gd name="connsiteY7" fmla="*/ 175207 h 42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39" h="424603">
                <a:moveTo>
                  <a:pt x="505" y="175207"/>
                </a:moveTo>
                <a:cubicBezTo>
                  <a:pt x="505" y="78546"/>
                  <a:pt x="77715" y="188"/>
                  <a:pt x="172962" y="188"/>
                </a:cubicBezTo>
                <a:lnTo>
                  <a:pt x="173478" y="188"/>
                </a:lnTo>
                <a:cubicBezTo>
                  <a:pt x="268725" y="188"/>
                  <a:pt x="345935" y="78546"/>
                  <a:pt x="345935" y="175207"/>
                </a:cubicBezTo>
                <a:lnTo>
                  <a:pt x="345940" y="175207"/>
                </a:lnTo>
                <a:cubicBezTo>
                  <a:pt x="345940" y="303263"/>
                  <a:pt x="173220" y="424791"/>
                  <a:pt x="173220" y="424791"/>
                </a:cubicBezTo>
                <a:cubicBezTo>
                  <a:pt x="173220" y="424791"/>
                  <a:pt x="500" y="303263"/>
                  <a:pt x="500" y="175207"/>
                </a:cubicBezTo>
                <a:lnTo>
                  <a:pt x="505" y="175207"/>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0" name="Freeform 29">
            <a:extLst>
              <a:ext uri="{FF2B5EF4-FFF2-40B4-BE49-F238E27FC236}">
                <a16:creationId xmlns:a16="http://schemas.microsoft.com/office/drawing/2014/main" id="{836EF478-310A-969F-5995-2B6936AAFE5F}"/>
              </a:ext>
            </a:extLst>
          </p:cNvPr>
          <p:cNvSpPr/>
          <p:nvPr/>
        </p:nvSpPr>
        <p:spPr>
          <a:xfrm>
            <a:off x="4814108" y="1051895"/>
            <a:ext cx="402341" cy="494546"/>
          </a:xfrm>
          <a:custGeom>
            <a:avLst/>
            <a:gdLst>
              <a:gd name="connsiteX0" fmla="*/ 325 w 345439"/>
              <a:gd name="connsiteY0" fmla="*/ 175171 h 424603"/>
              <a:gd name="connsiteX1" fmla="*/ 172782 w 345439"/>
              <a:gd name="connsiteY1" fmla="*/ 152 h 424603"/>
              <a:gd name="connsiteX2" fmla="*/ 173298 w 345439"/>
              <a:gd name="connsiteY2" fmla="*/ 152 h 424603"/>
              <a:gd name="connsiteX3" fmla="*/ 345755 w 345439"/>
              <a:gd name="connsiteY3" fmla="*/ 175171 h 424603"/>
              <a:gd name="connsiteX4" fmla="*/ 345760 w 345439"/>
              <a:gd name="connsiteY4" fmla="*/ 175171 h 424603"/>
              <a:gd name="connsiteX5" fmla="*/ 173040 w 345439"/>
              <a:gd name="connsiteY5" fmla="*/ 424755 h 424603"/>
              <a:gd name="connsiteX6" fmla="*/ 320 w 345439"/>
              <a:gd name="connsiteY6" fmla="*/ 175171 h 424603"/>
              <a:gd name="connsiteX7" fmla="*/ 325 w 345439"/>
              <a:gd name="connsiteY7" fmla="*/ 175171 h 42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39" h="424603">
                <a:moveTo>
                  <a:pt x="325" y="175171"/>
                </a:moveTo>
                <a:cubicBezTo>
                  <a:pt x="325" y="78510"/>
                  <a:pt x="77535" y="152"/>
                  <a:pt x="172782" y="152"/>
                </a:cubicBezTo>
                <a:lnTo>
                  <a:pt x="173298" y="152"/>
                </a:lnTo>
                <a:cubicBezTo>
                  <a:pt x="268545" y="152"/>
                  <a:pt x="345755" y="78510"/>
                  <a:pt x="345755" y="175171"/>
                </a:cubicBezTo>
                <a:lnTo>
                  <a:pt x="345760" y="175171"/>
                </a:lnTo>
                <a:cubicBezTo>
                  <a:pt x="345760" y="303227"/>
                  <a:pt x="173040" y="424755"/>
                  <a:pt x="173040" y="424755"/>
                </a:cubicBezTo>
                <a:cubicBezTo>
                  <a:pt x="173040" y="424755"/>
                  <a:pt x="320" y="303227"/>
                  <a:pt x="320" y="175171"/>
                </a:cubicBezTo>
                <a:lnTo>
                  <a:pt x="325" y="175171"/>
                </a:lnTo>
                <a:close/>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6" name="Freeform 35">
            <a:extLst>
              <a:ext uri="{FF2B5EF4-FFF2-40B4-BE49-F238E27FC236}">
                <a16:creationId xmlns:a16="http://schemas.microsoft.com/office/drawing/2014/main" id="{8044C00F-2AAB-497C-7D6C-1FA58ECA3A26}"/>
              </a:ext>
            </a:extLst>
          </p:cNvPr>
          <p:cNvSpPr/>
          <p:nvPr/>
        </p:nvSpPr>
        <p:spPr>
          <a:xfrm>
            <a:off x="7869398" y="4618495"/>
            <a:ext cx="528074" cy="578366"/>
          </a:xfrm>
          <a:custGeom>
            <a:avLst/>
            <a:gdLst>
              <a:gd name="connsiteX0" fmla="*/ 205695 w 453389"/>
              <a:gd name="connsiteY0" fmla="*/ 259550 h 496569"/>
              <a:gd name="connsiteX1" fmla="*/ 76155 w 453389"/>
              <a:gd name="connsiteY1" fmla="*/ 130010 h 496569"/>
              <a:gd name="connsiteX2" fmla="*/ 205695 w 453389"/>
              <a:gd name="connsiteY2" fmla="*/ 470 h 496569"/>
              <a:gd name="connsiteX3" fmla="*/ 590 w 453389"/>
              <a:gd name="connsiteY3" fmla="*/ 497040 h 496569"/>
              <a:gd name="connsiteX4" fmla="*/ 205695 w 453389"/>
              <a:gd name="connsiteY4" fmla="*/ 291935 h 496569"/>
              <a:gd name="connsiteX5" fmla="*/ 205695 w 453389"/>
              <a:gd name="connsiteY5" fmla="*/ 497040 h 496569"/>
              <a:gd name="connsiteX6" fmla="*/ 248875 w 453389"/>
              <a:gd name="connsiteY6" fmla="*/ 259550 h 496569"/>
              <a:gd name="connsiteX7" fmla="*/ 270465 w 453389"/>
              <a:gd name="connsiteY7" fmla="*/ 257607 h 496569"/>
              <a:gd name="connsiteX8" fmla="*/ 270465 w 453389"/>
              <a:gd name="connsiteY8" fmla="*/ 224574 h 496569"/>
              <a:gd name="connsiteX9" fmla="*/ 300410 w 453389"/>
              <a:gd name="connsiteY9" fmla="*/ 212073 h 496569"/>
              <a:gd name="connsiteX10" fmla="*/ 323857 w 453389"/>
              <a:gd name="connsiteY10" fmla="*/ 235521 h 496569"/>
              <a:gd name="connsiteX11" fmla="*/ 354385 w 453389"/>
              <a:gd name="connsiteY11" fmla="*/ 204992 h 496569"/>
              <a:gd name="connsiteX12" fmla="*/ 330917 w 453389"/>
              <a:gd name="connsiteY12" fmla="*/ 181546 h 496569"/>
              <a:gd name="connsiteX13" fmla="*/ 343439 w 453389"/>
              <a:gd name="connsiteY13" fmla="*/ 151600 h 496569"/>
              <a:gd name="connsiteX14" fmla="*/ 376472 w 453389"/>
              <a:gd name="connsiteY14" fmla="*/ 151600 h 496569"/>
              <a:gd name="connsiteX15" fmla="*/ 378415 w 453389"/>
              <a:gd name="connsiteY15" fmla="*/ 130010 h 496569"/>
              <a:gd name="connsiteX16" fmla="*/ 376472 w 453389"/>
              <a:gd name="connsiteY16" fmla="*/ 108420 h 496569"/>
              <a:gd name="connsiteX17" fmla="*/ 343439 w 453389"/>
              <a:gd name="connsiteY17" fmla="*/ 108420 h 496569"/>
              <a:gd name="connsiteX18" fmla="*/ 330917 w 453389"/>
              <a:gd name="connsiteY18" fmla="*/ 78474 h 496569"/>
              <a:gd name="connsiteX19" fmla="*/ 354364 w 453389"/>
              <a:gd name="connsiteY19" fmla="*/ 55027 h 496569"/>
              <a:gd name="connsiteX20" fmla="*/ 323835 w 453389"/>
              <a:gd name="connsiteY20" fmla="*/ 24500 h 496569"/>
              <a:gd name="connsiteX21" fmla="*/ 300411 w 453389"/>
              <a:gd name="connsiteY21" fmla="*/ 47968 h 496569"/>
              <a:gd name="connsiteX22" fmla="*/ 270465 w 453389"/>
              <a:gd name="connsiteY22" fmla="*/ 35446 h 496569"/>
              <a:gd name="connsiteX23" fmla="*/ 270465 w 453389"/>
              <a:gd name="connsiteY23" fmla="*/ 2413 h 496569"/>
              <a:gd name="connsiteX24" fmla="*/ 248875 w 453389"/>
              <a:gd name="connsiteY24" fmla="*/ 470 h 496569"/>
              <a:gd name="connsiteX25" fmla="*/ 248875 w 453389"/>
              <a:gd name="connsiteY25" fmla="*/ 86830 h 496569"/>
              <a:gd name="connsiteX26" fmla="*/ 292055 w 453389"/>
              <a:gd name="connsiteY26" fmla="*/ 130010 h 496569"/>
              <a:gd name="connsiteX27" fmla="*/ 248875 w 453389"/>
              <a:gd name="connsiteY27" fmla="*/ 173190 h 496569"/>
              <a:gd name="connsiteX28" fmla="*/ 453980 w 453389"/>
              <a:gd name="connsiteY28" fmla="*/ 497040 h 496569"/>
              <a:gd name="connsiteX29" fmla="*/ 451173 w 453389"/>
              <a:gd name="connsiteY29" fmla="*/ 464655 h 496569"/>
              <a:gd name="connsiteX30" fmla="*/ 407540 w 453389"/>
              <a:gd name="connsiteY30" fmla="*/ 464655 h 496569"/>
              <a:gd name="connsiteX31" fmla="*/ 393420 w 453389"/>
              <a:gd name="connsiteY31" fmla="*/ 424347 h 496569"/>
              <a:gd name="connsiteX32" fmla="*/ 425179 w 453389"/>
              <a:gd name="connsiteY32" fmla="*/ 392609 h 496569"/>
              <a:gd name="connsiteX33" fmla="*/ 366476 w 453389"/>
              <a:gd name="connsiteY33" fmla="*/ 329156 h 496569"/>
              <a:gd name="connsiteX34" fmla="*/ 335342 w 453389"/>
              <a:gd name="connsiteY34" fmla="*/ 360310 h 496569"/>
              <a:gd name="connsiteX35" fmla="*/ 292162 w 453389"/>
              <a:gd name="connsiteY35" fmla="*/ 341117 h 496569"/>
              <a:gd name="connsiteX36" fmla="*/ 292162 w 453389"/>
              <a:gd name="connsiteY36" fmla="*/ 296576 h 496569"/>
              <a:gd name="connsiteX37" fmla="*/ 248875 w 453389"/>
              <a:gd name="connsiteY37" fmla="*/ 291935 h 496569"/>
              <a:gd name="connsiteX38" fmla="*/ 248875 w 453389"/>
              <a:gd name="connsiteY38" fmla="*/ 410680 h 496569"/>
              <a:gd name="connsiteX39" fmla="*/ 335235 w 453389"/>
              <a:gd name="connsiteY39" fmla="*/ 497040 h 496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53389" h="496569">
                <a:moveTo>
                  <a:pt x="205695" y="259550"/>
                </a:moveTo>
                <a:cubicBezTo>
                  <a:pt x="134152" y="259550"/>
                  <a:pt x="76155" y="201553"/>
                  <a:pt x="76155" y="130010"/>
                </a:cubicBezTo>
                <a:cubicBezTo>
                  <a:pt x="76155" y="58467"/>
                  <a:pt x="134152" y="470"/>
                  <a:pt x="205695" y="470"/>
                </a:cubicBezTo>
                <a:close/>
                <a:moveTo>
                  <a:pt x="590" y="497040"/>
                </a:moveTo>
                <a:cubicBezTo>
                  <a:pt x="590" y="383764"/>
                  <a:pt x="92418" y="291935"/>
                  <a:pt x="205695" y="291935"/>
                </a:cubicBezTo>
                <a:lnTo>
                  <a:pt x="205695" y="497040"/>
                </a:lnTo>
                <a:close/>
                <a:moveTo>
                  <a:pt x="248875" y="259550"/>
                </a:moveTo>
                <a:cubicBezTo>
                  <a:pt x="256113" y="259507"/>
                  <a:pt x="263335" y="258856"/>
                  <a:pt x="270465" y="257607"/>
                </a:cubicBezTo>
                <a:lnTo>
                  <a:pt x="270465" y="224574"/>
                </a:lnTo>
                <a:cubicBezTo>
                  <a:pt x="281084" y="222138"/>
                  <a:pt x="291211" y="217911"/>
                  <a:pt x="300410" y="212073"/>
                </a:cubicBezTo>
                <a:lnTo>
                  <a:pt x="323857" y="235521"/>
                </a:lnTo>
                <a:cubicBezTo>
                  <a:pt x="335668" y="227122"/>
                  <a:pt x="345987" y="216803"/>
                  <a:pt x="354385" y="204992"/>
                </a:cubicBezTo>
                <a:lnTo>
                  <a:pt x="330917" y="181546"/>
                </a:lnTo>
                <a:cubicBezTo>
                  <a:pt x="336762" y="172348"/>
                  <a:pt x="340996" y="162220"/>
                  <a:pt x="343439" y="151600"/>
                </a:cubicBezTo>
                <a:lnTo>
                  <a:pt x="376472" y="151600"/>
                </a:lnTo>
                <a:cubicBezTo>
                  <a:pt x="377721" y="144471"/>
                  <a:pt x="378372" y="137248"/>
                  <a:pt x="378415" y="130010"/>
                </a:cubicBezTo>
                <a:cubicBezTo>
                  <a:pt x="378372" y="122772"/>
                  <a:pt x="377721" y="115550"/>
                  <a:pt x="376472" y="108420"/>
                </a:cubicBezTo>
                <a:lnTo>
                  <a:pt x="343439" y="108420"/>
                </a:lnTo>
                <a:cubicBezTo>
                  <a:pt x="340996" y="97800"/>
                  <a:pt x="336762" y="87672"/>
                  <a:pt x="330917" y="78474"/>
                </a:cubicBezTo>
                <a:lnTo>
                  <a:pt x="354364" y="55027"/>
                </a:lnTo>
                <a:cubicBezTo>
                  <a:pt x="345965" y="43217"/>
                  <a:pt x="335646" y="32898"/>
                  <a:pt x="323835" y="24500"/>
                </a:cubicBezTo>
                <a:lnTo>
                  <a:pt x="300411" y="47968"/>
                </a:lnTo>
                <a:cubicBezTo>
                  <a:pt x="291212" y="42123"/>
                  <a:pt x="281085" y="37889"/>
                  <a:pt x="270465" y="35446"/>
                </a:cubicBezTo>
                <a:lnTo>
                  <a:pt x="270465" y="2413"/>
                </a:lnTo>
                <a:cubicBezTo>
                  <a:pt x="263335" y="1164"/>
                  <a:pt x="256113" y="513"/>
                  <a:pt x="248875" y="470"/>
                </a:cubicBezTo>
                <a:moveTo>
                  <a:pt x="248875" y="86830"/>
                </a:moveTo>
                <a:cubicBezTo>
                  <a:pt x="272723" y="86830"/>
                  <a:pt x="292055" y="106162"/>
                  <a:pt x="292055" y="130010"/>
                </a:cubicBezTo>
                <a:cubicBezTo>
                  <a:pt x="292055" y="153858"/>
                  <a:pt x="272723" y="173190"/>
                  <a:pt x="248875" y="173190"/>
                </a:cubicBezTo>
                <a:moveTo>
                  <a:pt x="453980" y="497040"/>
                </a:moveTo>
                <a:cubicBezTo>
                  <a:pt x="453902" y="486187"/>
                  <a:pt x="452964" y="475359"/>
                  <a:pt x="451173" y="464655"/>
                </a:cubicBezTo>
                <a:lnTo>
                  <a:pt x="407540" y="464655"/>
                </a:lnTo>
                <a:cubicBezTo>
                  <a:pt x="404655" y="450648"/>
                  <a:pt x="399906" y="437092"/>
                  <a:pt x="393420" y="424347"/>
                </a:cubicBezTo>
                <a:lnTo>
                  <a:pt x="425179" y="392609"/>
                </a:lnTo>
                <a:cubicBezTo>
                  <a:pt x="410322" y="367542"/>
                  <a:pt x="390313" y="345915"/>
                  <a:pt x="366476" y="329156"/>
                </a:cubicBezTo>
                <a:lnTo>
                  <a:pt x="335342" y="360310"/>
                </a:lnTo>
                <a:cubicBezTo>
                  <a:pt x="321980" y="351809"/>
                  <a:pt x="307427" y="345341"/>
                  <a:pt x="292162" y="341117"/>
                </a:cubicBezTo>
                <a:lnTo>
                  <a:pt x="292162" y="296576"/>
                </a:lnTo>
                <a:cubicBezTo>
                  <a:pt x="277938" y="293505"/>
                  <a:pt x="263428" y="291949"/>
                  <a:pt x="248875" y="291935"/>
                </a:cubicBezTo>
                <a:moveTo>
                  <a:pt x="248875" y="410680"/>
                </a:moveTo>
                <a:cubicBezTo>
                  <a:pt x="296571" y="410680"/>
                  <a:pt x="335235" y="449344"/>
                  <a:pt x="335235" y="497040"/>
                </a:cubicBezTo>
              </a:path>
            </a:pathLst>
          </a:custGeom>
          <a:noFill/>
          <a:ln w="19175"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38" name="Graphic 37" descr="Flag with solid fill">
            <a:extLst>
              <a:ext uri="{FF2B5EF4-FFF2-40B4-BE49-F238E27FC236}">
                <a16:creationId xmlns:a16="http://schemas.microsoft.com/office/drawing/2014/main" id="{E5103AF0-C3E8-7DB0-1D3C-B4246B1C492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37407" y="3032115"/>
            <a:ext cx="1555739" cy="1555739"/>
          </a:xfrm>
          <a:prstGeom prst="rect">
            <a:avLst/>
          </a:prstGeom>
        </p:spPr>
      </p:pic>
      <p:sp>
        <p:nvSpPr>
          <p:cNvPr id="39" name="TextBox 38">
            <a:extLst>
              <a:ext uri="{FF2B5EF4-FFF2-40B4-BE49-F238E27FC236}">
                <a16:creationId xmlns:a16="http://schemas.microsoft.com/office/drawing/2014/main" id="{B1478CC6-20D9-C601-884C-F574D0C8EA62}"/>
              </a:ext>
            </a:extLst>
          </p:cNvPr>
          <p:cNvSpPr txBox="1"/>
          <p:nvPr/>
        </p:nvSpPr>
        <p:spPr>
          <a:xfrm>
            <a:off x="4680746" y="4178845"/>
            <a:ext cx="1514197" cy="369332"/>
          </a:xfrm>
          <a:prstGeom prst="rect">
            <a:avLst/>
          </a:prstGeom>
          <a:noFill/>
        </p:spPr>
        <p:txBody>
          <a:bodyPr wrap="square" rtlCol="0">
            <a:spAutoFit/>
          </a:bodyPr>
          <a:lstStyle/>
          <a:p>
            <a:r>
              <a:rPr lang="en-US" dirty="0"/>
              <a:t>We are here!</a:t>
            </a:r>
          </a:p>
        </p:txBody>
      </p:sp>
      <p:pic>
        <p:nvPicPr>
          <p:cNvPr id="41" name="Graphic 40" descr="Hammer with solid fill">
            <a:extLst>
              <a:ext uri="{FF2B5EF4-FFF2-40B4-BE49-F238E27FC236}">
                <a16:creationId xmlns:a16="http://schemas.microsoft.com/office/drawing/2014/main" id="{E5F6DF66-0968-381C-F740-2F3106873E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39636" y="3522634"/>
            <a:ext cx="574702" cy="574702"/>
          </a:xfrm>
          <a:prstGeom prst="rect">
            <a:avLst/>
          </a:prstGeom>
        </p:spPr>
      </p:pic>
      <p:pic>
        <p:nvPicPr>
          <p:cNvPr id="43" name="Graphic 42" descr="Polaroid Pictures with solid fill">
            <a:extLst>
              <a:ext uri="{FF2B5EF4-FFF2-40B4-BE49-F238E27FC236}">
                <a16:creationId xmlns:a16="http://schemas.microsoft.com/office/drawing/2014/main" id="{B3E8220A-27B6-9182-C32A-17D398E37EF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20685" y="2386007"/>
            <a:ext cx="492920" cy="492920"/>
          </a:xfrm>
          <a:prstGeom prst="rect">
            <a:avLst/>
          </a:prstGeom>
        </p:spPr>
      </p:pic>
      <p:pic>
        <p:nvPicPr>
          <p:cNvPr id="45" name="Graphic 44" descr="Decision chart with solid fill">
            <a:extLst>
              <a:ext uri="{FF2B5EF4-FFF2-40B4-BE49-F238E27FC236}">
                <a16:creationId xmlns:a16="http://schemas.microsoft.com/office/drawing/2014/main" id="{29BB33F6-E437-982E-6E80-1883F9F33B3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02645" y="1874270"/>
            <a:ext cx="354698" cy="354698"/>
          </a:xfrm>
          <a:prstGeom prst="rect">
            <a:avLst/>
          </a:prstGeom>
        </p:spPr>
      </p:pic>
      <p:pic>
        <p:nvPicPr>
          <p:cNvPr id="47" name="Graphic 46" descr="Checklist with solid fill">
            <a:extLst>
              <a:ext uri="{FF2B5EF4-FFF2-40B4-BE49-F238E27FC236}">
                <a16:creationId xmlns:a16="http://schemas.microsoft.com/office/drawing/2014/main" id="{13E00FB5-85AC-18D8-6CE0-414CE37B46A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889237" y="1535739"/>
            <a:ext cx="275510" cy="275510"/>
          </a:xfrm>
          <a:prstGeom prst="rect">
            <a:avLst/>
          </a:prstGeom>
        </p:spPr>
      </p:pic>
      <p:pic>
        <p:nvPicPr>
          <p:cNvPr id="50" name="Graphic 49" descr="Spinning Plates with solid fill">
            <a:extLst>
              <a:ext uri="{FF2B5EF4-FFF2-40B4-BE49-F238E27FC236}">
                <a16:creationId xmlns:a16="http://schemas.microsoft.com/office/drawing/2014/main" id="{CF893D00-A680-990D-C3D4-FF40A16F96C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854940" y="1140669"/>
            <a:ext cx="320675" cy="320675"/>
          </a:xfrm>
          <a:prstGeom prst="rect">
            <a:avLst/>
          </a:prstGeom>
        </p:spPr>
      </p:pic>
    </p:spTree>
    <p:extLst>
      <p:ext uri="{BB962C8B-B14F-4D97-AF65-F5344CB8AC3E}">
        <p14:creationId xmlns:p14="http://schemas.microsoft.com/office/powerpoint/2010/main" val="2003508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DC5AC2-89C2-8CDC-DD55-0660422E6027}"/>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3FFC2FA5-05C2-3869-E627-37772D14F12A}"/>
              </a:ext>
            </a:extLst>
          </p:cNvPr>
          <p:cNvSpPr/>
          <p:nvPr/>
        </p:nvSpPr>
        <p:spPr>
          <a:xfrm>
            <a:off x="0" y="0"/>
            <a:ext cx="12192000" cy="6858000"/>
          </a:xfrm>
          <a:prstGeom prst="rect">
            <a:avLst/>
          </a:prstGeom>
          <a:solidFill>
            <a:srgbClr val="EFEA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170" name="Picture 2">
            <a:extLst>
              <a:ext uri="{FF2B5EF4-FFF2-40B4-BE49-F238E27FC236}">
                <a16:creationId xmlns:a16="http://schemas.microsoft.com/office/drawing/2014/main" id="{6D3C9BE3-A9B1-C82C-935A-F91F34EB352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0722" b="6030"/>
          <a:stretch>
            <a:fillRect/>
          </a:stretch>
        </p:blipFill>
        <p:spPr bwMode="auto">
          <a:xfrm>
            <a:off x="135642" y="122829"/>
            <a:ext cx="11914496" cy="6612341"/>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C001FCE-EFC8-F55A-D270-EBFA3F1BECDA}"/>
              </a:ext>
            </a:extLst>
          </p:cNvPr>
          <p:cNvSpPr/>
          <p:nvPr/>
        </p:nvSpPr>
        <p:spPr>
          <a:xfrm>
            <a:off x="658879" y="2557726"/>
            <a:ext cx="3233866" cy="13698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6600" b="1">
                <a:solidFill>
                  <a:srgbClr val="E0D9CE"/>
                </a:solidFill>
                <a:latin typeface="Graphik" panose="020B0503030202060203" pitchFamily="34" charset="0"/>
              </a:rPr>
              <a:t>Demo</a:t>
            </a:r>
          </a:p>
        </p:txBody>
      </p:sp>
    </p:spTree>
    <p:extLst>
      <p:ext uri="{BB962C8B-B14F-4D97-AF65-F5344CB8AC3E}">
        <p14:creationId xmlns:p14="http://schemas.microsoft.com/office/powerpoint/2010/main" val="277437246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3F0E2A-3E12-B374-9BC6-3B75BBA6AAE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7148309-AEB0-4BE9-9ED7-FF31BF404989}"/>
              </a:ext>
            </a:extLst>
          </p:cNvPr>
          <p:cNvSpPr>
            <a:spLocks noGrp="1"/>
          </p:cNvSpPr>
          <p:nvPr>
            <p:ph type="title"/>
          </p:nvPr>
        </p:nvSpPr>
        <p:spPr/>
        <p:txBody>
          <a:bodyPr/>
          <a:lstStyle/>
          <a:p>
            <a:r>
              <a:rPr lang="en-US" dirty="0"/>
              <a:t>The Experiment with the LRM</a:t>
            </a:r>
          </a:p>
        </p:txBody>
      </p:sp>
      <p:sp>
        <p:nvSpPr>
          <p:cNvPr id="2" name="Freeform: Shape 12">
            <a:extLst>
              <a:ext uri="{FF2B5EF4-FFF2-40B4-BE49-F238E27FC236}">
                <a16:creationId xmlns:a16="http://schemas.microsoft.com/office/drawing/2014/main" id="{4E513B23-5AF5-7FD7-C10F-EB597EC15912}"/>
              </a:ext>
            </a:extLst>
          </p:cNvPr>
          <p:cNvSpPr/>
          <p:nvPr/>
        </p:nvSpPr>
        <p:spPr>
          <a:xfrm>
            <a:off x="1639065" y="884392"/>
            <a:ext cx="4150020" cy="4602978"/>
          </a:xfrm>
          <a:custGeom>
            <a:avLst/>
            <a:gdLst>
              <a:gd name="connsiteX0" fmla="*/ 2228063 w 4150020"/>
              <a:gd name="connsiteY0" fmla="*/ 843 h 4602978"/>
              <a:gd name="connsiteX1" fmla="*/ 2826465 w 4150020"/>
              <a:gd name="connsiteY1" fmla="*/ 193798 h 4602978"/>
              <a:gd name="connsiteX2" fmla="*/ 3437242 w 4150020"/>
              <a:gd name="connsiteY2" fmla="*/ 740648 h 4602978"/>
              <a:gd name="connsiteX3" fmla="*/ 4147681 w 4150020"/>
              <a:gd name="connsiteY3" fmla="*/ 2033492 h 4602978"/>
              <a:gd name="connsiteX4" fmla="*/ 3856981 w 4150020"/>
              <a:gd name="connsiteY4" fmla="*/ 3027438 h 4602978"/>
              <a:gd name="connsiteX5" fmla="*/ 2530084 w 4150020"/>
              <a:gd name="connsiteY5" fmla="*/ 4506652 h 4602978"/>
              <a:gd name="connsiteX6" fmla="*/ 1463281 w 4150020"/>
              <a:gd name="connsiteY6" fmla="*/ 4491190 h 4602978"/>
              <a:gd name="connsiteX7" fmla="*/ 556837 w 4150020"/>
              <a:gd name="connsiteY7" fmla="*/ 4515013 h 4602978"/>
              <a:gd name="connsiteX8" fmla="*/ 379898 w 4150020"/>
              <a:gd name="connsiteY8" fmla="*/ 4042516 h 4602978"/>
              <a:gd name="connsiteX9" fmla="*/ 332341 w 4150020"/>
              <a:gd name="connsiteY9" fmla="*/ 3391234 h 4602978"/>
              <a:gd name="connsiteX10" fmla="*/ 222317 w 4150020"/>
              <a:gd name="connsiteY10" fmla="*/ 2760079 h 4602978"/>
              <a:gd name="connsiteX11" fmla="*/ 573 w 4150020"/>
              <a:gd name="connsiteY11" fmla="*/ 2104458 h 4602978"/>
              <a:gd name="connsiteX12" fmla="*/ 780816 w 4150020"/>
              <a:gd name="connsiteY12" fmla="*/ 980862 h 4602978"/>
              <a:gd name="connsiteX13" fmla="*/ 1333697 w 4150020"/>
              <a:gd name="connsiteY13" fmla="*/ 414833 h 4602978"/>
              <a:gd name="connsiteX14" fmla="*/ 2015515 w 4150020"/>
              <a:gd name="connsiteY14" fmla="*/ 15535 h 4602978"/>
              <a:gd name="connsiteX15" fmla="*/ 2228063 w 4150020"/>
              <a:gd name="connsiteY15" fmla="*/ 843 h 4602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150020" h="4602978">
                <a:moveTo>
                  <a:pt x="2228063" y="843"/>
                </a:moveTo>
                <a:cubicBezTo>
                  <a:pt x="2440370" y="9530"/>
                  <a:pt x="2648924" y="84729"/>
                  <a:pt x="2826465" y="193798"/>
                </a:cubicBezTo>
                <a:cubicBezTo>
                  <a:pt x="3063185" y="339222"/>
                  <a:pt x="3252472" y="539791"/>
                  <a:pt x="3437242" y="740648"/>
                </a:cubicBezTo>
                <a:cubicBezTo>
                  <a:pt x="3784538" y="1118595"/>
                  <a:pt x="4111011" y="1509320"/>
                  <a:pt x="4147681" y="2033492"/>
                </a:cubicBezTo>
                <a:cubicBezTo>
                  <a:pt x="4171038" y="2380566"/>
                  <a:pt x="4015540" y="2717120"/>
                  <a:pt x="3856981" y="3027438"/>
                </a:cubicBezTo>
                <a:cubicBezTo>
                  <a:pt x="3565485" y="3596161"/>
                  <a:pt x="3176694" y="4236671"/>
                  <a:pt x="2530084" y="4506652"/>
                </a:cubicBezTo>
                <a:cubicBezTo>
                  <a:pt x="2156082" y="4661924"/>
                  <a:pt x="1837788" y="4471469"/>
                  <a:pt x="1463281" y="4491190"/>
                </a:cubicBezTo>
                <a:cubicBezTo>
                  <a:pt x="1170261" y="4507637"/>
                  <a:pt x="823306" y="4718402"/>
                  <a:pt x="556837" y="4515013"/>
                </a:cubicBezTo>
                <a:cubicBezTo>
                  <a:pt x="415574" y="4406752"/>
                  <a:pt x="392410" y="4214797"/>
                  <a:pt x="379898" y="4042516"/>
                </a:cubicBezTo>
                <a:cubicBezTo>
                  <a:pt x="363665" y="3825502"/>
                  <a:pt x="348575" y="3608249"/>
                  <a:pt x="332341" y="3391234"/>
                </a:cubicBezTo>
                <a:cubicBezTo>
                  <a:pt x="316928" y="3178166"/>
                  <a:pt x="304674" y="2959241"/>
                  <a:pt x="222317" y="2760079"/>
                </a:cubicBezTo>
                <a:cubicBezTo>
                  <a:pt x="133611" y="2546634"/>
                  <a:pt x="8668" y="2340716"/>
                  <a:pt x="573" y="2104458"/>
                </a:cubicBezTo>
                <a:cubicBezTo>
                  <a:pt x="-17806" y="1577353"/>
                  <a:pt x="409842" y="1301067"/>
                  <a:pt x="780816" y="980862"/>
                </a:cubicBezTo>
                <a:cubicBezTo>
                  <a:pt x="982169" y="806628"/>
                  <a:pt x="1144383" y="599134"/>
                  <a:pt x="1333697" y="414833"/>
                </a:cubicBezTo>
                <a:cubicBezTo>
                  <a:pt x="1523010" y="230531"/>
                  <a:pt x="1750713" y="65343"/>
                  <a:pt x="2015515" y="15535"/>
                </a:cubicBezTo>
                <a:cubicBezTo>
                  <a:pt x="2086108" y="2441"/>
                  <a:pt x="2157294" y="-2053"/>
                  <a:pt x="2228063" y="843"/>
                </a:cubicBezTo>
                <a:close/>
              </a:path>
            </a:pathLst>
          </a:custGeom>
          <a:solidFill>
            <a:schemeClr val="lt1"/>
          </a:solidFill>
          <a:ln>
            <a:noFill/>
          </a:ln>
        </p:spPr>
        <p:txBody>
          <a:bodyPr spcFirstLastPara="1" wrap="square" lIns="38100" tIns="38100" rIns="38100" bIns="38100" anchor="ctr" anchorCtr="0">
            <a:noAutofit/>
          </a:bodyPr>
          <a:lstStyle/>
          <a:p>
            <a:endParaRPr lang="en-US">
              <a:solidFill>
                <a:schemeClr val="dk1"/>
              </a:solidFill>
              <a:latin typeface="Calibri"/>
              <a:ea typeface="Calibri"/>
              <a:cs typeface="Calibri"/>
            </a:endParaRPr>
          </a:p>
        </p:txBody>
      </p:sp>
      <p:grpSp>
        <p:nvGrpSpPr>
          <p:cNvPr id="5" name="Group 4">
            <a:extLst>
              <a:ext uri="{FF2B5EF4-FFF2-40B4-BE49-F238E27FC236}">
                <a16:creationId xmlns:a16="http://schemas.microsoft.com/office/drawing/2014/main" id="{F9AE1CA0-5FE1-4F49-212D-3E7525E6E500}"/>
              </a:ext>
            </a:extLst>
          </p:cNvPr>
          <p:cNvGrpSpPr/>
          <p:nvPr/>
        </p:nvGrpSpPr>
        <p:grpSpPr>
          <a:xfrm>
            <a:off x="5991501" y="655686"/>
            <a:ext cx="5527056" cy="5968356"/>
            <a:chOff x="332936" y="2012213"/>
            <a:chExt cx="2926080" cy="5968356"/>
          </a:xfrm>
        </p:grpSpPr>
        <p:sp>
          <p:nvSpPr>
            <p:cNvPr id="6" name="TextBox 5">
              <a:extLst>
                <a:ext uri="{FF2B5EF4-FFF2-40B4-BE49-F238E27FC236}">
                  <a16:creationId xmlns:a16="http://schemas.microsoft.com/office/drawing/2014/main" id="{EAC0C24B-A6E1-73AF-04FD-42F66C74E2D2}"/>
                </a:ext>
              </a:extLst>
            </p:cNvPr>
            <p:cNvSpPr txBox="1"/>
            <p:nvPr/>
          </p:nvSpPr>
          <p:spPr>
            <a:xfrm>
              <a:off x="332936" y="2012213"/>
              <a:ext cx="2926080" cy="1077218"/>
            </a:xfrm>
            <a:prstGeom prst="rect">
              <a:avLst/>
            </a:prstGeom>
            <a:noFill/>
          </p:spPr>
          <p:txBody>
            <a:bodyPr wrap="square" lIns="0" rIns="0" rtlCol="0" anchor="b">
              <a:spAutoFit/>
            </a:bodyPr>
            <a:lstStyle/>
            <a:p>
              <a:pPr algn="ctr"/>
              <a:r>
                <a:rPr lang="en-US" sz="3200" b="1" noProof="1"/>
                <a:t>Let’s Think this Through Step-By-Step</a:t>
              </a:r>
            </a:p>
          </p:txBody>
        </p:sp>
        <p:sp>
          <p:nvSpPr>
            <p:cNvPr id="7" name="TextBox 6">
              <a:extLst>
                <a:ext uri="{FF2B5EF4-FFF2-40B4-BE49-F238E27FC236}">
                  <a16:creationId xmlns:a16="http://schemas.microsoft.com/office/drawing/2014/main" id="{63672812-9BAD-A61C-6245-0E7F7EBC35C3}"/>
                </a:ext>
              </a:extLst>
            </p:cNvPr>
            <p:cNvSpPr txBox="1"/>
            <p:nvPr/>
          </p:nvSpPr>
          <p:spPr>
            <a:xfrm>
              <a:off x="332936" y="3086922"/>
              <a:ext cx="2926080" cy="4893647"/>
            </a:xfrm>
            <a:prstGeom prst="rect">
              <a:avLst/>
            </a:prstGeom>
            <a:noFill/>
          </p:spPr>
          <p:txBody>
            <a:bodyPr wrap="square" lIns="0" rIns="0" rtlCol="0" anchor="t">
              <a:spAutoFit/>
            </a:bodyPr>
            <a:lstStyle/>
            <a:p>
              <a:pPr marL="285750" indent="-285750" algn="just">
                <a:spcAft>
                  <a:spcPts val="1200"/>
                </a:spcAft>
                <a:buFont typeface="Arial" panose="020B0604020202020204" pitchFamily="34" charset="0"/>
                <a:buChar char="•"/>
              </a:pPr>
              <a:r>
                <a:rPr lang="en-US" sz="1600" noProof="1">
                  <a:solidFill>
                    <a:schemeClr val="tx1">
                      <a:lumMod val="65000"/>
                      <a:lumOff val="35000"/>
                    </a:schemeClr>
                  </a:solidFill>
                </a:rPr>
                <a:t>The LRM reveals its internal monalogue between it’s &lt;reason&gt; &lt;/reason&gt; tags. It shows us an explainable and clear insight into how AI systems break down and solve problems.</a:t>
              </a:r>
            </a:p>
            <a:p>
              <a:pPr marL="285750" indent="-285750" algn="just">
                <a:spcAft>
                  <a:spcPts val="1200"/>
                </a:spcAft>
                <a:buFont typeface="Arial" panose="020B0604020202020204" pitchFamily="34" charset="0"/>
                <a:buChar char="•"/>
              </a:pPr>
              <a:r>
                <a:rPr lang="en-US" sz="1600" noProof="1">
                  <a:solidFill>
                    <a:schemeClr val="tx1">
                      <a:lumMod val="65000"/>
                      <a:lumOff val="35000"/>
                    </a:schemeClr>
                  </a:solidFill>
                </a:rPr>
                <a:t>The approach is vastly different from the LLM, for example, it starts with </a:t>
              </a:r>
            </a:p>
            <a:p>
              <a:pPr lvl="1" algn="just">
                <a:spcAft>
                  <a:spcPts val="1200"/>
                </a:spcAft>
              </a:pPr>
              <a:r>
                <a:rPr lang="en-US" sz="1600" i="1" noProof="1">
                  <a:solidFill>
                    <a:schemeClr val="tx1">
                      <a:lumMod val="65000"/>
                      <a:lumOff val="35000"/>
                    </a:schemeClr>
                  </a:solidFill>
                </a:rPr>
                <a:t>“Laying out the options, I am solving a crossword puzzle with across and down entiries where the count of the words must match along with their intersecting letters….”</a:t>
              </a:r>
            </a:p>
            <a:p>
              <a:pPr marL="285750" indent="-285750" algn="just">
                <a:spcAft>
                  <a:spcPts val="1200"/>
                </a:spcAft>
                <a:buFont typeface="Arial" panose="020B0604020202020204" pitchFamily="34" charset="0"/>
                <a:buChar char="•"/>
              </a:pPr>
              <a:r>
                <a:rPr lang="en-US" sz="1600" noProof="1">
                  <a:solidFill>
                    <a:schemeClr val="tx1">
                      <a:lumMod val="65000"/>
                      <a:lumOff val="35000"/>
                    </a:schemeClr>
                  </a:solidFill>
                </a:rPr>
                <a:t>Expert problem solvers often spend more time understanding the problem than attempting a solution, mirroring the phenomena between LLM and LRM. </a:t>
              </a:r>
            </a:p>
            <a:p>
              <a:pPr marL="285750" indent="-285750" algn="just">
                <a:spcAft>
                  <a:spcPts val="1200"/>
                </a:spcAft>
                <a:buFont typeface="Arial" panose="020B0604020202020204" pitchFamily="34" charset="0"/>
                <a:buChar char="•"/>
              </a:pPr>
              <a:r>
                <a:rPr lang="en-US" sz="1600" noProof="1">
                  <a:solidFill>
                    <a:schemeClr val="tx1">
                      <a:lumMod val="65000"/>
                      <a:lumOff val="35000"/>
                    </a:schemeClr>
                  </a:solidFill>
                </a:rPr>
                <a:t>Preparation builds a more complete problem space leading to a better estimation of the solution space.</a:t>
              </a:r>
            </a:p>
          </p:txBody>
        </p:sp>
      </p:grpSp>
      <p:grpSp>
        <p:nvGrpSpPr>
          <p:cNvPr id="8" name="Graphic 7">
            <a:extLst>
              <a:ext uri="{FF2B5EF4-FFF2-40B4-BE49-F238E27FC236}">
                <a16:creationId xmlns:a16="http://schemas.microsoft.com/office/drawing/2014/main" id="{6A705A9A-D2A5-2C10-7765-58ABF35ED5EB}"/>
              </a:ext>
            </a:extLst>
          </p:cNvPr>
          <p:cNvGrpSpPr/>
          <p:nvPr/>
        </p:nvGrpSpPr>
        <p:grpSpPr>
          <a:xfrm>
            <a:off x="1450520" y="834445"/>
            <a:ext cx="4046638" cy="5640492"/>
            <a:chOff x="-41277476" y="16536121"/>
            <a:chExt cx="3584023" cy="4995666"/>
          </a:xfrm>
        </p:grpSpPr>
        <p:sp>
          <p:nvSpPr>
            <p:cNvPr id="9" name="Freeform 8">
              <a:extLst>
                <a:ext uri="{FF2B5EF4-FFF2-40B4-BE49-F238E27FC236}">
                  <a16:creationId xmlns:a16="http://schemas.microsoft.com/office/drawing/2014/main" id="{083142B0-A154-3AC3-ED36-E104F2BFCB58}"/>
                </a:ext>
              </a:extLst>
            </p:cNvPr>
            <p:cNvSpPr/>
            <p:nvPr/>
          </p:nvSpPr>
          <p:spPr>
            <a:xfrm>
              <a:off x="-41098200" y="16536121"/>
              <a:ext cx="3372468" cy="4671146"/>
            </a:xfrm>
            <a:custGeom>
              <a:avLst/>
              <a:gdLst>
                <a:gd name="connsiteX0" fmla="*/ 2483502 w 3372468"/>
                <a:gd name="connsiteY0" fmla="*/ 821522 h 4671146"/>
                <a:gd name="connsiteX1" fmla="*/ 2602448 w 3372468"/>
                <a:gd name="connsiteY1" fmla="*/ 989445 h 4671146"/>
                <a:gd name="connsiteX2" fmla="*/ 2623439 w 3372468"/>
                <a:gd name="connsiteY2" fmla="*/ 1122386 h 4671146"/>
                <a:gd name="connsiteX3" fmla="*/ 2607112 w 3372468"/>
                <a:gd name="connsiteY3" fmla="*/ 1122386 h 4671146"/>
                <a:gd name="connsiteX4" fmla="*/ 2595451 w 3372468"/>
                <a:gd name="connsiteY4" fmla="*/ 1199349 h 4671146"/>
                <a:gd name="connsiteX5" fmla="*/ 2586121 w 3372468"/>
                <a:gd name="connsiteY5" fmla="*/ 1232001 h 4671146"/>
                <a:gd name="connsiteX6" fmla="*/ 2600116 w 3372468"/>
                <a:gd name="connsiteY6" fmla="*/ 1269317 h 4671146"/>
                <a:gd name="connsiteX7" fmla="*/ 2604781 w 3372468"/>
                <a:gd name="connsiteY7" fmla="*/ 1343951 h 4671146"/>
                <a:gd name="connsiteX8" fmla="*/ 2721394 w 3372468"/>
                <a:gd name="connsiteY8" fmla="*/ 1385930 h 4671146"/>
                <a:gd name="connsiteX9" fmla="*/ 2756378 w 3372468"/>
                <a:gd name="connsiteY9" fmla="*/ 1462896 h 4671146"/>
                <a:gd name="connsiteX10" fmla="*/ 2847336 w 3372468"/>
                <a:gd name="connsiteY10" fmla="*/ 1402258 h 4671146"/>
                <a:gd name="connsiteX11" fmla="*/ 2905642 w 3372468"/>
                <a:gd name="connsiteY11" fmla="*/ 1360276 h 4671146"/>
                <a:gd name="connsiteX12" fmla="*/ 2900977 w 3372468"/>
                <a:gd name="connsiteY12" fmla="*/ 1327623 h 4671146"/>
                <a:gd name="connsiteX13" fmla="*/ 2796025 w 3372468"/>
                <a:gd name="connsiteY13" fmla="*/ 1285644 h 4671146"/>
                <a:gd name="connsiteX14" fmla="*/ 2658423 w 3372468"/>
                <a:gd name="connsiteY14" fmla="*/ 1262322 h 4671146"/>
                <a:gd name="connsiteX15" fmla="*/ 2625770 w 3372468"/>
                <a:gd name="connsiteY15" fmla="*/ 1211010 h 4671146"/>
                <a:gd name="connsiteX16" fmla="*/ 2646761 w 3372468"/>
                <a:gd name="connsiteY16" fmla="*/ 1211010 h 4671146"/>
                <a:gd name="connsiteX17" fmla="*/ 2861330 w 3372468"/>
                <a:gd name="connsiteY17" fmla="*/ 1255324 h 4671146"/>
                <a:gd name="connsiteX18" fmla="*/ 2889316 w 3372468"/>
                <a:gd name="connsiteY18" fmla="*/ 1308967 h 4671146"/>
                <a:gd name="connsiteX19" fmla="*/ 2896314 w 3372468"/>
                <a:gd name="connsiteY19" fmla="*/ 1248326 h 4671146"/>
                <a:gd name="connsiteX20" fmla="*/ 2879988 w 3372468"/>
                <a:gd name="connsiteY20" fmla="*/ 1234333 h 4671146"/>
                <a:gd name="connsiteX21" fmla="*/ 2903311 w 3372468"/>
                <a:gd name="connsiteY21" fmla="*/ 1234333 h 4671146"/>
                <a:gd name="connsiteX22" fmla="*/ 2907975 w 3372468"/>
                <a:gd name="connsiteY22" fmla="*/ 1229669 h 4671146"/>
                <a:gd name="connsiteX23" fmla="*/ 2656089 w 3372468"/>
                <a:gd name="connsiteY23" fmla="*/ 1120051 h 4671146"/>
                <a:gd name="connsiteX24" fmla="*/ 2632767 w 3372468"/>
                <a:gd name="connsiteY24" fmla="*/ 980115 h 4671146"/>
                <a:gd name="connsiteX25" fmla="*/ 2481169 w 3372468"/>
                <a:gd name="connsiteY25" fmla="*/ 751554 h 4671146"/>
                <a:gd name="connsiteX26" fmla="*/ 2858997 w 3372468"/>
                <a:gd name="connsiteY26" fmla="*/ 401714 h 4671146"/>
                <a:gd name="connsiteX27" fmla="*/ 3047911 w 3372468"/>
                <a:gd name="connsiteY27" fmla="*/ 625611 h 4671146"/>
                <a:gd name="connsiteX28" fmla="*/ 3047911 w 3372468"/>
                <a:gd name="connsiteY28" fmla="*/ 767879 h 4671146"/>
                <a:gd name="connsiteX29" fmla="*/ 2917304 w 3372468"/>
                <a:gd name="connsiteY29" fmla="*/ 963790 h 4671146"/>
                <a:gd name="connsiteX30" fmla="*/ 2875323 w 3372468"/>
                <a:gd name="connsiteY30" fmla="*/ 1127049 h 4671146"/>
                <a:gd name="connsiteX31" fmla="*/ 2910307 w 3372468"/>
                <a:gd name="connsiteY31" fmla="*/ 1103726 h 4671146"/>
                <a:gd name="connsiteX32" fmla="*/ 3066569 w 3372468"/>
                <a:gd name="connsiteY32" fmla="*/ 781872 h 4671146"/>
                <a:gd name="connsiteX33" fmla="*/ 3003598 w 3372468"/>
                <a:gd name="connsiteY33" fmla="*/ 495005 h 4671146"/>
                <a:gd name="connsiteX34" fmla="*/ 2443854 w 3372468"/>
                <a:gd name="connsiteY34" fmla="*/ 735227 h 4671146"/>
                <a:gd name="connsiteX35" fmla="*/ 2481169 w 3372468"/>
                <a:gd name="connsiteY35" fmla="*/ 821522 h 4671146"/>
                <a:gd name="connsiteX36" fmla="*/ 2765706 w 3372468"/>
                <a:gd name="connsiteY36" fmla="*/ 1439573 h 4671146"/>
                <a:gd name="connsiteX37" fmla="*/ 2742384 w 3372468"/>
                <a:gd name="connsiteY37" fmla="*/ 1390596 h 4671146"/>
                <a:gd name="connsiteX38" fmla="*/ 2798359 w 3372468"/>
                <a:gd name="connsiteY38" fmla="*/ 1390596 h 4671146"/>
                <a:gd name="connsiteX39" fmla="*/ 2807687 w 3372468"/>
                <a:gd name="connsiteY39" fmla="*/ 1425580 h 4671146"/>
                <a:gd name="connsiteX40" fmla="*/ 2763375 w 3372468"/>
                <a:gd name="connsiteY40" fmla="*/ 1439573 h 4671146"/>
                <a:gd name="connsiteX41" fmla="*/ 2644428 w 3372468"/>
                <a:gd name="connsiteY41" fmla="*/ 1287976 h 4671146"/>
                <a:gd name="connsiteX42" fmla="*/ 2768039 w 3372468"/>
                <a:gd name="connsiteY42" fmla="*/ 1304301 h 4671146"/>
                <a:gd name="connsiteX43" fmla="*/ 2875323 w 3372468"/>
                <a:gd name="connsiteY43" fmla="*/ 1376600 h 4671146"/>
                <a:gd name="connsiteX44" fmla="*/ 2817016 w 3372468"/>
                <a:gd name="connsiteY44" fmla="*/ 1376600 h 4671146"/>
                <a:gd name="connsiteX45" fmla="*/ 2793694 w 3372468"/>
                <a:gd name="connsiteY45" fmla="*/ 1360276 h 4671146"/>
                <a:gd name="connsiteX46" fmla="*/ 2728391 w 3372468"/>
                <a:gd name="connsiteY46" fmla="*/ 1360276 h 4671146"/>
                <a:gd name="connsiteX47" fmla="*/ 2709733 w 3372468"/>
                <a:gd name="connsiteY47" fmla="*/ 1364939 h 4671146"/>
                <a:gd name="connsiteX48" fmla="*/ 2630435 w 3372468"/>
                <a:gd name="connsiteY48" fmla="*/ 1327623 h 4671146"/>
                <a:gd name="connsiteX49" fmla="*/ 2644428 w 3372468"/>
                <a:gd name="connsiteY49" fmla="*/ 1287976 h 4671146"/>
                <a:gd name="connsiteX50" fmla="*/ 2875323 w 3372468"/>
                <a:gd name="connsiteY50" fmla="*/ 1180692 h 4671146"/>
                <a:gd name="connsiteX51" fmla="*/ 2786697 w 3372468"/>
                <a:gd name="connsiteY51" fmla="*/ 1206347 h 4671146"/>
                <a:gd name="connsiteX52" fmla="*/ 2625770 w 3372468"/>
                <a:gd name="connsiteY52" fmla="*/ 1124717 h 4671146"/>
                <a:gd name="connsiteX53" fmla="*/ 2877655 w 3372468"/>
                <a:gd name="connsiteY53" fmla="*/ 1180692 h 4671146"/>
                <a:gd name="connsiteX54" fmla="*/ 2796025 w 3372468"/>
                <a:gd name="connsiteY54" fmla="*/ 264110 h 4671146"/>
                <a:gd name="connsiteX55" fmla="*/ 2789029 w 3372468"/>
                <a:gd name="connsiteY55" fmla="*/ 19222 h 4671146"/>
                <a:gd name="connsiteX56" fmla="*/ 2812352 w 3372468"/>
                <a:gd name="connsiteY56" fmla="*/ 563 h 4671146"/>
                <a:gd name="connsiteX57" fmla="*/ 2817016 w 3372468"/>
                <a:gd name="connsiteY57" fmla="*/ 61204 h 4671146"/>
                <a:gd name="connsiteX58" fmla="*/ 2817016 w 3372468"/>
                <a:gd name="connsiteY58" fmla="*/ 264110 h 4671146"/>
                <a:gd name="connsiteX59" fmla="*/ 2793694 w 3372468"/>
                <a:gd name="connsiteY59" fmla="*/ 264110 h 4671146"/>
                <a:gd name="connsiteX60" fmla="*/ 3372096 w 3372468"/>
                <a:gd name="connsiteY60" fmla="*/ 345739 h 4671146"/>
                <a:gd name="connsiteX61" fmla="*/ 3122543 w 3372468"/>
                <a:gd name="connsiteY61" fmla="*/ 460021 h 4671146"/>
                <a:gd name="connsiteX62" fmla="*/ 3122543 w 3372468"/>
                <a:gd name="connsiteY62" fmla="*/ 439030 h 4671146"/>
                <a:gd name="connsiteX63" fmla="*/ 3206505 w 3372468"/>
                <a:gd name="connsiteY63" fmla="*/ 390053 h 4671146"/>
                <a:gd name="connsiteX64" fmla="*/ 3372096 w 3372468"/>
                <a:gd name="connsiteY64" fmla="*/ 329415 h 4671146"/>
                <a:gd name="connsiteX65" fmla="*/ 3367431 w 3372468"/>
                <a:gd name="connsiteY65" fmla="*/ 345739 h 4671146"/>
                <a:gd name="connsiteX66" fmla="*/ 2572128 w 3372468"/>
                <a:gd name="connsiteY66" fmla="*/ 289764 h 4671146"/>
                <a:gd name="connsiteX67" fmla="*/ 2490499 w 3372468"/>
                <a:gd name="connsiteY67" fmla="*/ 91522 h 4671146"/>
                <a:gd name="connsiteX68" fmla="*/ 2513822 w 3372468"/>
                <a:gd name="connsiteY68" fmla="*/ 100851 h 4671146"/>
                <a:gd name="connsiteX69" fmla="*/ 2602448 w 3372468"/>
                <a:gd name="connsiteY69" fmla="*/ 285101 h 4671146"/>
                <a:gd name="connsiteX70" fmla="*/ 2618774 w 3372468"/>
                <a:gd name="connsiteY70" fmla="*/ 313087 h 4671146"/>
                <a:gd name="connsiteX71" fmla="*/ 2574460 w 3372468"/>
                <a:gd name="connsiteY71" fmla="*/ 289764 h 4671146"/>
                <a:gd name="connsiteX72" fmla="*/ 2984940 w 3372468"/>
                <a:gd name="connsiteY72" fmla="*/ 238456 h 4671146"/>
                <a:gd name="connsiteX73" fmla="*/ 3099220 w 3372468"/>
                <a:gd name="connsiteY73" fmla="*/ 89190 h 4671146"/>
                <a:gd name="connsiteX74" fmla="*/ 3127208 w 3372468"/>
                <a:gd name="connsiteY74" fmla="*/ 75197 h 4671146"/>
                <a:gd name="connsiteX75" fmla="*/ 3106218 w 3372468"/>
                <a:gd name="connsiteY75" fmla="*/ 119511 h 4671146"/>
                <a:gd name="connsiteX76" fmla="*/ 2994268 w 3372468"/>
                <a:gd name="connsiteY76" fmla="*/ 273440 h 4671146"/>
                <a:gd name="connsiteX77" fmla="*/ 2984940 w 3372468"/>
                <a:gd name="connsiteY77" fmla="*/ 240787 h 4671146"/>
                <a:gd name="connsiteX78" fmla="*/ 3341776 w 3372468"/>
                <a:gd name="connsiteY78" fmla="*/ 695580 h 4671146"/>
                <a:gd name="connsiteX79" fmla="*/ 3351106 w 3372468"/>
                <a:gd name="connsiteY79" fmla="*/ 711904 h 4671146"/>
                <a:gd name="connsiteX80" fmla="*/ 3183183 w 3372468"/>
                <a:gd name="connsiteY80" fmla="*/ 681586 h 4671146"/>
                <a:gd name="connsiteX81" fmla="*/ 3190179 w 3372468"/>
                <a:gd name="connsiteY81" fmla="*/ 655932 h 4671146"/>
                <a:gd name="connsiteX82" fmla="*/ 3341776 w 3372468"/>
                <a:gd name="connsiteY82" fmla="*/ 695580 h 4671146"/>
                <a:gd name="connsiteX83" fmla="*/ 2516153 w 3372468"/>
                <a:gd name="connsiteY83" fmla="*/ 2377144 h 4671146"/>
                <a:gd name="connsiteX84" fmla="*/ 2534813 w 3372468"/>
                <a:gd name="connsiteY84" fmla="*/ 2363151 h 4671146"/>
                <a:gd name="connsiteX85" fmla="*/ 2488167 w 3372468"/>
                <a:gd name="connsiteY85" fmla="*/ 2323503 h 4671146"/>
                <a:gd name="connsiteX86" fmla="*/ 2352895 w 3372468"/>
                <a:gd name="connsiteY86" fmla="*/ 2248869 h 4671146"/>
                <a:gd name="connsiteX87" fmla="*/ 2338902 w 3372468"/>
                <a:gd name="connsiteY87" fmla="*/ 2162576 h 4671146"/>
                <a:gd name="connsiteX88" fmla="*/ 2327240 w 3372468"/>
                <a:gd name="connsiteY88" fmla="*/ 2139253 h 4671146"/>
                <a:gd name="connsiteX89" fmla="*/ 2329572 w 3372468"/>
                <a:gd name="connsiteY89" fmla="*/ 2101938 h 4671146"/>
                <a:gd name="connsiteX90" fmla="*/ 2226953 w 3372468"/>
                <a:gd name="connsiteY90" fmla="*/ 2038965 h 4671146"/>
                <a:gd name="connsiteX91" fmla="*/ 2124333 w 3372468"/>
                <a:gd name="connsiteY91" fmla="*/ 1843054 h 4671146"/>
                <a:gd name="connsiteX92" fmla="*/ 2383215 w 3372468"/>
                <a:gd name="connsiteY92" fmla="*/ 1992319 h 4671146"/>
                <a:gd name="connsiteX93" fmla="*/ 2483502 w 3372468"/>
                <a:gd name="connsiteY93" fmla="*/ 2218551 h 4671146"/>
                <a:gd name="connsiteX94" fmla="*/ 2511490 w 3372468"/>
                <a:gd name="connsiteY94" fmla="*/ 2332830 h 4671146"/>
                <a:gd name="connsiteX95" fmla="*/ 2534813 w 3372468"/>
                <a:gd name="connsiteY95" fmla="*/ 2279189 h 4671146"/>
                <a:gd name="connsiteX96" fmla="*/ 2492831 w 3372468"/>
                <a:gd name="connsiteY96" fmla="*/ 2062287 h 4671146"/>
                <a:gd name="connsiteX97" fmla="*/ 2478838 w 3372468"/>
                <a:gd name="connsiteY97" fmla="*/ 2029635 h 4671146"/>
                <a:gd name="connsiteX98" fmla="*/ 2278263 w 3372468"/>
                <a:gd name="connsiteY98" fmla="*/ 1920020 h 4671146"/>
                <a:gd name="connsiteX99" fmla="*/ 2194301 w 3372468"/>
                <a:gd name="connsiteY99" fmla="*/ 1866376 h 4671146"/>
                <a:gd name="connsiteX100" fmla="*/ 2140659 w 3372468"/>
                <a:gd name="connsiteY100" fmla="*/ 1822066 h 4671146"/>
                <a:gd name="connsiteX101" fmla="*/ 2094014 w 3372468"/>
                <a:gd name="connsiteY101" fmla="*/ 1845388 h 4671146"/>
                <a:gd name="connsiteX102" fmla="*/ 2147655 w 3372468"/>
                <a:gd name="connsiteY102" fmla="*/ 2003981 h 4671146"/>
                <a:gd name="connsiteX103" fmla="*/ 2126666 w 3372468"/>
                <a:gd name="connsiteY103" fmla="*/ 2017974 h 4671146"/>
                <a:gd name="connsiteX104" fmla="*/ 2094014 w 3372468"/>
                <a:gd name="connsiteY104" fmla="*/ 2080947 h 4671146"/>
                <a:gd name="connsiteX105" fmla="*/ 2135994 w 3372468"/>
                <a:gd name="connsiteY105" fmla="*/ 2045963 h 4671146"/>
                <a:gd name="connsiteX106" fmla="*/ 2196634 w 3372468"/>
                <a:gd name="connsiteY106" fmla="*/ 2094940 h 4671146"/>
                <a:gd name="connsiteX107" fmla="*/ 2282927 w 3372468"/>
                <a:gd name="connsiteY107" fmla="*/ 2246537 h 4671146"/>
                <a:gd name="connsiteX108" fmla="*/ 2096345 w 3372468"/>
                <a:gd name="connsiteY108" fmla="*/ 2206890 h 4671146"/>
                <a:gd name="connsiteX109" fmla="*/ 2000723 w 3372468"/>
                <a:gd name="connsiteY109" fmla="*/ 2253535 h 4671146"/>
                <a:gd name="connsiteX110" fmla="*/ 1933087 w 3372468"/>
                <a:gd name="connsiteY110" fmla="*/ 2188230 h 4671146"/>
                <a:gd name="connsiteX111" fmla="*/ 2019381 w 3372468"/>
                <a:gd name="connsiteY111" fmla="*/ 2139253 h 4671146"/>
                <a:gd name="connsiteX112" fmla="*/ 1809477 w 3372468"/>
                <a:gd name="connsiteY112" fmla="*/ 2178901 h 4671146"/>
                <a:gd name="connsiteX113" fmla="*/ 1464301 w 3372468"/>
                <a:gd name="connsiteY113" fmla="*/ 2127592 h 4671146"/>
                <a:gd name="connsiteX114" fmla="*/ 1426986 w 3372468"/>
                <a:gd name="connsiteY114" fmla="*/ 2108933 h 4671146"/>
                <a:gd name="connsiteX115" fmla="*/ 1322034 w 3372468"/>
                <a:gd name="connsiteY115" fmla="*/ 1955004 h 4671146"/>
                <a:gd name="connsiteX116" fmla="*/ 1224078 w 3372468"/>
                <a:gd name="connsiteY116" fmla="*/ 1850052 h 4671146"/>
                <a:gd name="connsiteX117" fmla="*/ 1186761 w 3372468"/>
                <a:gd name="connsiteY117" fmla="*/ 1859381 h 4671146"/>
                <a:gd name="connsiteX118" fmla="*/ 1210084 w 3372468"/>
                <a:gd name="connsiteY118" fmla="*/ 1859381 h 4671146"/>
                <a:gd name="connsiteX119" fmla="*/ 1193759 w 3372468"/>
                <a:gd name="connsiteY119" fmla="*/ 1896697 h 4671146"/>
                <a:gd name="connsiteX120" fmla="*/ 1205420 w 3372468"/>
                <a:gd name="connsiteY120" fmla="*/ 1896697 h 4671146"/>
                <a:gd name="connsiteX121" fmla="*/ 1368679 w 3372468"/>
                <a:gd name="connsiteY121" fmla="*/ 2092608 h 4671146"/>
                <a:gd name="connsiteX122" fmla="*/ 1445644 w 3372468"/>
                <a:gd name="connsiteY122" fmla="*/ 2157910 h 4671146"/>
                <a:gd name="connsiteX123" fmla="*/ 1424653 w 3372468"/>
                <a:gd name="connsiteY123" fmla="*/ 2190562 h 4671146"/>
                <a:gd name="connsiteX124" fmla="*/ 1478294 w 3372468"/>
                <a:gd name="connsiteY124" fmla="*/ 2251201 h 4671146"/>
                <a:gd name="connsiteX125" fmla="*/ 1776826 w 3372468"/>
                <a:gd name="connsiteY125" fmla="*/ 2372480 h 4671146"/>
                <a:gd name="connsiteX126" fmla="*/ 1879445 w 3372468"/>
                <a:gd name="connsiteY126" fmla="*/ 2356153 h 4671146"/>
                <a:gd name="connsiteX127" fmla="*/ 1891106 w 3372468"/>
                <a:gd name="connsiteY127" fmla="*/ 2367814 h 4671146"/>
                <a:gd name="connsiteX128" fmla="*/ 2091682 w 3372468"/>
                <a:gd name="connsiteY128" fmla="*/ 2230212 h 4671146"/>
                <a:gd name="connsiteX129" fmla="*/ 2334237 w 3372468"/>
                <a:gd name="connsiteY129" fmla="*/ 2297846 h 4671146"/>
                <a:gd name="connsiteX130" fmla="*/ 2471841 w 3372468"/>
                <a:gd name="connsiteY130" fmla="*/ 2409796 h 4671146"/>
                <a:gd name="connsiteX131" fmla="*/ 2425196 w 3372468"/>
                <a:gd name="connsiteY131" fmla="*/ 2575386 h 4671146"/>
                <a:gd name="connsiteX132" fmla="*/ 2401873 w 3372468"/>
                <a:gd name="connsiteY132" fmla="*/ 2701329 h 4671146"/>
                <a:gd name="connsiteX133" fmla="*/ 2418199 w 3372468"/>
                <a:gd name="connsiteY133" fmla="*/ 2682670 h 4671146"/>
                <a:gd name="connsiteX134" fmla="*/ 2469508 w 3372468"/>
                <a:gd name="connsiteY134" fmla="*/ 2353821 h 4671146"/>
                <a:gd name="connsiteX135" fmla="*/ 2457847 w 3372468"/>
                <a:gd name="connsiteY135" fmla="*/ 2339828 h 4671146"/>
                <a:gd name="connsiteX136" fmla="*/ 2513822 w 3372468"/>
                <a:gd name="connsiteY136" fmla="*/ 2379475 h 4671146"/>
                <a:gd name="connsiteX137" fmla="*/ 2240946 w 3372468"/>
                <a:gd name="connsiteY137" fmla="*/ 2078615 h 4671146"/>
                <a:gd name="connsiteX138" fmla="*/ 2145324 w 3372468"/>
                <a:gd name="connsiteY138" fmla="*/ 2020308 h 4671146"/>
                <a:gd name="connsiteX139" fmla="*/ 2173311 w 3372468"/>
                <a:gd name="connsiteY139" fmla="*/ 2022640 h 4671146"/>
                <a:gd name="connsiteX140" fmla="*/ 2243279 w 3372468"/>
                <a:gd name="connsiteY140" fmla="*/ 2064619 h 4671146"/>
                <a:gd name="connsiteX141" fmla="*/ 2240946 w 3372468"/>
                <a:gd name="connsiteY141" fmla="*/ 2076280 h 4671146"/>
                <a:gd name="connsiteX142" fmla="*/ 1800148 w 3372468"/>
                <a:gd name="connsiteY142" fmla="*/ 2330498 h 4671146"/>
                <a:gd name="connsiteX143" fmla="*/ 1531938 w 3372468"/>
                <a:gd name="connsiteY143" fmla="*/ 2248869 h 4671146"/>
                <a:gd name="connsiteX144" fmla="*/ 1501617 w 3372468"/>
                <a:gd name="connsiteY144" fmla="*/ 2211553 h 4671146"/>
                <a:gd name="connsiteX145" fmla="*/ 1804812 w 3372468"/>
                <a:gd name="connsiteY145" fmla="*/ 2321169 h 4671146"/>
                <a:gd name="connsiteX146" fmla="*/ 1797815 w 3372468"/>
                <a:gd name="connsiteY146" fmla="*/ 2330498 h 4671146"/>
                <a:gd name="connsiteX147" fmla="*/ 1909764 w 3372468"/>
                <a:gd name="connsiteY147" fmla="*/ 2325835 h 4671146"/>
                <a:gd name="connsiteX148" fmla="*/ 1933087 w 3372468"/>
                <a:gd name="connsiteY148" fmla="*/ 2246537 h 4671146"/>
                <a:gd name="connsiteX149" fmla="*/ 1928423 w 3372468"/>
                <a:gd name="connsiteY149" fmla="*/ 2281521 h 4671146"/>
                <a:gd name="connsiteX150" fmla="*/ 1956409 w 3372468"/>
                <a:gd name="connsiteY150" fmla="*/ 2265196 h 4671146"/>
                <a:gd name="connsiteX151" fmla="*/ 1909764 w 3372468"/>
                <a:gd name="connsiteY151" fmla="*/ 2328167 h 4671146"/>
                <a:gd name="connsiteX152" fmla="*/ 2303918 w 3372468"/>
                <a:gd name="connsiteY152" fmla="*/ 2216217 h 4671146"/>
                <a:gd name="connsiteX153" fmla="*/ 2294588 w 3372468"/>
                <a:gd name="connsiteY153" fmla="*/ 2164908 h 4671146"/>
                <a:gd name="connsiteX154" fmla="*/ 2310914 w 3372468"/>
                <a:gd name="connsiteY154" fmla="*/ 2234876 h 4671146"/>
                <a:gd name="connsiteX155" fmla="*/ 2301586 w 3372468"/>
                <a:gd name="connsiteY155" fmla="*/ 2218551 h 4671146"/>
                <a:gd name="connsiteX156" fmla="*/ 2394877 w 3372468"/>
                <a:gd name="connsiteY156" fmla="*/ 2293183 h 4671146"/>
                <a:gd name="connsiteX157" fmla="*/ 2364556 w 3372468"/>
                <a:gd name="connsiteY157" fmla="*/ 2283853 h 4671146"/>
                <a:gd name="connsiteX158" fmla="*/ 2313247 w 3372468"/>
                <a:gd name="connsiteY158" fmla="*/ 2262862 h 4671146"/>
                <a:gd name="connsiteX159" fmla="*/ 2411201 w 3372468"/>
                <a:gd name="connsiteY159" fmla="*/ 2290851 h 4671146"/>
                <a:gd name="connsiteX160" fmla="*/ 2394877 w 3372468"/>
                <a:gd name="connsiteY160" fmla="*/ 2290851 h 4671146"/>
                <a:gd name="connsiteX161" fmla="*/ 1716186 w 3372468"/>
                <a:gd name="connsiteY161" fmla="*/ 1120051 h 4671146"/>
                <a:gd name="connsiteX162" fmla="*/ 1702193 w 3372468"/>
                <a:gd name="connsiteY162" fmla="*/ 1073406 h 4671146"/>
                <a:gd name="connsiteX163" fmla="*/ 1732512 w 3372468"/>
                <a:gd name="connsiteY163" fmla="*/ 1145708 h 4671146"/>
                <a:gd name="connsiteX164" fmla="*/ 1590244 w 3372468"/>
                <a:gd name="connsiteY164" fmla="*/ 1190019 h 4671146"/>
                <a:gd name="connsiteX165" fmla="*/ 1426986 w 3372468"/>
                <a:gd name="connsiteY165" fmla="*/ 1255324 h 4671146"/>
                <a:gd name="connsiteX166" fmla="*/ 1378007 w 3372468"/>
                <a:gd name="connsiteY166" fmla="*/ 1301969 h 4671146"/>
                <a:gd name="connsiteX167" fmla="*/ 1436314 w 3372468"/>
                <a:gd name="connsiteY167" fmla="*/ 1152703 h 4671146"/>
                <a:gd name="connsiteX168" fmla="*/ 1454972 w 3372468"/>
                <a:gd name="connsiteY168" fmla="*/ 1157370 h 4671146"/>
                <a:gd name="connsiteX169" fmla="*/ 1480628 w 3372468"/>
                <a:gd name="connsiteY169" fmla="*/ 1138710 h 4671146"/>
                <a:gd name="connsiteX170" fmla="*/ 1688199 w 3372468"/>
                <a:gd name="connsiteY170" fmla="*/ 1087402 h 4671146"/>
                <a:gd name="connsiteX171" fmla="*/ 1716186 w 3372468"/>
                <a:gd name="connsiteY171" fmla="*/ 1120051 h 4671146"/>
                <a:gd name="connsiteX172" fmla="*/ 1727847 w 3372468"/>
                <a:gd name="connsiteY172" fmla="*/ 1327623 h 4671146"/>
                <a:gd name="connsiteX173" fmla="*/ 1650883 w 3372468"/>
                <a:gd name="connsiteY173" fmla="*/ 1280978 h 4671146"/>
                <a:gd name="connsiteX174" fmla="*/ 1587911 w 3372468"/>
                <a:gd name="connsiteY174" fmla="*/ 1285644 h 4671146"/>
                <a:gd name="connsiteX175" fmla="*/ 1475963 w 3372468"/>
                <a:gd name="connsiteY175" fmla="*/ 1376600 h 4671146"/>
                <a:gd name="connsiteX176" fmla="*/ 1615899 w 3372468"/>
                <a:gd name="connsiteY176" fmla="*/ 1243662 h 4671146"/>
                <a:gd name="connsiteX177" fmla="*/ 1655548 w 3372468"/>
                <a:gd name="connsiteY177" fmla="*/ 1255324 h 4671146"/>
                <a:gd name="connsiteX178" fmla="*/ 1716186 w 3372468"/>
                <a:gd name="connsiteY178" fmla="*/ 1290308 h 4671146"/>
                <a:gd name="connsiteX179" fmla="*/ 1730180 w 3372468"/>
                <a:gd name="connsiteY179" fmla="*/ 1322960 h 4671146"/>
                <a:gd name="connsiteX180" fmla="*/ 2068359 w 3372468"/>
                <a:gd name="connsiteY180" fmla="*/ 1705452 h 4671146"/>
                <a:gd name="connsiteX181" fmla="*/ 2112671 w 3372468"/>
                <a:gd name="connsiteY181" fmla="*/ 1712447 h 4671146"/>
                <a:gd name="connsiteX182" fmla="*/ 2140659 w 3372468"/>
                <a:gd name="connsiteY182" fmla="*/ 1696123 h 4671146"/>
                <a:gd name="connsiteX183" fmla="*/ 2145324 w 3372468"/>
                <a:gd name="connsiteY183" fmla="*/ 1724109 h 4671146"/>
                <a:gd name="connsiteX184" fmla="*/ 2052033 w 3372468"/>
                <a:gd name="connsiteY184" fmla="*/ 1726440 h 4671146"/>
                <a:gd name="connsiteX185" fmla="*/ 1811810 w 3372468"/>
                <a:gd name="connsiteY185" fmla="*/ 1819731 h 4671146"/>
                <a:gd name="connsiteX186" fmla="*/ 1697528 w 3372468"/>
                <a:gd name="connsiteY186" fmla="*/ 1836059 h 4671146"/>
                <a:gd name="connsiteX187" fmla="*/ 1711521 w 3372468"/>
                <a:gd name="connsiteY187" fmla="*/ 1787082 h 4671146"/>
                <a:gd name="connsiteX188" fmla="*/ 1730180 w 3372468"/>
                <a:gd name="connsiteY188" fmla="*/ 1803406 h 4671146"/>
                <a:gd name="connsiteX189" fmla="*/ 2068359 w 3372468"/>
                <a:gd name="connsiteY189" fmla="*/ 1705452 h 4671146"/>
                <a:gd name="connsiteX190" fmla="*/ 2198966 w 3372468"/>
                <a:gd name="connsiteY190" fmla="*/ 1588839 h 4671146"/>
                <a:gd name="connsiteX191" fmla="*/ 2203630 w 3372468"/>
                <a:gd name="connsiteY191" fmla="*/ 1838390 h 4671146"/>
                <a:gd name="connsiteX192" fmla="*/ 2187304 w 3372468"/>
                <a:gd name="connsiteY192" fmla="*/ 1805738 h 4671146"/>
                <a:gd name="connsiteX193" fmla="*/ 2189636 w 3372468"/>
                <a:gd name="connsiteY193" fmla="*/ 1521203 h 4671146"/>
                <a:gd name="connsiteX194" fmla="*/ 2210627 w 3372468"/>
                <a:gd name="connsiteY194" fmla="*/ 1460564 h 4671146"/>
                <a:gd name="connsiteX195" fmla="*/ 2145324 w 3372468"/>
                <a:gd name="connsiteY195" fmla="*/ 1299637 h 4671146"/>
                <a:gd name="connsiteX196" fmla="*/ 2135994 w 3372468"/>
                <a:gd name="connsiteY196" fmla="*/ 1278646 h 4671146"/>
                <a:gd name="connsiteX197" fmla="*/ 2152320 w 3372468"/>
                <a:gd name="connsiteY197" fmla="*/ 1273983 h 4671146"/>
                <a:gd name="connsiteX198" fmla="*/ 2159317 w 3372468"/>
                <a:gd name="connsiteY198" fmla="*/ 1297306 h 4671146"/>
                <a:gd name="connsiteX199" fmla="*/ 2231618 w 3372468"/>
                <a:gd name="connsiteY199" fmla="*/ 1448903 h 4671146"/>
                <a:gd name="connsiteX200" fmla="*/ 2196634 w 3372468"/>
                <a:gd name="connsiteY200" fmla="*/ 1586504 h 4671146"/>
                <a:gd name="connsiteX201" fmla="*/ 2066026 w 3372468"/>
                <a:gd name="connsiteY201" fmla="*/ 1159701 h 4671146"/>
                <a:gd name="connsiteX202" fmla="*/ 2075356 w 3372468"/>
                <a:gd name="connsiteY202" fmla="*/ 1183024 h 4671146"/>
                <a:gd name="connsiteX203" fmla="*/ 2101010 w 3372468"/>
                <a:gd name="connsiteY203" fmla="*/ 1241331 h 4671146"/>
                <a:gd name="connsiteX204" fmla="*/ 2047368 w 3372468"/>
                <a:gd name="connsiteY204" fmla="*/ 1190019 h 4671146"/>
                <a:gd name="connsiteX205" fmla="*/ 1996058 w 3372468"/>
                <a:gd name="connsiteY205" fmla="*/ 1241331 h 4671146"/>
                <a:gd name="connsiteX206" fmla="*/ 1975069 w 3372468"/>
                <a:gd name="connsiteY206" fmla="*/ 1194685 h 4671146"/>
                <a:gd name="connsiteX207" fmla="*/ 1930755 w 3372468"/>
                <a:gd name="connsiteY207" fmla="*/ 1266985 h 4671146"/>
                <a:gd name="connsiteX208" fmla="*/ 1912097 w 3372468"/>
                <a:gd name="connsiteY208" fmla="*/ 1280978 h 4671146"/>
                <a:gd name="connsiteX209" fmla="*/ 2066026 w 3372468"/>
                <a:gd name="connsiteY209" fmla="*/ 1159701 h 4671146"/>
                <a:gd name="connsiteX210" fmla="*/ 2285260 w 3372468"/>
                <a:gd name="connsiteY210" fmla="*/ 2321169 h 4671146"/>
                <a:gd name="connsiteX211" fmla="*/ 2366889 w 3372468"/>
                <a:gd name="connsiteY211" fmla="*/ 2381810 h 4671146"/>
                <a:gd name="connsiteX212" fmla="*/ 2362224 w 3372468"/>
                <a:gd name="connsiteY212" fmla="*/ 2412128 h 4671146"/>
                <a:gd name="connsiteX213" fmla="*/ 2350563 w 3372468"/>
                <a:gd name="connsiteY213" fmla="*/ 2405132 h 4671146"/>
                <a:gd name="connsiteX214" fmla="*/ 2278263 w 3372468"/>
                <a:gd name="connsiteY214" fmla="*/ 2339828 h 4671146"/>
                <a:gd name="connsiteX215" fmla="*/ 2096345 w 3372468"/>
                <a:gd name="connsiteY215" fmla="*/ 2349157 h 4671146"/>
                <a:gd name="connsiteX216" fmla="*/ 1986730 w 3372468"/>
                <a:gd name="connsiteY216" fmla="*/ 2337496 h 4671146"/>
                <a:gd name="connsiteX217" fmla="*/ 1958742 w 3372468"/>
                <a:gd name="connsiteY217" fmla="*/ 2360819 h 4671146"/>
                <a:gd name="connsiteX218" fmla="*/ 1975069 w 3372468"/>
                <a:gd name="connsiteY218" fmla="*/ 2321169 h 4671146"/>
                <a:gd name="connsiteX219" fmla="*/ 2285260 w 3372468"/>
                <a:gd name="connsiteY219" fmla="*/ 2321169 h 4671146"/>
                <a:gd name="connsiteX220" fmla="*/ 1844461 w 3372468"/>
                <a:gd name="connsiteY220" fmla="*/ 1598166 h 4671146"/>
                <a:gd name="connsiteX221" fmla="*/ 1942416 w 3372468"/>
                <a:gd name="connsiteY221" fmla="*/ 1539859 h 4671146"/>
                <a:gd name="connsiteX222" fmla="*/ 1979732 w 3372468"/>
                <a:gd name="connsiteY222" fmla="*/ 1579509 h 4671146"/>
                <a:gd name="connsiteX223" fmla="*/ 1846794 w 3372468"/>
                <a:gd name="connsiteY223" fmla="*/ 1619157 h 4671146"/>
                <a:gd name="connsiteX224" fmla="*/ 1874780 w 3372468"/>
                <a:gd name="connsiteY224" fmla="*/ 1628486 h 4671146"/>
                <a:gd name="connsiteX225" fmla="*/ 1872448 w 3372468"/>
                <a:gd name="connsiteY225" fmla="*/ 1642479 h 4671146"/>
                <a:gd name="connsiteX226" fmla="*/ 1783822 w 3372468"/>
                <a:gd name="connsiteY226" fmla="*/ 1586504 h 4671146"/>
                <a:gd name="connsiteX227" fmla="*/ 1807145 w 3372468"/>
                <a:gd name="connsiteY227" fmla="*/ 1572511 h 4671146"/>
                <a:gd name="connsiteX228" fmla="*/ 1816473 w 3372468"/>
                <a:gd name="connsiteY228" fmla="*/ 1600500 h 4671146"/>
                <a:gd name="connsiteX229" fmla="*/ 1844461 w 3372468"/>
                <a:gd name="connsiteY229" fmla="*/ 1595834 h 4671146"/>
                <a:gd name="connsiteX230" fmla="*/ 2049700 w 3372468"/>
                <a:gd name="connsiteY230" fmla="*/ 1831392 h 4671146"/>
                <a:gd name="connsiteX231" fmla="*/ 1965739 w 3372468"/>
                <a:gd name="connsiteY231" fmla="*/ 1866376 h 4671146"/>
                <a:gd name="connsiteX232" fmla="*/ 1923758 w 3372468"/>
                <a:gd name="connsiteY232" fmla="*/ 1843054 h 4671146"/>
                <a:gd name="connsiteX233" fmla="*/ 2024046 w 3372468"/>
                <a:gd name="connsiteY233" fmla="*/ 1810404 h 4671146"/>
                <a:gd name="connsiteX234" fmla="*/ 2049700 w 3372468"/>
                <a:gd name="connsiteY234" fmla="*/ 1815068 h 4671146"/>
                <a:gd name="connsiteX235" fmla="*/ 2087017 w 3372468"/>
                <a:gd name="connsiteY235" fmla="*/ 1791745 h 4671146"/>
                <a:gd name="connsiteX236" fmla="*/ 2049700 w 3372468"/>
                <a:gd name="connsiteY236" fmla="*/ 1831392 h 4671146"/>
                <a:gd name="connsiteX237" fmla="*/ 2075356 w 3372468"/>
                <a:gd name="connsiteY237" fmla="*/ 1528198 h 4671146"/>
                <a:gd name="connsiteX238" fmla="*/ 2014716 w 3372468"/>
                <a:gd name="connsiteY238" fmla="*/ 1598166 h 4671146"/>
                <a:gd name="connsiteX239" fmla="*/ 2049700 w 3372468"/>
                <a:gd name="connsiteY239" fmla="*/ 1528198 h 4671146"/>
                <a:gd name="connsiteX240" fmla="*/ 2073023 w 3372468"/>
                <a:gd name="connsiteY240" fmla="*/ 1509541 h 4671146"/>
                <a:gd name="connsiteX241" fmla="*/ 2091682 w 3372468"/>
                <a:gd name="connsiteY241" fmla="*/ 1521203 h 4671146"/>
                <a:gd name="connsiteX242" fmla="*/ 2082352 w 3372468"/>
                <a:gd name="connsiteY242" fmla="*/ 1570180 h 4671146"/>
                <a:gd name="connsiteX243" fmla="*/ 2073023 w 3372468"/>
                <a:gd name="connsiteY243" fmla="*/ 1530532 h 4671146"/>
                <a:gd name="connsiteX244" fmla="*/ 1660212 w 3372468"/>
                <a:gd name="connsiteY244" fmla="*/ 1388262 h 4671146"/>
                <a:gd name="connsiteX245" fmla="*/ 1566922 w 3372468"/>
                <a:gd name="connsiteY245" fmla="*/ 1406921 h 4671146"/>
                <a:gd name="connsiteX246" fmla="*/ 1688199 w 3372468"/>
                <a:gd name="connsiteY246" fmla="*/ 1360276 h 4671146"/>
                <a:gd name="connsiteX247" fmla="*/ 1660212 w 3372468"/>
                <a:gd name="connsiteY247" fmla="*/ 1388262 h 4671146"/>
                <a:gd name="connsiteX248" fmla="*/ 1968071 w 3372468"/>
                <a:gd name="connsiteY248" fmla="*/ 1894365 h 4671146"/>
                <a:gd name="connsiteX249" fmla="*/ 2047368 w 3372468"/>
                <a:gd name="connsiteY249" fmla="*/ 1859381 h 4671146"/>
                <a:gd name="connsiteX250" fmla="*/ 1968071 w 3372468"/>
                <a:gd name="connsiteY250" fmla="*/ 1894365 h 4671146"/>
                <a:gd name="connsiteX251" fmla="*/ 2052033 w 3372468"/>
                <a:gd name="connsiteY251" fmla="*/ 1299637 h 4671146"/>
                <a:gd name="connsiteX252" fmla="*/ 1989062 w 3372468"/>
                <a:gd name="connsiteY252" fmla="*/ 1308967 h 4671146"/>
                <a:gd name="connsiteX253" fmla="*/ 2003055 w 3372468"/>
                <a:gd name="connsiteY253" fmla="*/ 1297306 h 4671146"/>
                <a:gd name="connsiteX254" fmla="*/ 2063694 w 3372468"/>
                <a:gd name="connsiteY254" fmla="*/ 1285644 h 4671146"/>
                <a:gd name="connsiteX255" fmla="*/ 2052033 w 3372468"/>
                <a:gd name="connsiteY255" fmla="*/ 1299637 h 4671146"/>
                <a:gd name="connsiteX256" fmla="*/ 2007719 w 3372468"/>
                <a:gd name="connsiteY256" fmla="*/ 1509541 h 4671146"/>
                <a:gd name="connsiteX257" fmla="*/ 1937751 w 3372468"/>
                <a:gd name="connsiteY257" fmla="*/ 1532864 h 4671146"/>
                <a:gd name="connsiteX258" fmla="*/ 2007719 w 3372468"/>
                <a:gd name="connsiteY258" fmla="*/ 1509541 h 4671146"/>
                <a:gd name="connsiteX259" fmla="*/ 1021171 w 3372468"/>
                <a:gd name="connsiteY259" fmla="*/ 1703118 h 4671146"/>
                <a:gd name="connsiteX260" fmla="*/ 1058486 w 3372468"/>
                <a:gd name="connsiteY260" fmla="*/ 1752098 h 4671146"/>
                <a:gd name="connsiteX261" fmla="*/ 1044493 w 3372468"/>
                <a:gd name="connsiteY261" fmla="*/ 1588839 h 4671146"/>
                <a:gd name="connsiteX262" fmla="*/ 899893 w 3372468"/>
                <a:gd name="connsiteY262" fmla="*/ 1628486 h 4671146"/>
                <a:gd name="connsiteX263" fmla="*/ 1021171 w 3372468"/>
                <a:gd name="connsiteY263" fmla="*/ 1766091 h 4671146"/>
                <a:gd name="connsiteX264" fmla="*/ 1081809 w 3372468"/>
                <a:gd name="connsiteY264" fmla="*/ 1796408 h 4671146"/>
                <a:gd name="connsiteX265" fmla="*/ 867242 w 3372468"/>
                <a:gd name="connsiteY265" fmla="*/ 1570180 h 4671146"/>
                <a:gd name="connsiteX266" fmla="*/ 1098135 w 3372468"/>
                <a:gd name="connsiteY266" fmla="*/ 1605164 h 4671146"/>
                <a:gd name="connsiteX267" fmla="*/ 1109797 w 3372468"/>
                <a:gd name="connsiteY267" fmla="*/ 1689125 h 4671146"/>
                <a:gd name="connsiteX268" fmla="*/ 1165772 w 3372468"/>
                <a:gd name="connsiteY268" fmla="*/ 1780084 h 4671146"/>
                <a:gd name="connsiteX269" fmla="*/ 1056155 w 3372468"/>
                <a:gd name="connsiteY269" fmla="*/ 1658807 h 4671146"/>
                <a:gd name="connsiteX270" fmla="*/ 1021171 w 3372468"/>
                <a:gd name="connsiteY270" fmla="*/ 1700786 h 4671146"/>
                <a:gd name="connsiteX271" fmla="*/ 2047368 w 3372468"/>
                <a:gd name="connsiteY271" fmla="*/ 3942094 h 4671146"/>
                <a:gd name="connsiteX272" fmla="*/ 1746505 w 3372468"/>
                <a:gd name="connsiteY272" fmla="*/ 4387560 h 4671146"/>
                <a:gd name="connsiteX273" fmla="*/ 1697528 w 3372468"/>
                <a:gd name="connsiteY273" fmla="*/ 4553150 h 4671146"/>
                <a:gd name="connsiteX274" fmla="*/ 1669541 w 3372468"/>
                <a:gd name="connsiteY274" fmla="*/ 4564811 h 4671146"/>
                <a:gd name="connsiteX275" fmla="*/ 1622895 w 3372468"/>
                <a:gd name="connsiteY275" fmla="*/ 4576473 h 4671146"/>
                <a:gd name="connsiteX276" fmla="*/ 1844461 w 3372468"/>
                <a:gd name="connsiteY276" fmla="*/ 4054044 h 4671146"/>
                <a:gd name="connsiteX277" fmla="*/ 1975069 w 3372468"/>
                <a:gd name="connsiteY277" fmla="*/ 3893117 h 4671146"/>
                <a:gd name="connsiteX278" fmla="*/ 1984397 w 3372468"/>
                <a:gd name="connsiteY278" fmla="*/ 3902447 h 4671146"/>
                <a:gd name="connsiteX279" fmla="*/ 1877113 w 3372468"/>
                <a:gd name="connsiteY279" fmla="*/ 4030721 h 4671146"/>
                <a:gd name="connsiteX280" fmla="*/ 1823471 w 3372468"/>
                <a:gd name="connsiteY280" fmla="*/ 4124012 h 4671146"/>
                <a:gd name="connsiteX281" fmla="*/ 2021714 w 3372468"/>
                <a:gd name="connsiteY281" fmla="*/ 3888454 h 4671146"/>
                <a:gd name="connsiteX282" fmla="*/ 2031042 w 3372468"/>
                <a:gd name="connsiteY282" fmla="*/ 3897783 h 4671146"/>
                <a:gd name="connsiteX283" fmla="*/ 1905100 w 3372468"/>
                <a:gd name="connsiteY283" fmla="*/ 4084365 h 4671146"/>
                <a:gd name="connsiteX284" fmla="*/ 1923758 w 3372468"/>
                <a:gd name="connsiteY284" fmla="*/ 4077367 h 4671146"/>
                <a:gd name="connsiteX285" fmla="*/ 2031042 w 3372468"/>
                <a:gd name="connsiteY285" fmla="*/ 3949092 h 4671146"/>
                <a:gd name="connsiteX286" fmla="*/ 2047368 w 3372468"/>
                <a:gd name="connsiteY286" fmla="*/ 3942094 h 4671146"/>
                <a:gd name="connsiteX287" fmla="*/ 3234493 w 3372468"/>
                <a:gd name="connsiteY287" fmla="*/ 3214428 h 4671146"/>
                <a:gd name="connsiteX288" fmla="*/ 3250817 w 3372468"/>
                <a:gd name="connsiteY288" fmla="*/ 3456984 h 4671146"/>
                <a:gd name="connsiteX289" fmla="*/ 3229828 w 3372468"/>
                <a:gd name="connsiteY289" fmla="*/ 3461648 h 4671146"/>
                <a:gd name="connsiteX290" fmla="*/ 3234493 w 3372468"/>
                <a:gd name="connsiteY290" fmla="*/ 3435993 h 4671146"/>
                <a:gd name="connsiteX291" fmla="*/ 3096888 w 3372468"/>
                <a:gd name="connsiteY291" fmla="*/ 3004524 h 4671146"/>
                <a:gd name="connsiteX292" fmla="*/ 2975610 w 3372468"/>
                <a:gd name="connsiteY292" fmla="*/ 2878581 h 4671146"/>
                <a:gd name="connsiteX293" fmla="*/ 2959284 w 3372468"/>
                <a:gd name="connsiteY293" fmla="*/ 2841265 h 4671146"/>
                <a:gd name="connsiteX294" fmla="*/ 3232160 w 3372468"/>
                <a:gd name="connsiteY294" fmla="*/ 3214428 h 4671146"/>
                <a:gd name="connsiteX295" fmla="*/ 848582 w 3372468"/>
                <a:gd name="connsiteY295" fmla="*/ 2794620 h 4671146"/>
                <a:gd name="connsiteX296" fmla="*/ 853247 w 3372468"/>
                <a:gd name="connsiteY296" fmla="*/ 2820274 h 4671146"/>
                <a:gd name="connsiteX297" fmla="*/ 815931 w 3372468"/>
                <a:gd name="connsiteY297" fmla="*/ 2803950 h 4671146"/>
                <a:gd name="connsiteX298" fmla="*/ 715644 w 3372468"/>
                <a:gd name="connsiteY298" fmla="*/ 2701329 h 4671146"/>
                <a:gd name="connsiteX299" fmla="*/ 743630 w 3372468"/>
                <a:gd name="connsiteY299" fmla="*/ 2685005 h 4671146"/>
                <a:gd name="connsiteX300" fmla="*/ 846251 w 3372468"/>
                <a:gd name="connsiteY300" fmla="*/ 2796952 h 4671146"/>
                <a:gd name="connsiteX301" fmla="*/ 850915 w 3372468"/>
                <a:gd name="connsiteY301" fmla="*/ 4646441 h 4671146"/>
                <a:gd name="connsiteX302" fmla="*/ 827593 w 3372468"/>
                <a:gd name="connsiteY302" fmla="*/ 4665097 h 4671146"/>
                <a:gd name="connsiteX303" fmla="*/ 724972 w 3372468"/>
                <a:gd name="connsiteY303" fmla="*/ 4508836 h 4671146"/>
                <a:gd name="connsiteX304" fmla="*/ 522065 w 3372468"/>
                <a:gd name="connsiteY304" fmla="*/ 4098358 h 4671146"/>
                <a:gd name="connsiteX305" fmla="*/ 461427 w 3372468"/>
                <a:gd name="connsiteY305" fmla="*/ 3928101 h 4671146"/>
                <a:gd name="connsiteX306" fmla="*/ 347145 w 3372468"/>
                <a:gd name="connsiteY306" fmla="*/ 3739188 h 4671146"/>
                <a:gd name="connsiteX307" fmla="*/ 22961 w 3372468"/>
                <a:gd name="connsiteY307" fmla="*/ 3104813 h 4671146"/>
                <a:gd name="connsiteX308" fmla="*/ 6634 w 3372468"/>
                <a:gd name="connsiteY308" fmla="*/ 3062831 h 4671146"/>
                <a:gd name="connsiteX309" fmla="*/ 43950 w 3372468"/>
                <a:gd name="connsiteY309" fmla="*/ 3100146 h 4671146"/>
                <a:gd name="connsiteX310" fmla="*/ 351810 w 3372468"/>
                <a:gd name="connsiteY310" fmla="*/ 3676218 h 4671146"/>
                <a:gd name="connsiteX311" fmla="*/ 407785 w 3372468"/>
                <a:gd name="connsiteY311" fmla="*/ 3739188 h 4671146"/>
                <a:gd name="connsiteX312" fmla="*/ 433439 w 3372468"/>
                <a:gd name="connsiteY312" fmla="*/ 3715865 h 4671146"/>
                <a:gd name="connsiteX313" fmla="*/ 440436 w 3372468"/>
                <a:gd name="connsiteY313" fmla="*/ 3767174 h 4671146"/>
                <a:gd name="connsiteX314" fmla="*/ 445100 w 3372468"/>
                <a:gd name="connsiteY314" fmla="*/ 3753181 h 4671146"/>
                <a:gd name="connsiteX315" fmla="*/ 412450 w 3372468"/>
                <a:gd name="connsiteY315" fmla="*/ 3533947 h 4671146"/>
                <a:gd name="connsiteX316" fmla="*/ 354143 w 3372468"/>
                <a:gd name="connsiteY316" fmla="*/ 3398678 h 4671146"/>
                <a:gd name="connsiteX317" fmla="*/ 384462 w 3372468"/>
                <a:gd name="connsiteY317" fmla="*/ 3422000 h 4671146"/>
                <a:gd name="connsiteX318" fmla="*/ 431107 w 3372468"/>
                <a:gd name="connsiteY318" fmla="*/ 3536282 h 4671146"/>
                <a:gd name="connsiteX319" fmla="*/ 468423 w 3372468"/>
                <a:gd name="connsiteY319" fmla="*/ 3806824 h 4671146"/>
                <a:gd name="connsiteX320" fmla="*/ 480084 w 3372468"/>
                <a:gd name="connsiteY320" fmla="*/ 3797495 h 4671146"/>
                <a:gd name="connsiteX321" fmla="*/ 417113 w 3372468"/>
                <a:gd name="connsiteY321" fmla="*/ 3440657 h 4671146"/>
                <a:gd name="connsiteX322" fmla="*/ 466091 w 3372468"/>
                <a:gd name="connsiteY322" fmla="*/ 3489637 h 4671146"/>
                <a:gd name="connsiteX323" fmla="*/ 503407 w 3372468"/>
                <a:gd name="connsiteY323" fmla="*/ 3697206 h 4671146"/>
                <a:gd name="connsiteX324" fmla="*/ 512737 w 3372468"/>
                <a:gd name="connsiteY324" fmla="*/ 3676218 h 4671146"/>
                <a:gd name="connsiteX325" fmla="*/ 496411 w 3372468"/>
                <a:gd name="connsiteY325" fmla="*/ 3557270 h 4671146"/>
                <a:gd name="connsiteX326" fmla="*/ 512737 w 3372468"/>
                <a:gd name="connsiteY326" fmla="*/ 3557270 h 4671146"/>
                <a:gd name="connsiteX327" fmla="*/ 529063 w 3372468"/>
                <a:gd name="connsiteY327" fmla="*/ 3715865 h 4671146"/>
                <a:gd name="connsiteX328" fmla="*/ 536059 w 3372468"/>
                <a:gd name="connsiteY328" fmla="*/ 3932767 h 4671146"/>
                <a:gd name="connsiteX329" fmla="*/ 606027 w 3372468"/>
                <a:gd name="connsiteY329" fmla="*/ 4114683 h 4671146"/>
                <a:gd name="connsiteX330" fmla="*/ 769286 w 3372468"/>
                <a:gd name="connsiteY330" fmla="*/ 4494843 h 4671146"/>
                <a:gd name="connsiteX331" fmla="*/ 846251 w 3372468"/>
                <a:gd name="connsiteY331" fmla="*/ 4641774 h 4671146"/>
                <a:gd name="connsiteX332" fmla="*/ 717976 w 3372468"/>
                <a:gd name="connsiteY332" fmla="*/ 3216760 h 4671146"/>
                <a:gd name="connsiteX333" fmla="*/ 652673 w 3372468"/>
                <a:gd name="connsiteY333" fmla="*/ 3060499 h 4671146"/>
                <a:gd name="connsiteX334" fmla="*/ 648008 w 3372468"/>
                <a:gd name="connsiteY334" fmla="*/ 3095483 h 4671146"/>
                <a:gd name="connsiteX335" fmla="*/ 636347 w 3372468"/>
                <a:gd name="connsiteY335" fmla="*/ 3037176 h 4671146"/>
                <a:gd name="connsiteX336" fmla="*/ 652673 w 3372468"/>
                <a:gd name="connsiteY336" fmla="*/ 3060499 h 4671146"/>
                <a:gd name="connsiteX337" fmla="*/ 643343 w 3372468"/>
                <a:gd name="connsiteY337" fmla="*/ 3025515 h 4671146"/>
                <a:gd name="connsiteX338" fmla="*/ 629350 w 3372468"/>
                <a:gd name="connsiteY338" fmla="*/ 2964877 h 4671146"/>
                <a:gd name="connsiteX339" fmla="*/ 778614 w 3372468"/>
                <a:gd name="connsiteY339" fmla="*/ 2878581 h 4671146"/>
                <a:gd name="connsiteX340" fmla="*/ 836921 w 3372468"/>
                <a:gd name="connsiteY340" fmla="*/ 2829604 h 4671146"/>
                <a:gd name="connsiteX341" fmla="*/ 585036 w 3372468"/>
                <a:gd name="connsiteY341" fmla="*/ 2925226 h 4671146"/>
                <a:gd name="connsiteX342" fmla="*/ 566379 w 3372468"/>
                <a:gd name="connsiteY342" fmla="*/ 2962542 h 4671146"/>
                <a:gd name="connsiteX343" fmla="*/ 876570 w 3372468"/>
                <a:gd name="connsiteY343" fmla="*/ 3956090 h 4671146"/>
                <a:gd name="connsiteX344" fmla="*/ 1149445 w 3372468"/>
                <a:gd name="connsiteY344" fmla="*/ 4497175 h 4671146"/>
                <a:gd name="connsiteX345" fmla="*/ 1221745 w 3372468"/>
                <a:gd name="connsiteY345" fmla="*/ 4518166 h 4671146"/>
                <a:gd name="connsiteX346" fmla="*/ 1221745 w 3372468"/>
                <a:gd name="connsiteY346" fmla="*/ 4506505 h 4671146"/>
                <a:gd name="connsiteX347" fmla="*/ 888231 w 3372468"/>
                <a:gd name="connsiteY347" fmla="*/ 3818486 h 4671146"/>
                <a:gd name="connsiteX348" fmla="*/ 715644 w 3372468"/>
                <a:gd name="connsiteY348" fmla="*/ 3216760 h 4671146"/>
                <a:gd name="connsiteX349" fmla="*/ 689988 w 3372468"/>
                <a:gd name="connsiteY349" fmla="*/ 3200435 h 4671146"/>
                <a:gd name="connsiteX350" fmla="*/ 682992 w 3372468"/>
                <a:gd name="connsiteY350" fmla="*/ 3158453 h 4671146"/>
                <a:gd name="connsiteX351" fmla="*/ 708646 w 3372468"/>
                <a:gd name="connsiteY351" fmla="*/ 3216760 h 4671146"/>
                <a:gd name="connsiteX352" fmla="*/ 713311 w 3372468"/>
                <a:gd name="connsiteY352" fmla="*/ 3244749 h 4671146"/>
                <a:gd name="connsiteX353" fmla="*/ 692322 w 3372468"/>
                <a:gd name="connsiteY353" fmla="*/ 3200435 h 4671146"/>
                <a:gd name="connsiteX354" fmla="*/ 559382 w 3372468"/>
                <a:gd name="connsiteY354" fmla="*/ 4616120 h 4671146"/>
                <a:gd name="connsiteX355" fmla="*/ 552386 w 3372468"/>
                <a:gd name="connsiteY355" fmla="*/ 4653436 h 4671146"/>
                <a:gd name="connsiteX356" fmla="*/ 312161 w 3372468"/>
                <a:gd name="connsiteY356" fmla="*/ 4543820 h 4671146"/>
                <a:gd name="connsiteX357" fmla="*/ 188551 w 3372468"/>
                <a:gd name="connsiteY357" fmla="*/ 4464523 h 4671146"/>
                <a:gd name="connsiteX358" fmla="*/ 195548 w 3372468"/>
                <a:gd name="connsiteY358" fmla="*/ 4452861 h 4671146"/>
                <a:gd name="connsiteX359" fmla="*/ 368136 w 3372468"/>
                <a:gd name="connsiteY359" fmla="*/ 4543820 h 4671146"/>
                <a:gd name="connsiteX360" fmla="*/ 461427 w 3372468"/>
                <a:gd name="connsiteY360" fmla="*/ 4583468 h 4671146"/>
                <a:gd name="connsiteX361" fmla="*/ 480084 w 3372468"/>
                <a:gd name="connsiteY361" fmla="*/ 4578804 h 4671146"/>
                <a:gd name="connsiteX362" fmla="*/ 183886 w 3372468"/>
                <a:gd name="connsiteY362" fmla="*/ 4354907 h 4671146"/>
                <a:gd name="connsiteX363" fmla="*/ 20628 w 3372468"/>
                <a:gd name="connsiteY363" fmla="*/ 4172989 h 4671146"/>
                <a:gd name="connsiteX364" fmla="*/ 53280 w 3372468"/>
                <a:gd name="connsiteY364" fmla="*/ 4168326 h 4671146"/>
                <a:gd name="connsiteX365" fmla="*/ 137241 w 3372468"/>
                <a:gd name="connsiteY365" fmla="*/ 4266280 h 4671146"/>
                <a:gd name="connsiteX366" fmla="*/ 375132 w 3372468"/>
                <a:gd name="connsiteY366" fmla="*/ 4480850 h 4671146"/>
                <a:gd name="connsiteX367" fmla="*/ 557049 w 3372468"/>
                <a:gd name="connsiteY367" fmla="*/ 4613788 h 4671146"/>
                <a:gd name="connsiteX368" fmla="*/ 701650 w 3372468"/>
                <a:gd name="connsiteY368" fmla="*/ 4513500 h 4671146"/>
                <a:gd name="connsiteX369" fmla="*/ 692322 w 3372468"/>
                <a:gd name="connsiteY369" fmla="*/ 4569475 h 4671146"/>
                <a:gd name="connsiteX370" fmla="*/ 76603 w 3372468"/>
                <a:gd name="connsiteY370" fmla="*/ 4133342 h 4671146"/>
                <a:gd name="connsiteX371" fmla="*/ 67273 w 3372468"/>
                <a:gd name="connsiteY371" fmla="*/ 4110019 h 4671146"/>
                <a:gd name="connsiteX372" fmla="*/ 95260 w 3372468"/>
                <a:gd name="connsiteY372" fmla="*/ 4112351 h 4671146"/>
                <a:gd name="connsiteX373" fmla="*/ 242193 w 3372468"/>
                <a:gd name="connsiteY373" fmla="*/ 4210305 h 4671146"/>
                <a:gd name="connsiteX374" fmla="*/ 673662 w 3372468"/>
                <a:gd name="connsiteY374" fmla="*/ 4522829 h 4671146"/>
                <a:gd name="connsiteX375" fmla="*/ 552386 w 3372468"/>
                <a:gd name="connsiteY375" fmla="*/ 4284939 h 4671146"/>
                <a:gd name="connsiteX376" fmla="*/ 580372 w 3372468"/>
                <a:gd name="connsiteY376" fmla="*/ 4280273 h 4671146"/>
                <a:gd name="connsiteX377" fmla="*/ 696985 w 3372468"/>
                <a:gd name="connsiteY377" fmla="*/ 4513500 h 4671146"/>
                <a:gd name="connsiteX378" fmla="*/ 664334 w 3372468"/>
                <a:gd name="connsiteY378" fmla="*/ 2983533 h 4671146"/>
                <a:gd name="connsiteX379" fmla="*/ 668999 w 3372468"/>
                <a:gd name="connsiteY379" fmla="*/ 3037176 h 4671146"/>
                <a:gd name="connsiteX380" fmla="*/ 664334 w 3372468"/>
                <a:gd name="connsiteY380" fmla="*/ 3055833 h 4671146"/>
                <a:gd name="connsiteX381" fmla="*/ 643343 w 3372468"/>
                <a:gd name="connsiteY381" fmla="*/ 2976538 h 4671146"/>
                <a:gd name="connsiteX382" fmla="*/ 892896 w 3372468"/>
                <a:gd name="connsiteY382" fmla="*/ 2822606 h 4671146"/>
                <a:gd name="connsiteX383" fmla="*/ 855580 w 3372468"/>
                <a:gd name="connsiteY383" fmla="*/ 2866920 h 4671146"/>
                <a:gd name="connsiteX384" fmla="*/ 664334 w 3372468"/>
                <a:gd name="connsiteY384" fmla="*/ 2985865 h 4671146"/>
                <a:gd name="connsiteX385" fmla="*/ 2926633 w 3372468"/>
                <a:gd name="connsiteY385" fmla="*/ 3557270 h 4671146"/>
                <a:gd name="connsiteX386" fmla="*/ 2996601 w 3372468"/>
                <a:gd name="connsiteY386" fmla="*/ 3200435 h 4671146"/>
                <a:gd name="connsiteX387" fmla="*/ 2942959 w 3372468"/>
                <a:gd name="connsiteY387" fmla="*/ 3118806 h 4671146"/>
                <a:gd name="connsiteX388" fmla="*/ 2791362 w 3372468"/>
                <a:gd name="connsiteY388" fmla="*/ 3582927 h 4671146"/>
                <a:gd name="connsiteX389" fmla="*/ 2663087 w 3372468"/>
                <a:gd name="connsiteY389" fmla="*/ 3361362 h 4671146"/>
                <a:gd name="connsiteX390" fmla="*/ 2814685 w 3372468"/>
                <a:gd name="connsiteY390" fmla="*/ 3072160 h 4671146"/>
                <a:gd name="connsiteX391" fmla="*/ 2812352 w 3372468"/>
                <a:gd name="connsiteY391" fmla="*/ 3055833 h 4671146"/>
                <a:gd name="connsiteX392" fmla="*/ 2761041 w 3372468"/>
                <a:gd name="connsiteY392" fmla="*/ 3188774 h 4671146"/>
                <a:gd name="connsiteX393" fmla="*/ 2749380 w 3372468"/>
                <a:gd name="connsiteY393" fmla="*/ 3179444 h 4671146"/>
                <a:gd name="connsiteX394" fmla="*/ 2786697 w 3372468"/>
                <a:gd name="connsiteY394" fmla="*/ 3062831 h 4671146"/>
                <a:gd name="connsiteX395" fmla="*/ 2807687 w 3372468"/>
                <a:gd name="connsiteY395" fmla="*/ 2948549 h 4671146"/>
                <a:gd name="connsiteX396" fmla="*/ 2779701 w 3372468"/>
                <a:gd name="connsiteY396" fmla="*/ 3004524 h 4671146"/>
                <a:gd name="connsiteX397" fmla="*/ 2772703 w 3372468"/>
                <a:gd name="connsiteY397" fmla="*/ 3060499 h 4671146"/>
                <a:gd name="connsiteX398" fmla="*/ 2693407 w 3372468"/>
                <a:gd name="connsiteY398" fmla="*/ 3279733 h 4671146"/>
                <a:gd name="connsiteX399" fmla="*/ 2677080 w 3372468"/>
                <a:gd name="connsiteY399" fmla="*/ 3298389 h 4671146"/>
                <a:gd name="connsiteX400" fmla="*/ 2674749 w 3372468"/>
                <a:gd name="connsiteY400" fmla="*/ 3289059 h 4671146"/>
                <a:gd name="connsiteX401" fmla="*/ 2747048 w 3372468"/>
                <a:gd name="connsiteY401" fmla="*/ 3104813 h 4671146"/>
                <a:gd name="connsiteX402" fmla="*/ 2742384 w 3372468"/>
                <a:gd name="connsiteY402" fmla="*/ 3086153 h 4671146"/>
                <a:gd name="connsiteX403" fmla="*/ 2639765 w 3372468"/>
                <a:gd name="connsiteY403" fmla="*/ 3333373 h 4671146"/>
                <a:gd name="connsiteX404" fmla="*/ 2518487 w 3372468"/>
                <a:gd name="connsiteY404" fmla="*/ 3095483 h 4671146"/>
                <a:gd name="connsiteX405" fmla="*/ 2502160 w 3372468"/>
                <a:gd name="connsiteY405" fmla="*/ 3086153 h 4671146"/>
                <a:gd name="connsiteX406" fmla="*/ 2518487 w 3372468"/>
                <a:gd name="connsiteY406" fmla="*/ 3195769 h 4671146"/>
                <a:gd name="connsiteX407" fmla="*/ 2693407 w 3372468"/>
                <a:gd name="connsiteY407" fmla="*/ 3477975 h 4671146"/>
                <a:gd name="connsiteX408" fmla="*/ 2765706 w 3372468"/>
                <a:gd name="connsiteY408" fmla="*/ 3638899 h 4671146"/>
                <a:gd name="connsiteX409" fmla="*/ 2779701 w 3372468"/>
                <a:gd name="connsiteY409" fmla="*/ 3622575 h 4671146"/>
                <a:gd name="connsiteX410" fmla="*/ 2793694 w 3372468"/>
                <a:gd name="connsiteY410" fmla="*/ 3631904 h 4671146"/>
                <a:gd name="connsiteX411" fmla="*/ 2891649 w 3372468"/>
                <a:gd name="connsiteY411" fmla="*/ 3837142 h 4671146"/>
                <a:gd name="connsiteX412" fmla="*/ 3005929 w 3372468"/>
                <a:gd name="connsiteY412" fmla="*/ 3928101 h 4671146"/>
                <a:gd name="connsiteX413" fmla="*/ 2977943 w 3372468"/>
                <a:gd name="connsiteY413" fmla="*/ 3974746 h 4671146"/>
                <a:gd name="connsiteX414" fmla="*/ 3040913 w 3372468"/>
                <a:gd name="connsiteY414" fmla="*/ 3960753 h 4671146"/>
                <a:gd name="connsiteX415" fmla="*/ 3033917 w 3372468"/>
                <a:gd name="connsiteY415" fmla="*/ 3865131 h 4671146"/>
                <a:gd name="connsiteX416" fmla="*/ 2926633 w 3372468"/>
                <a:gd name="connsiteY416" fmla="*/ 3559605 h 4671146"/>
                <a:gd name="connsiteX417" fmla="*/ 2889316 w 3372468"/>
                <a:gd name="connsiteY417" fmla="*/ 3445323 h 4671146"/>
                <a:gd name="connsiteX418" fmla="*/ 2882320 w 3372468"/>
                <a:gd name="connsiteY418" fmla="*/ 3445323 h 4671146"/>
                <a:gd name="connsiteX419" fmla="*/ 2938295 w 3372468"/>
                <a:gd name="connsiteY419" fmla="*/ 3212096 h 4671146"/>
                <a:gd name="connsiteX420" fmla="*/ 2970945 w 3372468"/>
                <a:gd name="connsiteY420" fmla="*/ 3114139 h 4671146"/>
                <a:gd name="connsiteX421" fmla="*/ 2970945 w 3372468"/>
                <a:gd name="connsiteY421" fmla="*/ 3265737 h 4671146"/>
                <a:gd name="connsiteX422" fmla="*/ 2963949 w 3372468"/>
                <a:gd name="connsiteY422" fmla="*/ 3354364 h 4671146"/>
                <a:gd name="connsiteX423" fmla="*/ 2940626 w 3372468"/>
                <a:gd name="connsiteY423" fmla="*/ 3340371 h 4671146"/>
                <a:gd name="connsiteX424" fmla="*/ 2956952 w 3372468"/>
                <a:gd name="connsiteY424" fmla="*/ 3233087 h 4671146"/>
                <a:gd name="connsiteX425" fmla="*/ 2940626 w 3372468"/>
                <a:gd name="connsiteY425" fmla="*/ 3233087 h 4671146"/>
                <a:gd name="connsiteX426" fmla="*/ 2889316 w 3372468"/>
                <a:gd name="connsiteY426" fmla="*/ 3445323 h 4671146"/>
                <a:gd name="connsiteX427" fmla="*/ 2926633 w 3372468"/>
                <a:gd name="connsiteY427" fmla="*/ 3652895 h 4671146"/>
                <a:gd name="connsiteX428" fmla="*/ 2945291 w 3372468"/>
                <a:gd name="connsiteY428" fmla="*/ 3666888 h 4671146"/>
                <a:gd name="connsiteX429" fmla="*/ 3001266 w 3372468"/>
                <a:gd name="connsiteY429" fmla="*/ 3813819 h 4671146"/>
                <a:gd name="connsiteX430" fmla="*/ 2926633 w 3372468"/>
                <a:gd name="connsiteY430" fmla="*/ 3652895 h 4671146"/>
                <a:gd name="connsiteX431" fmla="*/ 2415866 w 3372468"/>
                <a:gd name="connsiteY431" fmla="*/ 3788165 h 4671146"/>
                <a:gd name="connsiteX432" fmla="*/ 2394877 w 3372468"/>
                <a:gd name="connsiteY432" fmla="*/ 3769509 h 4671146"/>
                <a:gd name="connsiteX433" fmla="*/ 2390212 w 3372468"/>
                <a:gd name="connsiteY433" fmla="*/ 3720529 h 4671146"/>
                <a:gd name="connsiteX434" fmla="*/ 2359893 w 3372468"/>
                <a:gd name="connsiteY434" fmla="*/ 3699541 h 4671146"/>
                <a:gd name="connsiteX435" fmla="*/ 2355228 w 3372468"/>
                <a:gd name="connsiteY435" fmla="*/ 3636568 h 4671146"/>
                <a:gd name="connsiteX436" fmla="*/ 2308582 w 3372468"/>
                <a:gd name="connsiteY436" fmla="*/ 3589922 h 4671146"/>
                <a:gd name="connsiteX437" fmla="*/ 2294588 w 3372468"/>
                <a:gd name="connsiteY437" fmla="*/ 3699541 h 4671146"/>
                <a:gd name="connsiteX438" fmla="*/ 2327240 w 3372468"/>
                <a:gd name="connsiteY438" fmla="*/ 3715865 h 4671146"/>
                <a:gd name="connsiteX439" fmla="*/ 2322576 w 3372468"/>
                <a:gd name="connsiteY439" fmla="*/ 3783502 h 4671146"/>
                <a:gd name="connsiteX440" fmla="*/ 2336570 w 3372468"/>
                <a:gd name="connsiteY440" fmla="*/ 3795163 h 4671146"/>
                <a:gd name="connsiteX441" fmla="*/ 2341233 w 3372468"/>
                <a:gd name="connsiteY441" fmla="*/ 3841808 h 4671146"/>
                <a:gd name="connsiteX442" fmla="*/ 2415866 w 3372468"/>
                <a:gd name="connsiteY442" fmla="*/ 3790497 h 4671146"/>
                <a:gd name="connsiteX443" fmla="*/ 2322576 w 3372468"/>
                <a:gd name="connsiteY443" fmla="*/ 3624906 h 4671146"/>
                <a:gd name="connsiteX444" fmla="*/ 2327240 w 3372468"/>
                <a:gd name="connsiteY444" fmla="*/ 3701872 h 4671146"/>
                <a:gd name="connsiteX445" fmla="*/ 2322576 w 3372468"/>
                <a:gd name="connsiteY445" fmla="*/ 3624906 h 4671146"/>
                <a:gd name="connsiteX446" fmla="*/ 2334237 w 3372468"/>
                <a:gd name="connsiteY446" fmla="*/ 3771840 h 4671146"/>
                <a:gd name="connsiteX447" fmla="*/ 2369221 w 3372468"/>
                <a:gd name="connsiteY447" fmla="*/ 3725195 h 4671146"/>
                <a:gd name="connsiteX448" fmla="*/ 2373886 w 3372468"/>
                <a:gd name="connsiteY448" fmla="*/ 3767174 h 4671146"/>
                <a:gd name="connsiteX449" fmla="*/ 2334237 w 3372468"/>
                <a:gd name="connsiteY449" fmla="*/ 3771840 h 4671146"/>
                <a:gd name="connsiteX450" fmla="*/ 2387879 w 3372468"/>
                <a:gd name="connsiteY450" fmla="*/ 3839477 h 4671146"/>
                <a:gd name="connsiteX451" fmla="*/ 2355228 w 3372468"/>
                <a:gd name="connsiteY451" fmla="*/ 3785833 h 4671146"/>
                <a:gd name="connsiteX452" fmla="*/ 2387879 w 3372468"/>
                <a:gd name="connsiteY452" fmla="*/ 3839477 h 4671146"/>
                <a:gd name="connsiteX453" fmla="*/ 2679412 w 3372468"/>
                <a:gd name="connsiteY453" fmla="*/ 3044171 h 4671146"/>
                <a:gd name="connsiteX454" fmla="*/ 2716729 w 3372468"/>
                <a:gd name="connsiteY454" fmla="*/ 2992863 h 4671146"/>
                <a:gd name="connsiteX455" fmla="*/ 2791362 w 3372468"/>
                <a:gd name="connsiteY455" fmla="*/ 2876249 h 4671146"/>
                <a:gd name="connsiteX456" fmla="*/ 2805355 w 3372468"/>
                <a:gd name="connsiteY456" fmla="*/ 2864588 h 4671146"/>
                <a:gd name="connsiteX457" fmla="*/ 2758710 w 3372468"/>
                <a:gd name="connsiteY457" fmla="*/ 2964877 h 4671146"/>
                <a:gd name="connsiteX458" fmla="*/ 2751713 w 3372468"/>
                <a:gd name="connsiteY458" fmla="*/ 3002192 h 4671146"/>
                <a:gd name="connsiteX459" fmla="*/ 2735387 w 3372468"/>
                <a:gd name="connsiteY459" fmla="*/ 3006856 h 4671146"/>
                <a:gd name="connsiteX460" fmla="*/ 2693407 w 3372468"/>
                <a:gd name="connsiteY460" fmla="*/ 3083822 h 4671146"/>
                <a:gd name="connsiteX461" fmla="*/ 2649093 w 3372468"/>
                <a:gd name="connsiteY461" fmla="*/ 3079155 h 4671146"/>
                <a:gd name="connsiteX462" fmla="*/ 2651426 w 3372468"/>
                <a:gd name="connsiteY462" fmla="*/ 3016185 h 4671146"/>
                <a:gd name="connsiteX463" fmla="*/ 2730722 w 3372468"/>
                <a:gd name="connsiteY463" fmla="*/ 2887911 h 4671146"/>
                <a:gd name="connsiteX464" fmla="*/ 2751713 w 3372468"/>
                <a:gd name="connsiteY464" fmla="*/ 2850595 h 4671146"/>
                <a:gd name="connsiteX465" fmla="*/ 2677080 w 3372468"/>
                <a:gd name="connsiteY465" fmla="*/ 3046506 h 4671146"/>
                <a:gd name="connsiteX466" fmla="*/ 2224620 w 3372468"/>
                <a:gd name="connsiteY466" fmla="*/ 3650561 h 4671146"/>
                <a:gd name="connsiteX467" fmla="*/ 2238614 w 3372468"/>
                <a:gd name="connsiteY467" fmla="*/ 3636568 h 4671146"/>
                <a:gd name="connsiteX468" fmla="*/ 2306249 w 3372468"/>
                <a:gd name="connsiteY468" fmla="*/ 3799826 h 4671146"/>
                <a:gd name="connsiteX469" fmla="*/ 2394877 w 3372468"/>
                <a:gd name="connsiteY469" fmla="*/ 3974746 h 4671146"/>
                <a:gd name="connsiteX470" fmla="*/ 2397208 w 3372468"/>
                <a:gd name="connsiteY470" fmla="*/ 3998069 h 4671146"/>
                <a:gd name="connsiteX471" fmla="*/ 2380882 w 3372468"/>
                <a:gd name="connsiteY471" fmla="*/ 3993406 h 4671146"/>
                <a:gd name="connsiteX472" fmla="*/ 2308582 w 3372468"/>
                <a:gd name="connsiteY472" fmla="*/ 3848803 h 4671146"/>
                <a:gd name="connsiteX473" fmla="*/ 2224620 w 3372468"/>
                <a:gd name="connsiteY473" fmla="*/ 3650561 h 4671146"/>
                <a:gd name="connsiteX474" fmla="*/ 2196634 w 3372468"/>
                <a:gd name="connsiteY474" fmla="*/ 3571266 h 4671146"/>
                <a:gd name="connsiteX475" fmla="*/ 2329572 w 3372468"/>
                <a:gd name="connsiteY475" fmla="*/ 3433662 h 4671146"/>
                <a:gd name="connsiteX476" fmla="*/ 2317911 w 3372468"/>
                <a:gd name="connsiteY476" fmla="*/ 3454653 h 4671146"/>
                <a:gd name="connsiteX477" fmla="*/ 2238614 w 3372468"/>
                <a:gd name="connsiteY477" fmla="*/ 3540945 h 4671146"/>
                <a:gd name="connsiteX478" fmla="*/ 2198966 w 3372468"/>
                <a:gd name="connsiteY478" fmla="*/ 3571266 h 4671146"/>
                <a:gd name="connsiteX479" fmla="*/ 2439189 w 3372468"/>
                <a:gd name="connsiteY479" fmla="*/ 4203310 h 4671146"/>
                <a:gd name="connsiteX480" fmla="*/ 2387879 w 3372468"/>
                <a:gd name="connsiteY480" fmla="*/ 4184651 h 4671146"/>
                <a:gd name="connsiteX481" fmla="*/ 2376217 w 3372468"/>
                <a:gd name="connsiteY481" fmla="*/ 4170657 h 4671146"/>
                <a:gd name="connsiteX482" fmla="*/ 2439189 w 3372468"/>
                <a:gd name="connsiteY482" fmla="*/ 4205642 h 4671146"/>
                <a:gd name="connsiteX483" fmla="*/ 2014716 w 3372468"/>
                <a:gd name="connsiteY483" fmla="*/ 2659347 h 4671146"/>
                <a:gd name="connsiteX484" fmla="*/ 2014716 w 3372468"/>
                <a:gd name="connsiteY484" fmla="*/ 2647686 h 4671146"/>
                <a:gd name="connsiteX485" fmla="*/ 2084684 w 3372468"/>
                <a:gd name="connsiteY485" fmla="*/ 2652352 h 4671146"/>
                <a:gd name="connsiteX486" fmla="*/ 2033375 w 3372468"/>
                <a:gd name="connsiteY486" fmla="*/ 2640691 h 4671146"/>
                <a:gd name="connsiteX487" fmla="*/ 2047368 w 3372468"/>
                <a:gd name="connsiteY487" fmla="*/ 2570723 h 4671146"/>
                <a:gd name="connsiteX488" fmla="*/ 2033375 w 3372468"/>
                <a:gd name="connsiteY488" fmla="*/ 2517080 h 4671146"/>
                <a:gd name="connsiteX489" fmla="*/ 2031042 w 3372468"/>
                <a:gd name="connsiteY489" fmla="*/ 2491425 h 4671146"/>
                <a:gd name="connsiteX490" fmla="*/ 1935420 w 3372468"/>
                <a:gd name="connsiteY490" fmla="*/ 2493757 h 4671146"/>
                <a:gd name="connsiteX491" fmla="*/ 1914429 w 3372468"/>
                <a:gd name="connsiteY491" fmla="*/ 2514748 h 4671146"/>
                <a:gd name="connsiteX492" fmla="*/ 1895771 w 3372468"/>
                <a:gd name="connsiteY492" fmla="*/ 2521746 h 4671146"/>
                <a:gd name="connsiteX493" fmla="*/ 1879445 w 3372468"/>
                <a:gd name="connsiteY493" fmla="*/ 2582384 h 4671146"/>
                <a:gd name="connsiteX494" fmla="*/ 1846794 w 3372468"/>
                <a:gd name="connsiteY494" fmla="*/ 2629030 h 4671146"/>
                <a:gd name="connsiteX495" fmla="*/ 1872448 w 3372468"/>
                <a:gd name="connsiteY495" fmla="*/ 2624363 h 4671146"/>
                <a:gd name="connsiteX496" fmla="*/ 1867783 w 3372468"/>
                <a:gd name="connsiteY496" fmla="*/ 2701329 h 4671146"/>
                <a:gd name="connsiteX497" fmla="*/ 1814142 w 3372468"/>
                <a:gd name="connsiteY497" fmla="*/ 2698998 h 4671146"/>
                <a:gd name="connsiteX498" fmla="*/ 1818806 w 3372468"/>
                <a:gd name="connsiteY498" fmla="*/ 2745643 h 4671146"/>
                <a:gd name="connsiteX499" fmla="*/ 1947081 w 3372468"/>
                <a:gd name="connsiteY499" fmla="*/ 2698998 h 4671146"/>
                <a:gd name="connsiteX500" fmla="*/ 2012384 w 3372468"/>
                <a:gd name="connsiteY500" fmla="*/ 2671009 h 4671146"/>
                <a:gd name="connsiteX501" fmla="*/ 2017049 w 3372468"/>
                <a:gd name="connsiteY501" fmla="*/ 2659347 h 4671146"/>
                <a:gd name="connsiteX502" fmla="*/ 1940084 w 3372468"/>
                <a:gd name="connsiteY502" fmla="*/ 2584716 h 4671146"/>
                <a:gd name="connsiteX503" fmla="*/ 1956409 w 3372468"/>
                <a:gd name="connsiteY503" fmla="*/ 2636025 h 4671146"/>
                <a:gd name="connsiteX504" fmla="*/ 1940084 w 3372468"/>
                <a:gd name="connsiteY504" fmla="*/ 2584716 h 4671146"/>
                <a:gd name="connsiteX505" fmla="*/ 1963407 w 3372468"/>
                <a:gd name="connsiteY505" fmla="*/ 2657016 h 4671146"/>
                <a:gd name="connsiteX506" fmla="*/ 1937751 w 3372468"/>
                <a:gd name="connsiteY506" fmla="*/ 2682670 h 4671146"/>
                <a:gd name="connsiteX507" fmla="*/ 1888774 w 3372468"/>
                <a:gd name="connsiteY507" fmla="*/ 2710659 h 4671146"/>
                <a:gd name="connsiteX508" fmla="*/ 1900436 w 3372468"/>
                <a:gd name="connsiteY508" fmla="*/ 2608039 h 4671146"/>
                <a:gd name="connsiteX509" fmla="*/ 1958742 w 3372468"/>
                <a:gd name="connsiteY509" fmla="*/ 2643023 h 4671146"/>
                <a:gd name="connsiteX510" fmla="*/ 1965739 w 3372468"/>
                <a:gd name="connsiteY510" fmla="*/ 2657016 h 4671146"/>
                <a:gd name="connsiteX511" fmla="*/ 1991393 w 3372468"/>
                <a:gd name="connsiteY511" fmla="*/ 2556730 h 4671146"/>
                <a:gd name="connsiteX512" fmla="*/ 2024046 w 3372468"/>
                <a:gd name="connsiteY512" fmla="*/ 2554395 h 4671146"/>
                <a:gd name="connsiteX513" fmla="*/ 2019381 w 3372468"/>
                <a:gd name="connsiteY513" fmla="*/ 2624363 h 4671146"/>
                <a:gd name="connsiteX514" fmla="*/ 1991393 w 3372468"/>
                <a:gd name="connsiteY514" fmla="*/ 2556730 h 4671146"/>
                <a:gd name="connsiteX515" fmla="*/ 2397208 w 3372468"/>
                <a:gd name="connsiteY515" fmla="*/ 4261617 h 4671146"/>
                <a:gd name="connsiteX516" fmla="*/ 2331905 w 3372468"/>
                <a:gd name="connsiteY516" fmla="*/ 4233628 h 4671146"/>
                <a:gd name="connsiteX517" fmla="*/ 2296921 w 3372468"/>
                <a:gd name="connsiteY517" fmla="*/ 4145003 h 4671146"/>
                <a:gd name="connsiteX518" fmla="*/ 2327240 w 3372468"/>
                <a:gd name="connsiteY518" fmla="*/ 4147335 h 4671146"/>
                <a:gd name="connsiteX519" fmla="*/ 2338902 w 3372468"/>
                <a:gd name="connsiteY519" fmla="*/ 4131010 h 4671146"/>
                <a:gd name="connsiteX520" fmla="*/ 2401873 w 3372468"/>
                <a:gd name="connsiteY520" fmla="*/ 4170657 h 4671146"/>
                <a:gd name="connsiteX521" fmla="*/ 2404205 w 3372468"/>
                <a:gd name="connsiteY521" fmla="*/ 4161328 h 4671146"/>
                <a:gd name="connsiteX522" fmla="*/ 2352895 w 3372468"/>
                <a:gd name="connsiteY522" fmla="*/ 4114683 h 4671146"/>
                <a:gd name="connsiteX523" fmla="*/ 2240946 w 3372468"/>
                <a:gd name="connsiteY523" fmla="*/ 4037719 h 4671146"/>
                <a:gd name="connsiteX524" fmla="*/ 2061361 w 3372468"/>
                <a:gd name="connsiteY524" fmla="*/ 3648229 h 4671146"/>
                <a:gd name="connsiteX525" fmla="*/ 2031042 w 3372468"/>
                <a:gd name="connsiteY525" fmla="*/ 3596920 h 4671146"/>
                <a:gd name="connsiteX526" fmla="*/ 2045037 w 3372468"/>
                <a:gd name="connsiteY526" fmla="*/ 3594589 h 4671146"/>
                <a:gd name="connsiteX527" fmla="*/ 2142991 w 3372468"/>
                <a:gd name="connsiteY527" fmla="*/ 3594589 h 4671146"/>
                <a:gd name="connsiteX528" fmla="*/ 2306249 w 3372468"/>
                <a:gd name="connsiteY528" fmla="*/ 3972415 h 4671146"/>
                <a:gd name="connsiteX529" fmla="*/ 2376217 w 3372468"/>
                <a:gd name="connsiteY529" fmla="*/ 4100689 h 4671146"/>
                <a:gd name="connsiteX530" fmla="*/ 2394877 w 3372468"/>
                <a:gd name="connsiteY530" fmla="*/ 4096026 h 4671146"/>
                <a:gd name="connsiteX531" fmla="*/ 2161650 w 3372468"/>
                <a:gd name="connsiteY531" fmla="*/ 3568931 h 4671146"/>
                <a:gd name="connsiteX532" fmla="*/ 1982065 w 3372468"/>
                <a:gd name="connsiteY532" fmla="*/ 3526952 h 4671146"/>
                <a:gd name="connsiteX533" fmla="*/ 2108007 w 3372468"/>
                <a:gd name="connsiteY533" fmla="*/ 3291394 h 4671146"/>
                <a:gd name="connsiteX534" fmla="*/ 2117336 w 3372468"/>
                <a:gd name="connsiteY534" fmla="*/ 3298389 h 4671146"/>
                <a:gd name="connsiteX535" fmla="*/ 2138327 w 3372468"/>
                <a:gd name="connsiteY535" fmla="*/ 3349701 h 4671146"/>
                <a:gd name="connsiteX536" fmla="*/ 2068359 w 3372468"/>
                <a:gd name="connsiteY536" fmla="*/ 3417334 h 4671146"/>
                <a:gd name="connsiteX537" fmla="*/ 2012384 w 3372468"/>
                <a:gd name="connsiteY537" fmla="*/ 3536282 h 4671146"/>
                <a:gd name="connsiteX538" fmla="*/ 2047368 w 3372468"/>
                <a:gd name="connsiteY538" fmla="*/ 3531616 h 4671146"/>
                <a:gd name="connsiteX539" fmla="*/ 2096345 w 3372468"/>
                <a:gd name="connsiteY539" fmla="*/ 3475641 h 4671146"/>
                <a:gd name="connsiteX540" fmla="*/ 2159317 w 3372468"/>
                <a:gd name="connsiteY540" fmla="*/ 3433662 h 4671146"/>
                <a:gd name="connsiteX541" fmla="*/ 2161650 w 3372468"/>
                <a:gd name="connsiteY541" fmla="*/ 3447655 h 4671146"/>
                <a:gd name="connsiteX542" fmla="*/ 2063694 w 3372468"/>
                <a:gd name="connsiteY542" fmla="*/ 3510625 h 4671146"/>
                <a:gd name="connsiteX543" fmla="*/ 2052033 w 3372468"/>
                <a:gd name="connsiteY543" fmla="*/ 3524621 h 4671146"/>
                <a:gd name="connsiteX544" fmla="*/ 2163982 w 3372468"/>
                <a:gd name="connsiteY544" fmla="*/ 3482639 h 4671146"/>
                <a:gd name="connsiteX545" fmla="*/ 2208295 w 3372468"/>
                <a:gd name="connsiteY545" fmla="*/ 3428995 h 4671146"/>
                <a:gd name="connsiteX546" fmla="*/ 2322576 w 3372468"/>
                <a:gd name="connsiteY546" fmla="*/ 3366025 h 4671146"/>
                <a:gd name="connsiteX547" fmla="*/ 2317911 w 3372468"/>
                <a:gd name="connsiteY547" fmla="*/ 3352032 h 4671146"/>
                <a:gd name="connsiteX548" fmla="*/ 2252607 w 3372468"/>
                <a:gd name="connsiteY548" fmla="*/ 3387016 h 4671146"/>
                <a:gd name="connsiteX549" fmla="*/ 2243279 w 3372468"/>
                <a:gd name="connsiteY549" fmla="*/ 3377687 h 4671146"/>
                <a:gd name="connsiteX550" fmla="*/ 2387879 w 3372468"/>
                <a:gd name="connsiteY550" fmla="*/ 3181776 h 4671146"/>
                <a:gd name="connsiteX551" fmla="*/ 2462512 w 3372468"/>
                <a:gd name="connsiteY551" fmla="*/ 3097815 h 4671146"/>
                <a:gd name="connsiteX552" fmla="*/ 2457847 w 3372468"/>
                <a:gd name="connsiteY552" fmla="*/ 3013854 h 4671146"/>
                <a:gd name="connsiteX553" fmla="*/ 2555802 w 3372468"/>
                <a:gd name="connsiteY553" fmla="*/ 2661682 h 4671146"/>
                <a:gd name="connsiteX554" fmla="*/ 2700403 w 3372468"/>
                <a:gd name="connsiteY554" fmla="*/ 2719989 h 4671146"/>
                <a:gd name="connsiteX555" fmla="*/ 2884653 w 3372468"/>
                <a:gd name="connsiteY555" fmla="*/ 2806281 h 4671146"/>
                <a:gd name="connsiteX556" fmla="*/ 2861330 w 3372468"/>
                <a:gd name="connsiteY556" fmla="*/ 2780627 h 4671146"/>
                <a:gd name="connsiteX557" fmla="*/ 2590786 w 3372468"/>
                <a:gd name="connsiteY557" fmla="*/ 2650021 h 4671146"/>
                <a:gd name="connsiteX558" fmla="*/ 2562799 w 3372468"/>
                <a:gd name="connsiteY558" fmla="*/ 2645354 h 4671146"/>
                <a:gd name="connsiteX559" fmla="*/ 2539476 w 3372468"/>
                <a:gd name="connsiteY559" fmla="*/ 2612702 h 4671146"/>
                <a:gd name="connsiteX560" fmla="*/ 2539476 w 3372468"/>
                <a:gd name="connsiteY560" fmla="*/ 2645354 h 4671146"/>
                <a:gd name="connsiteX561" fmla="*/ 2509157 w 3372468"/>
                <a:gd name="connsiteY561" fmla="*/ 2712991 h 4671146"/>
                <a:gd name="connsiteX562" fmla="*/ 2425196 w 3372468"/>
                <a:gd name="connsiteY562" fmla="*/ 3081490 h 4671146"/>
                <a:gd name="connsiteX563" fmla="*/ 2257272 w 3372468"/>
                <a:gd name="connsiteY563" fmla="*/ 3317048 h 4671146"/>
                <a:gd name="connsiteX564" fmla="*/ 2243279 w 3372468"/>
                <a:gd name="connsiteY564" fmla="*/ 3324043 h 4671146"/>
                <a:gd name="connsiteX565" fmla="*/ 2140659 w 3372468"/>
                <a:gd name="connsiteY565" fmla="*/ 3158453 h 4671146"/>
                <a:gd name="connsiteX566" fmla="*/ 2087017 w 3372468"/>
                <a:gd name="connsiteY566" fmla="*/ 3076824 h 4671146"/>
                <a:gd name="connsiteX567" fmla="*/ 2103343 w 3372468"/>
                <a:gd name="connsiteY567" fmla="*/ 3144460 h 4671146"/>
                <a:gd name="connsiteX568" fmla="*/ 2098678 w 3372468"/>
                <a:gd name="connsiteY568" fmla="*/ 3163119 h 4671146"/>
                <a:gd name="connsiteX569" fmla="*/ 2066026 w 3372468"/>
                <a:gd name="connsiteY569" fmla="*/ 3053501 h 4671146"/>
                <a:gd name="connsiteX570" fmla="*/ 2042703 w 3372468"/>
                <a:gd name="connsiteY570" fmla="*/ 3013854 h 4671146"/>
                <a:gd name="connsiteX571" fmla="*/ 2000723 w 3372468"/>
                <a:gd name="connsiteY571" fmla="*/ 2796952 h 4671146"/>
                <a:gd name="connsiteX572" fmla="*/ 2035707 w 3372468"/>
                <a:gd name="connsiteY572" fmla="*/ 2671009 h 4671146"/>
                <a:gd name="connsiteX573" fmla="*/ 2019381 w 3372468"/>
                <a:gd name="connsiteY573" fmla="*/ 2657016 h 4671146"/>
                <a:gd name="connsiteX574" fmla="*/ 2014716 w 3372468"/>
                <a:gd name="connsiteY574" fmla="*/ 2668677 h 4671146"/>
                <a:gd name="connsiteX575" fmla="*/ 2000723 w 3372468"/>
                <a:gd name="connsiteY575" fmla="*/ 2962542 h 4671146"/>
                <a:gd name="connsiteX576" fmla="*/ 2021714 w 3372468"/>
                <a:gd name="connsiteY576" fmla="*/ 3034845 h 4671146"/>
                <a:gd name="connsiteX577" fmla="*/ 2000723 w 3372468"/>
                <a:gd name="connsiteY577" fmla="*/ 3135130 h 4671146"/>
                <a:gd name="connsiteX578" fmla="*/ 1767496 w 3372468"/>
                <a:gd name="connsiteY578" fmla="*/ 3753181 h 4671146"/>
                <a:gd name="connsiteX579" fmla="*/ 1755835 w 3372468"/>
                <a:gd name="connsiteY579" fmla="*/ 3762511 h 4671146"/>
                <a:gd name="connsiteX580" fmla="*/ 1741842 w 3372468"/>
                <a:gd name="connsiteY580" fmla="*/ 3664557 h 4671146"/>
                <a:gd name="connsiteX581" fmla="*/ 1683535 w 3372468"/>
                <a:gd name="connsiteY581" fmla="*/ 3216760 h 4671146"/>
                <a:gd name="connsiteX582" fmla="*/ 1807145 w 3372468"/>
                <a:gd name="connsiteY582" fmla="*/ 2990531 h 4671146"/>
                <a:gd name="connsiteX583" fmla="*/ 1898103 w 3372468"/>
                <a:gd name="connsiteY583" fmla="*/ 3053501 h 4671146"/>
                <a:gd name="connsiteX584" fmla="*/ 1951746 w 3372468"/>
                <a:gd name="connsiteY584" fmla="*/ 2950881 h 4671146"/>
                <a:gd name="connsiteX585" fmla="*/ 1968071 w 3372468"/>
                <a:gd name="connsiteY585" fmla="*/ 2871586 h 4671146"/>
                <a:gd name="connsiteX586" fmla="*/ 1949413 w 3372468"/>
                <a:gd name="connsiteY586" fmla="*/ 2894909 h 4671146"/>
                <a:gd name="connsiteX587" fmla="*/ 1905100 w 3372468"/>
                <a:gd name="connsiteY587" fmla="*/ 3027847 h 4671146"/>
                <a:gd name="connsiteX588" fmla="*/ 1930755 w 3372468"/>
                <a:gd name="connsiteY588" fmla="*/ 2906570 h 4671146"/>
                <a:gd name="connsiteX589" fmla="*/ 1968071 w 3372468"/>
                <a:gd name="connsiteY589" fmla="*/ 2796952 h 4671146"/>
                <a:gd name="connsiteX590" fmla="*/ 1954078 w 3372468"/>
                <a:gd name="connsiteY590" fmla="*/ 2813279 h 4671146"/>
                <a:gd name="connsiteX591" fmla="*/ 1884110 w 3372468"/>
                <a:gd name="connsiteY591" fmla="*/ 2969540 h 4671146"/>
                <a:gd name="connsiteX592" fmla="*/ 1650883 w 3372468"/>
                <a:gd name="connsiteY592" fmla="*/ 2808613 h 4671146"/>
                <a:gd name="connsiteX593" fmla="*/ 1695196 w 3372468"/>
                <a:gd name="connsiteY593" fmla="*/ 2761968 h 4671146"/>
                <a:gd name="connsiteX594" fmla="*/ 1786154 w 3372468"/>
                <a:gd name="connsiteY594" fmla="*/ 2664014 h 4671146"/>
                <a:gd name="connsiteX595" fmla="*/ 1786154 w 3372468"/>
                <a:gd name="connsiteY595" fmla="*/ 2603375 h 4671146"/>
                <a:gd name="connsiteX596" fmla="*/ 1802480 w 3372468"/>
                <a:gd name="connsiteY596" fmla="*/ 2587048 h 4671146"/>
                <a:gd name="connsiteX597" fmla="*/ 1832799 w 3372468"/>
                <a:gd name="connsiteY597" fmla="*/ 2433119 h 4671146"/>
                <a:gd name="connsiteX598" fmla="*/ 1860787 w 3372468"/>
                <a:gd name="connsiteY598" fmla="*/ 2388805 h 4671146"/>
                <a:gd name="connsiteX599" fmla="*/ 1818806 w 3372468"/>
                <a:gd name="connsiteY599" fmla="*/ 2416794 h 4671146"/>
                <a:gd name="connsiteX600" fmla="*/ 1727847 w 3372468"/>
                <a:gd name="connsiteY600" fmla="*/ 2409796 h 4671146"/>
                <a:gd name="connsiteX601" fmla="*/ 1522608 w 3372468"/>
                <a:gd name="connsiteY601" fmla="*/ 2325835 h 4671146"/>
                <a:gd name="connsiteX602" fmla="*/ 1466633 w 3372468"/>
                <a:gd name="connsiteY602" fmla="*/ 2276858 h 4671146"/>
                <a:gd name="connsiteX603" fmla="*/ 1475963 w 3372468"/>
                <a:gd name="connsiteY603" fmla="*/ 2314173 h 4671146"/>
                <a:gd name="connsiteX604" fmla="*/ 1725516 w 3372468"/>
                <a:gd name="connsiteY604" fmla="*/ 2433119 h 4671146"/>
                <a:gd name="connsiteX605" fmla="*/ 1814142 w 3372468"/>
                <a:gd name="connsiteY605" fmla="*/ 2433119 h 4671146"/>
                <a:gd name="connsiteX606" fmla="*/ 1767496 w 3372468"/>
                <a:gd name="connsiteY606" fmla="*/ 2629030 h 4671146"/>
                <a:gd name="connsiteX607" fmla="*/ 1620564 w 3372468"/>
                <a:gd name="connsiteY607" fmla="*/ 2787622 h 4671146"/>
                <a:gd name="connsiteX608" fmla="*/ 1576250 w 3372468"/>
                <a:gd name="connsiteY608" fmla="*/ 2794620 h 4671146"/>
                <a:gd name="connsiteX609" fmla="*/ 1492289 w 3372468"/>
                <a:gd name="connsiteY609" fmla="*/ 2729315 h 4671146"/>
                <a:gd name="connsiteX610" fmla="*/ 1282385 w 3372468"/>
                <a:gd name="connsiteY610" fmla="*/ 2461105 h 4671146"/>
                <a:gd name="connsiteX611" fmla="*/ 1242736 w 3372468"/>
                <a:gd name="connsiteY611" fmla="*/ 2225546 h 4671146"/>
                <a:gd name="connsiteX612" fmla="*/ 1212417 w 3372468"/>
                <a:gd name="connsiteY612" fmla="*/ 2106601 h 4671146"/>
                <a:gd name="connsiteX613" fmla="*/ 1175100 w 3372468"/>
                <a:gd name="connsiteY613" fmla="*/ 1887367 h 4671146"/>
                <a:gd name="connsiteX614" fmla="*/ 1100468 w 3372468"/>
                <a:gd name="connsiteY614" fmla="*/ 1896697 h 4671146"/>
                <a:gd name="connsiteX615" fmla="*/ 1009509 w 3372468"/>
                <a:gd name="connsiteY615" fmla="*/ 1838390 h 4671146"/>
                <a:gd name="connsiteX616" fmla="*/ 843919 w 3372468"/>
                <a:gd name="connsiteY616" fmla="*/ 1574843 h 4671146"/>
                <a:gd name="connsiteX617" fmla="*/ 1002513 w 3372468"/>
                <a:gd name="connsiteY617" fmla="*/ 1490882 h 4671146"/>
                <a:gd name="connsiteX618" fmla="*/ 1135452 w 3372468"/>
                <a:gd name="connsiteY618" fmla="*/ 1553855 h 4671146"/>
                <a:gd name="connsiteX619" fmla="*/ 1226410 w 3372468"/>
                <a:gd name="connsiteY619" fmla="*/ 1595834 h 4671146"/>
                <a:gd name="connsiteX620" fmla="*/ 1189094 w 3372468"/>
                <a:gd name="connsiteY620" fmla="*/ 1378935 h 4671146"/>
                <a:gd name="connsiteX621" fmla="*/ 1268390 w 3372468"/>
                <a:gd name="connsiteY621" fmla="*/ 1129381 h 4671146"/>
                <a:gd name="connsiteX622" fmla="*/ 1252066 w 3372468"/>
                <a:gd name="connsiteY622" fmla="*/ 1101395 h 4671146"/>
                <a:gd name="connsiteX623" fmla="*/ 1228743 w 3372468"/>
                <a:gd name="connsiteY623" fmla="*/ 1066411 h 4671146"/>
                <a:gd name="connsiteX624" fmla="*/ 1212417 w 3372468"/>
                <a:gd name="connsiteY624" fmla="*/ 1050083 h 4671146"/>
                <a:gd name="connsiteX625" fmla="*/ 1221745 w 3372468"/>
                <a:gd name="connsiteY625" fmla="*/ 1038422 h 4671146"/>
                <a:gd name="connsiteX626" fmla="*/ 1198422 w 3372468"/>
                <a:gd name="connsiteY626" fmla="*/ 1019765 h 4671146"/>
                <a:gd name="connsiteX627" fmla="*/ 1214749 w 3372468"/>
                <a:gd name="connsiteY627" fmla="*/ 998774 h 4671146"/>
                <a:gd name="connsiteX628" fmla="*/ 1219413 w 3372468"/>
                <a:gd name="connsiteY628" fmla="*/ 891491 h 4671146"/>
                <a:gd name="connsiteX629" fmla="*/ 1245068 w 3372468"/>
                <a:gd name="connsiteY629" fmla="*/ 837847 h 4671146"/>
                <a:gd name="connsiteX630" fmla="*/ 1308039 w 3372468"/>
                <a:gd name="connsiteY630" fmla="*/ 837847 h 4671146"/>
                <a:gd name="connsiteX631" fmla="*/ 1382672 w 3372468"/>
                <a:gd name="connsiteY631" fmla="*/ 821522 h 4671146"/>
                <a:gd name="connsiteX632" fmla="*/ 1378007 w 3372468"/>
                <a:gd name="connsiteY632" fmla="*/ 781872 h 4671146"/>
                <a:gd name="connsiteX633" fmla="*/ 1461970 w 3372468"/>
                <a:gd name="connsiteY633" fmla="*/ 805195 h 4671146"/>
                <a:gd name="connsiteX634" fmla="*/ 1461970 w 3372468"/>
                <a:gd name="connsiteY634" fmla="*/ 753886 h 4671146"/>
                <a:gd name="connsiteX635" fmla="*/ 1545931 w 3372468"/>
                <a:gd name="connsiteY635" fmla="*/ 770211 h 4671146"/>
                <a:gd name="connsiteX636" fmla="*/ 1459637 w 3372468"/>
                <a:gd name="connsiteY636" fmla="*/ 735227 h 4671146"/>
                <a:gd name="connsiteX637" fmla="*/ 1501617 w 3372468"/>
                <a:gd name="connsiteY637" fmla="*/ 742225 h 4671146"/>
                <a:gd name="connsiteX638" fmla="*/ 1508615 w 3372468"/>
                <a:gd name="connsiteY638" fmla="*/ 730564 h 4671146"/>
                <a:gd name="connsiteX639" fmla="*/ 1594908 w 3372468"/>
                <a:gd name="connsiteY639" fmla="*/ 746888 h 4671146"/>
                <a:gd name="connsiteX640" fmla="*/ 1702193 w 3372468"/>
                <a:gd name="connsiteY640" fmla="*/ 753886 h 4671146"/>
                <a:gd name="connsiteX641" fmla="*/ 1928423 w 3372468"/>
                <a:gd name="connsiteY641" fmla="*/ 779541 h 4671146"/>
                <a:gd name="connsiteX642" fmla="*/ 2063694 w 3372468"/>
                <a:gd name="connsiteY642" fmla="*/ 1001106 h 4671146"/>
                <a:gd name="connsiteX643" fmla="*/ 2105675 w 3372468"/>
                <a:gd name="connsiteY643" fmla="*/ 1059413 h 4671146"/>
                <a:gd name="connsiteX644" fmla="*/ 1942416 w 3372468"/>
                <a:gd name="connsiteY644" fmla="*/ 1082735 h 4671146"/>
                <a:gd name="connsiteX645" fmla="*/ 1933087 w 3372468"/>
                <a:gd name="connsiteY645" fmla="*/ 1068742 h 4671146"/>
                <a:gd name="connsiteX646" fmla="*/ 1912097 w 3372468"/>
                <a:gd name="connsiteY646" fmla="*/ 1122386 h 4671146"/>
                <a:gd name="connsiteX647" fmla="*/ 1909764 w 3372468"/>
                <a:gd name="connsiteY647" fmla="*/ 1148040 h 4671146"/>
                <a:gd name="connsiteX648" fmla="*/ 1884110 w 3372468"/>
                <a:gd name="connsiteY648" fmla="*/ 1271648 h 4671146"/>
                <a:gd name="connsiteX649" fmla="*/ 1898103 w 3372468"/>
                <a:gd name="connsiteY649" fmla="*/ 1276315 h 4671146"/>
                <a:gd name="connsiteX650" fmla="*/ 1916762 w 3372468"/>
                <a:gd name="connsiteY650" fmla="*/ 1143374 h 4671146"/>
                <a:gd name="connsiteX651" fmla="*/ 2128998 w 3372468"/>
                <a:gd name="connsiteY651" fmla="*/ 1115388 h 4671146"/>
                <a:gd name="connsiteX652" fmla="*/ 2135994 w 3372468"/>
                <a:gd name="connsiteY652" fmla="*/ 1213342 h 4671146"/>
                <a:gd name="connsiteX653" fmla="*/ 2147655 w 3372468"/>
                <a:gd name="connsiteY653" fmla="*/ 1199349 h 4671146"/>
                <a:gd name="connsiteX654" fmla="*/ 2147655 w 3372468"/>
                <a:gd name="connsiteY654" fmla="*/ 1089733 h 4671146"/>
                <a:gd name="connsiteX655" fmla="*/ 2089349 w 3372468"/>
                <a:gd name="connsiteY655" fmla="*/ 1001106 h 4671146"/>
                <a:gd name="connsiteX656" fmla="*/ 2159317 w 3372468"/>
                <a:gd name="connsiteY656" fmla="*/ 1085067 h 4671146"/>
                <a:gd name="connsiteX657" fmla="*/ 2159317 w 3372468"/>
                <a:gd name="connsiteY657" fmla="*/ 1185356 h 4671146"/>
                <a:gd name="connsiteX658" fmla="*/ 2212959 w 3372468"/>
                <a:gd name="connsiteY658" fmla="*/ 1120051 h 4671146"/>
                <a:gd name="connsiteX659" fmla="*/ 2187304 w 3372468"/>
                <a:gd name="connsiteY659" fmla="*/ 844845 h 4671146"/>
                <a:gd name="connsiteX660" fmla="*/ 2296921 w 3372468"/>
                <a:gd name="connsiteY660" fmla="*/ 781872 h 4671146"/>
                <a:gd name="connsiteX661" fmla="*/ 2201297 w 3372468"/>
                <a:gd name="connsiteY661" fmla="*/ 821522 h 4671146"/>
                <a:gd name="connsiteX662" fmla="*/ 2033375 w 3372468"/>
                <a:gd name="connsiteY662" fmla="*/ 777209 h 4671146"/>
                <a:gd name="connsiteX663" fmla="*/ 2285260 w 3372468"/>
                <a:gd name="connsiteY663" fmla="*/ 772545 h 4671146"/>
                <a:gd name="connsiteX664" fmla="*/ 2292256 w 3372468"/>
                <a:gd name="connsiteY664" fmla="*/ 760884 h 4671146"/>
                <a:gd name="connsiteX665" fmla="*/ 2108007 w 3372468"/>
                <a:gd name="connsiteY665" fmla="*/ 765548 h 4671146"/>
                <a:gd name="connsiteX666" fmla="*/ 2149989 w 3372468"/>
                <a:gd name="connsiteY666" fmla="*/ 742225 h 4671146"/>
                <a:gd name="connsiteX667" fmla="*/ 2170978 w 3372468"/>
                <a:gd name="connsiteY667" fmla="*/ 653598 h 4671146"/>
                <a:gd name="connsiteX668" fmla="*/ 2201297 w 3372468"/>
                <a:gd name="connsiteY668" fmla="*/ 550980 h 4671146"/>
                <a:gd name="connsiteX669" fmla="*/ 2149989 w 3372468"/>
                <a:gd name="connsiteY669" fmla="*/ 609287 h 4671146"/>
                <a:gd name="connsiteX670" fmla="*/ 2010053 w 3372468"/>
                <a:gd name="connsiteY670" fmla="*/ 711904 h 4671146"/>
                <a:gd name="connsiteX671" fmla="*/ 1935420 w 3372468"/>
                <a:gd name="connsiteY671" fmla="*/ 707241 h 4671146"/>
                <a:gd name="connsiteX672" fmla="*/ 1986730 w 3372468"/>
                <a:gd name="connsiteY672" fmla="*/ 695580 h 4671146"/>
                <a:gd name="connsiteX673" fmla="*/ 2073023 w 3372468"/>
                <a:gd name="connsiteY673" fmla="*/ 662927 h 4671146"/>
                <a:gd name="connsiteX674" fmla="*/ 2038039 w 3372468"/>
                <a:gd name="connsiteY674" fmla="*/ 623280 h 4671146"/>
                <a:gd name="connsiteX675" fmla="*/ 2096345 w 3372468"/>
                <a:gd name="connsiteY675" fmla="*/ 588296 h 4671146"/>
                <a:gd name="connsiteX676" fmla="*/ 2152320 w 3372468"/>
                <a:gd name="connsiteY676" fmla="*/ 327080 h 4671146"/>
                <a:gd name="connsiteX677" fmla="*/ 1823471 w 3372468"/>
                <a:gd name="connsiteY677" fmla="*/ 378392 h 4671146"/>
                <a:gd name="connsiteX678" fmla="*/ 1566922 w 3372468"/>
                <a:gd name="connsiteY678" fmla="*/ 534653 h 4671146"/>
                <a:gd name="connsiteX679" fmla="*/ 1576250 w 3372468"/>
                <a:gd name="connsiteY679" fmla="*/ 546314 h 4671146"/>
                <a:gd name="connsiteX680" fmla="*/ 1688199 w 3372468"/>
                <a:gd name="connsiteY680" fmla="*/ 543982 h 4671146"/>
                <a:gd name="connsiteX681" fmla="*/ 1734844 w 3372468"/>
                <a:gd name="connsiteY681" fmla="*/ 522991 h 4671146"/>
                <a:gd name="connsiteX682" fmla="*/ 1699860 w 3372468"/>
                <a:gd name="connsiteY682" fmla="*/ 527657 h 4671146"/>
                <a:gd name="connsiteX683" fmla="*/ 1779158 w 3372468"/>
                <a:gd name="connsiteY683" fmla="*/ 490339 h 4671146"/>
                <a:gd name="connsiteX684" fmla="*/ 1797815 w 3372468"/>
                <a:gd name="connsiteY684" fmla="*/ 471682 h 4671146"/>
                <a:gd name="connsiteX685" fmla="*/ 1881778 w 3372468"/>
                <a:gd name="connsiteY685" fmla="*/ 392385 h 4671146"/>
                <a:gd name="connsiteX686" fmla="*/ 2054365 w 3372468"/>
                <a:gd name="connsiteY686" fmla="*/ 322417 h 4671146"/>
                <a:gd name="connsiteX687" fmla="*/ 2108007 w 3372468"/>
                <a:gd name="connsiteY687" fmla="*/ 350403 h 4671146"/>
                <a:gd name="connsiteX688" fmla="*/ 2094014 w 3372468"/>
                <a:gd name="connsiteY688" fmla="*/ 334078 h 4671146"/>
                <a:gd name="connsiteX689" fmla="*/ 1944748 w 3372468"/>
                <a:gd name="connsiteY689" fmla="*/ 378392 h 4671146"/>
                <a:gd name="connsiteX690" fmla="*/ 1951746 w 3372468"/>
                <a:gd name="connsiteY690" fmla="*/ 362064 h 4671146"/>
                <a:gd name="connsiteX691" fmla="*/ 1839796 w 3372468"/>
                <a:gd name="connsiteY691" fmla="*/ 453023 h 4671146"/>
                <a:gd name="connsiteX692" fmla="*/ 1823471 w 3372468"/>
                <a:gd name="connsiteY692" fmla="*/ 474014 h 4671146"/>
                <a:gd name="connsiteX693" fmla="*/ 1746505 w 3372468"/>
                <a:gd name="connsiteY693" fmla="*/ 534653 h 4671146"/>
                <a:gd name="connsiteX694" fmla="*/ 1459637 w 3372468"/>
                <a:gd name="connsiteY694" fmla="*/ 527657 h 4671146"/>
                <a:gd name="connsiteX695" fmla="*/ 1200756 w 3372468"/>
                <a:gd name="connsiteY695" fmla="*/ 506666 h 4671146"/>
                <a:gd name="connsiteX696" fmla="*/ 1016506 w 3372468"/>
                <a:gd name="connsiteY696" fmla="*/ 725900 h 4671146"/>
                <a:gd name="connsiteX697" fmla="*/ 1016506 w 3372468"/>
                <a:gd name="connsiteY697" fmla="*/ 609287 h 4671146"/>
                <a:gd name="connsiteX698" fmla="*/ 1280052 w 3372468"/>
                <a:gd name="connsiteY698" fmla="*/ 455355 h 4671146"/>
                <a:gd name="connsiteX699" fmla="*/ 1231075 w 3372468"/>
                <a:gd name="connsiteY699" fmla="*/ 443694 h 4671146"/>
                <a:gd name="connsiteX700" fmla="*/ 1088807 w 3372468"/>
                <a:gd name="connsiteY700" fmla="*/ 511330 h 4671146"/>
                <a:gd name="connsiteX701" fmla="*/ 1067816 w 3372468"/>
                <a:gd name="connsiteY701" fmla="*/ 520659 h 4671146"/>
                <a:gd name="connsiteX702" fmla="*/ 1028167 w 3372468"/>
                <a:gd name="connsiteY702" fmla="*/ 564973 h 4671146"/>
                <a:gd name="connsiteX703" fmla="*/ 1191426 w 3372468"/>
                <a:gd name="connsiteY703" fmla="*/ 434367 h 4671146"/>
                <a:gd name="connsiteX704" fmla="*/ 1287050 w 3372468"/>
                <a:gd name="connsiteY704" fmla="*/ 439030 h 4671146"/>
                <a:gd name="connsiteX705" fmla="*/ 1315036 w 3372468"/>
                <a:gd name="connsiteY705" fmla="*/ 434367 h 4671146"/>
                <a:gd name="connsiteX706" fmla="*/ 1445644 w 3372468"/>
                <a:gd name="connsiteY706" fmla="*/ 492673 h 4671146"/>
                <a:gd name="connsiteX707" fmla="*/ 1494621 w 3372468"/>
                <a:gd name="connsiteY707" fmla="*/ 474014 h 4671146"/>
                <a:gd name="connsiteX708" fmla="*/ 1583247 w 3372468"/>
                <a:gd name="connsiteY708" fmla="*/ 401714 h 4671146"/>
                <a:gd name="connsiteX709" fmla="*/ 1578583 w 3372468"/>
                <a:gd name="connsiteY709" fmla="*/ 359732 h 4671146"/>
                <a:gd name="connsiteX710" fmla="*/ 1569253 w 3372468"/>
                <a:gd name="connsiteY710" fmla="*/ 359732 h 4671146"/>
                <a:gd name="connsiteX711" fmla="*/ 1608902 w 3372468"/>
                <a:gd name="connsiteY711" fmla="*/ 261778 h 4671146"/>
                <a:gd name="connsiteX712" fmla="*/ 1625228 w 3372468"/>
                <a:gd name="connsiteY712" fmla="*/ 154495 h 4671146"/>
                <a:gd name="connsiteX713" fmla="*/ 1622895 w 3372468"/>
                <a:gd name="connsiteY713" fmla="*/ 142833 h 4671146"/>
                <a:gd name="connsiteX714" fmla="*/ 1592576 w 3372468"/>
                <a:gd name="connsiteY714" fmla="*/ 217465 h 4671146"/>
                <a:gd name="connsiteX715" fmla="*/ 1364014 w 3372468"/>
                <a:gd name="connsiteY715" fmla="*/ 420371 h 4671146"/>
                <a:gd name="connsiteX716" fmla="*/ 1254397 w 3372468"/>
                <a:gd name="connsiteY716" fmla="*/ 397048 h 4671146"/>
                <a:gd name="connsiteX717" fmla="*/ 1049158 w 3372468"/>
                <a:gd name="connsiteY717" fmla="*/ 439030 h 4671146"/>
                <a:gd name="connsiteX718" fmla="*/ 932545 w 3372468"/>
                <a:gd name="connsiteY718" fmla="*/ 518328 h 4671146"/>
                <a:gd name="connsiteX719" fmla="*/ 923215 w 3372468"/>
                <a:gd name="connsiteY719" fmla="*/ 508998 h 4671146"/>
                <a:gd name="connsiteX720" fmla="*/ 1084142 w 3372468"/>
                <a:gd name="connsiteY720" fmla="*/ 413376 h 4671146"/>
                <a:gd name="connsiteX721" fmla="*/ 1053823 w 3372468"/>
                <a:gd name="connsiteY721" fmla="*/ 408710 h 4671146"/>
                <a:gd name="connsiteX722" fmla="*/ 909222 w 3372468"/>
                <a:gd name="connsiteY722" fmla="*/ 504335 h 4671146"/>
                <a:gd name="connsiteX723" fmla="*/ 895228 w 3372468"/>
                <a:gd name="connsiteY723" fmla="*/ 527657 h 4671146"/>
                <a:gd name="connsiteX724" fmla="*/ 906889 w 3372468"/>
                <a:gd name="connsiteY724" fmla="*/ 529989 h 4671146"/>
                <a:gd name="connsiteX725" fmla="*/ 930212 w 3372468"/>
                <a:gd name="connsiteY725" fmla="*/ 739893 h 4671146"/>
                <a:gd name="connsiteX726" fmla="*/ 1051490 w 3372468"/>
                <a:gd name="connsiteY726" fmla="*/ 481012 h 4671146"/>
                <a:gd name="connsiteX727" fmla="*/ 948871 w 3372468"/>
                <a:gd name="connsiteY727" fmla="*/ 744557 h 4671146"/>
                <a:gd name="connsiteX728" fmla="*/ 864909 w 3372468"/>
                <a:gd name="connsiteY728" fmla="*/ 611618 h 4671146"/>
                <a:gd name="connsiteX729" fmla="*/ 897561 w 3372468"/>
                <a:gd name="connsiteY729" fmla="*/ 527657 h 4671146"/>
                <a:gd name="connsiteX730" fmla="*/ 871905 w 3372468"/>
                <a:gd name="connsiteY730" fmla="*/ 550980 h 4671146"/>
                <a:gd name="connsiteX731" fmla="*/ 869573 w 3372468"/>
                <a:gd name="connsiteY731" fmla="*/ 765548 h 4671146"/>
                <a:gd name="connsiteX732" fmla="*/ 645676 w 3372468"/>
                <a:gd name="connsiteY732" fmla="*/ 942799 h 4671146"/>
                <a:gd name="connsiteX733" fmla="*/ 668999 w 3372468"/>
                <a:gd name="connsiteY733" fmla="*/ 952129 h 4671146"/>
                <a:gd name="connsiteX734" fmla="*/ 741299 w 3372468"/>
                <a:gd name="connsiteY734" fmla="*/ 854175 h 4671146"/>
                <a:gd name="connsiteX735" fmla="*/ 715644 w 3372468"/>
                <a:gd name="connsiteY735" fmla="*/ 903152 h 4671146"/>
                <a:gd name="connsiteX736" fmla="*/ 645676 w 3372468"/>
                <a:gd name="connsiteY736" fmla="*/ 994111 h 4671146"/>
                <a:gd name="connsiteX737" fmla="*/ 571043 w 3372468"/>
                <a:gd name="connsiteY737" fmla="*/ 1385930 h 4671146"/>
                <a:gd name="connsiteX738" fmla="*/ 687657 w 3372468"/>
                <a:gd name="connsiteY738" fmla="*/ 1544525 h 4671146"/>
                <a:gd name="connsiteX739" fmla="*/ 794940 w 3372468"/>
                <a:gd name="connsiteY739" fmla="*/ 1684461 h 4671146"/>
                <a:gd name="connsiteX740" fmla="*/ 895228 w 3372468"/>
                <a:gd name="connsiteY740" fmla="*/ 1745100 h 4671146"/>
                <a:gd name="connsiteX741" fmla="*/ 920883 w 3372468"/>
                <a:gd name="connsiteY741" fmla="*/ 1798743 h 4671146"/>
                <a:gd name="connsiteX742" fmla="*/ 1035164 w 3372468"/>
                <a:gd name="connsiteY742" fmla="*/ 1892034 h 4671146"/>
                <a:gd name="connsiteX743" fmla="*/ 1058486 w 3372468"/>
                <a:gd name="connsiteY743" fmla="*/ 1920020 h 4671146"/>
                <a:gd name="connsiteX744" fmla="*/ 1184429 w 3372468"/>
                <a:gd name="connsiteY744" fmla="*/ 2048294 h 4671146"/>
                <a:gd name="connsiteX745" fmla="*/ 1200756 w 3372468"/>
                <a:gd name="connsiteY745" fmla="*/ 2176569 h 4671146"/>
                <a:gd name="connsiteX746" fmla="*/ 815931 w 3372468"/>
                <a:gd name="connsiteY746" fmla="*/ 2596377 h 4671146"/>
                <a:gd name="connsiteX747" fmla="*/ 615356 w 3372468"/>
                <a:gd name="connsiteY747" fmla="*/ 2678007 h 4671146"/>
                <a:gd name="connsiteX748" fmla="*/ 505740 w 3372468"/>
                <a:gd name="connsiteY748" fmla="*/ 2750306 h 4671146"/>
                <a:gd name="connsiteX749" fmla="*/ 260852 w 3372468"/>
                <a:gd name="connsiteY749" fmla="*/ 2876249 h 4671146"/>
                <a:gd name="connsiteX750" fmla="*/ 484749 w 3372468"/>
                <a:gd name="connsiteY750" fmla="*/ 2780627 h 4671146"/>
                <a:gd name="connsiteX751" fmla="*/ 617689 w 3372468"/>
                <a:gd name="connsiteY751" fmla="*/ 2696666 h 4671146"/>
                <a:gd name="connsiteX752" fmla="*/ 752960 w 3372468"/>
                <a:gd name="connsiteY752" fmla="*/ 2659347 h 4671146"/>
                <a:gd name="connsiteX753" fmla="*/ 939541 w 3372468"/>
                <a:gd name="connsiteY753" fmla="*/ 2510084 h 4671146"/>
                <a:gd name="connsiteX754" fmla="*/ 1100468 w 3372468"/>
                <a:gd name="connsiteY754" fmla="*/ 2363151 h 4671146"/>
                <a:gd name="connsiteX755" fmla="*/ 1140116 w 3372468"/>
                <a:gd name="connsiteY755" fmla="*/ 2337496 h 4671146"/>
                <a:gd name="connsiteX756" fmla="*/ 1128454 w 3372468"/>
                <a:gd name="connsiteY756" fmla="*/ 2622032 h 4671146"/>
                <a:gd name="connsiteX757" fmla="*/ 1189094 w 3372468"/>
                <a:gd name="connsiteY757" fmla="*/ 3589922 h 4671146"/>
                <a:gd name="connsiteX758" fmla="*/ 1433982 w 3372468"/>
                <a:gd name="connsiteY758" fmla="*/ 4291934 h 4671146"/>
                <a:gd name="connsiteX759" fmla="*/ 1492289 w 3372468"/>
                <a:gd name="connsiteY759" fmla="*/ 4415546 h 4671146"/>
                <a:gd name="connsiteX760" fmla="*/ 1524940 w 3372468"/>
                <a:gd name="connsiteY760" fmla="*/ 4408548 h 4671146"/>
                <a:gd name="connsiteX761" fmla="*/ 1576250 w 3372468"/>
                <a:gd name="connsiteY761" fmla="*/ 4322255 h 4671146"/>
                <a:gd name="connsiteX762" fmla="*/ 1821138 w 3372468"/>
                <a:gd name="connsiteY762" fmla="*/ 3837142 h 4671146"/>
                <a:gd name="connsiteX763" fmla="*/ 1944748 w 3372468"/>
                <a:gd name="connsiteY763" fmla="*/ 3501298 h 4671146"/>
                <a:gd name="connsiteX764" fmla="*/ 1963407 w 3372468"/>
                <a:gd name="connsiteY764" fmla="*/ 3545609 h 4671146"/>
                <a:gd name="connsiteX765" fmla="*/ 2126666 w 3372468"/>
                <a:gd name="connsiteY765" fmla="*/ 3911776 h 4671146"/>
                <a:gd name="connsiteX766" fmla="*/ 2238614 w 3372468"/>
                <a:gd name="connsiteY766" fmla="*/ 4145003 h 4671146"/>
                <a:gd name="connsiteX767" fmla="*/ 2334237 w 3372468"/>
                <a:gd name="connsiteY767" fmla="*/ 4408548 h 4671146"/>
                <a:gd name="connsiteX768" fmla="*/ 2394877 w 3372468"/>
                <a:gd name="connsiteY768" fmla="*/ 4529827 h 4671146"/>
                <a:gd name="connsiteX769" fmla="*/ 2443854 w 3372468"/>
                <a:gd name="connsiteY769" fmla="*/ 4564811 h 4671146"/>
                <a:gd name="connsiteX770" fmla="*/ 2464845 w 3372468"/>
                <a:gd name="connsiteY770" fmla="*/ 4576473 h 4671146"/>
                <a:gd name="connsiteX771" fmla="*/ 2478838 w 3372468"/>
                <a:gd name="connsiteY771" fmla="*/ 4564811 h 4671146"/>
                <a:gd name="connsiteX772" fmla="*/ 2483502 w 3372468"/>
                <a:gd name="connsiteY772" fmla="*/ 4536822 h 4671146"/>
                <a:gd name="connsiteX773" fmla="*/ 2471841 w 3372468"/>
                <a:gd name="connsiteY773" fmla="*/ 4354907 h 4671146"/>
                <a:gd name="connsiteX774" fmla="*/ 2401873 w 3372468"/>
                <a:gd name="connsiteY774" fmla="*/ 4259285 h 4671146"/>
                <a:gd name="connsiteX775" fmla="*/ 2177975 w 3372468"/>
                <a:gd name="connsiteY775" fmla="*/ 3244749 h 4671146"/>
                <a:gd name="connsiteX776" fmla="*/ 2198966 w 3372468"/>
                <a:gd name="connsiteY776" fmla="*/ 3307719 h 4671146"/>
                <a:gd name="connsiteX777" fmla="*/ 2147655 w 3372468"/>
                <a:gd name="connsiteY777" fmla="*/ 3209765 h 4671146"/>
                <a:gd name="connsiteX778" fmla="*/ 2180308 w 3372468"/>
                <a:gd name="connsiteY778" fmla="*/ 3244749 h 4671146"/>
                <a:gd name="connsiteX779" fmla="*/ 1830468 w 3372468"/>
                <a:gd name="connsiteY779" fmla="*/ 2962542 h 4671146"/>
                <a:gd name="connsiteX780" fmla="*/ 1828135 w 3372468"/>
                <a:gd name="connsiteY780" fmla="*/ 2967208 h 4671146"/>
                <a:gd name="connsiteX781" fmla="*/ 1830468 w 3372468"/>
                <a:gd name="connsiteY781" fmla="*/ 2962542 h 4671146"/>
                <a:gd name="connsiteX782" fmla="*/ 2152320 w 3372468"/>
                <a:gd name="connsiteY782" fmla="*/ 844845 h 4671146"/>
                <a:gd name="connsiteX783" fmla="*/ 2154652 w 3372468"/>
                <a:gd name="connsiteY783" fmla="*/ 884493 h 4671146"/>
                <a:gd name="connsiteX784" fmla="*/ 2101010 w 3372468"/>
                <a:gd name="connsiteY784" fmla="*/ 837847 h 4671146"/>
                <a:gd name="connsiteX785" fmla="*/ 2152320 w 3372468"/>
                <a:gd name="connsiteY785" fmla="*/ 842513 h 4671146"/>
                <a:gd name="connsiteX786" fmla="*/ 2145324 w 3372468"/>
                <a:gd name="connsiteY786" fmla="*/ 683918 h 4671146"/>
                <a:gd name="connsiteX787" fmla="*/ 2105675 w 3372468"/>
                <a:gd name="connsiteY787" fmla="*/ 723566 h 4671146"/>
                <a:gd name="connsiteX788" fmla="*/ 2145324 w 3372468"/>
                <a:gd name="connsiteY788" fmla="*/ 683918 h 4671146"/>
                <a:gd name="connsiteX789" fmla="*/ 1681202 w 3372468"/>
                <a:gd name="connsiteY789" fmla="*/ 695580 h 4671146"/>
                <a:gd name="connsiteX790" fmla="*/ 1842129 w 3372468"/>
                <a:gd name="connsiteY790" fmla="*/ 620948 h 4671146"/>
                <a:gd name="connsiteX791" fmla="*/ 1681202 w 3372468"/>
                <a:gd name="connsiteY791" fmla="*/ 695580 h 4671146"/>
                <a:gd name="connsiteX792" fmla="*/ 1893439 w 3372468"/>
                <a:gd name="connsiteY792" fmla="*/ 511330 h 4671146"/>
                <a:gd name="connsiteX793" fmla="*/ 1697528 w 3372468"/>
                <a:gd name="connsiteY793" fmla="*/ 665259 h 4671146"/>
                <a:gd name="connsiteX794" fmla="*/ 1697528 w 3372468"/>
                <a:gd name="connsiteY794" fmla="*/ 653598 h 4671146"/>
                <a:gd name="connsiteX795" fmla="*/ 1634557 w 3372468"/>
                <a:gd name="connsiteY795" fmla="*/ 674589 h 4671146"/>
                <a:gd name="connsiteX796" fmla="*/ 1618231 w 3372468"/>
                <a:gd name="connsiteY796" fmla="*/ 672257 h 4671146"/>
                <a:gd name="connsiteX797" fmla="*/ 1893439 w 3372468"/>
                <a:gd name="connsiteY797" fmla="*/ 511330 h 4671146"/>
                <a:gd name="connsiteX798" fmla="*/ 620020 w 3372468"/>
                <a:gd name="connsiteY798" fmla="*/ 1378935 h 4671146"/>
                <a:gd name="connsiteX799" fmla="*/ 606027 w 3372468"/>
                <a:gd name="connsiteY799" fmla="*/ 1285644 h 4671146"/>
                <a:gd name="connsiteX800" fmla="*/ 629350 w 3372468"/>
                <a:gd name="connsiteY800" fmla="*/ 1395260 h 4671146"/>
                <a:gd name="connsiteX801" fmla="*/ 620020 w 3372468"/>
                <a:gd name="connsiteY801" fmla="*/ 1378935 h 4671146"/>
                <a:gd name="connsiteX802" fmla="*/ 1193759 w 3372468"/>
                <a:gd name="connsiteY802" fmla="*/ 1047751 h 4671146"/>
                <a:gd name="connsiteX803" fmla="*/ 1182098 w 3372468"/>
                <a:gd name="connsiteY803" fmla="*/ 1073406 h 4671146"/>
                <a:gd name="connsiteX804" fmla="*/ 1198422 w 3372468"/>
                <a:gd name="connsiteY804" fmla="*/ 1061744 h 4671146"/>
                <a:gd name="connsiteX805" fmla="*/ 1214749 w 3372468"/>
                <a:gd name="connsiteY805" fmla="*/ 1120051 h 4671146"/>
                <a:gd name="connsiteX806" fmla="*/ 1186761 w 3372468"/>
                <a:gd name="connsiteY806" fmla="*/ 1082735 h 4671146"/>
                <a:gd name="connsiteX807" fmla="*/ 1221745 w 3372468"/>
                <a:gd name="connsiteY807" fmla="*/ 1171363 h 4671146"/>
                <a:gd name="connsiteX808" fmla="*/ 1196091 w 3372468"/>
                <a:gd name="connsiteY808" fmla="*/ 1131712 h 4671146"/>
                <a:gd name="connsiteX809" fmla="*/ 1154110 w 3372468"/>
                <a:gd name="connsiteY809" fmla="*/ 1019765 h 4671146"/>
                <a:gd name="connsiteX810" fmla="*/ 1165772 w 3372468"/>
                <a:gd name="connsiteY810" fmla="*/ 1012767 h 4671146"/>
                <a:gd name="connsiteX811" fmla="*/ 1172768 w 3372468"/>
                <a:gd name="connsiteY811" fmla="*/ 1038422 h 4671146"/>
                <a:gd name="connsiteX812" fmla="*/ 1196091 w 3372468"/>
                <a:gd name="connsiteY812" fmla="*/ 1047751 h 4671146"/>
                <a:gd name="connsiteX813" fmla="*/ 1256729 w 3372468"/>
                <a:gd name="connsiteY813" fmla="*/ 511330 h 4671146"/>
                <a:gd name="connsiteX814" fmla="*/ 1158775 w 3372468"/>
                <a:gd name="connsiteY814" fmla="*/ 571968 h 4671146"/>
                <a:gd name="connsiteX815" fmla="*/ 1079477 w 3372468"/>
                <a:gd name="connsiteY815" fmla="*/ 648934 h 4671146"/>
                <a:gd name="connsiteX816" fmla="*/ 1060820 w 3372468"/>
                <a:gd name="connsiteY816" fmla="*/ 660595 h 4671146"/>
                <a:gd name="connsiteX817" fmla="*/ 1256729 w 3372468"/>
                <a:gd name="connsiteY817" fmla="*/ 511330 h 4671146"/>
                <a:gd name="connsiteX818" fmla="*/ 1009509 w 3372468"/>
                <a:gd name="connsiteY818" fmla="*/ 844845 h 4671146"/>
                <a:gd name="connsiteX819" fmla="*/ 979190 w 3372468"/>
                <a:gd name="connsiteY819" fmla="*/ 856506 h 4671146"/>
                <a:gd name="connsiteX820" fmla="*/ 785612 w 3372468"/>
                <a:gd name="connsiteY820" fmla="*/ 1008104 h 4671146"/>
                <a:gd name="connsiteX821" fmla="*/ 736634 w 3372468"/>
                <a:gd name="connsiteY821" fmla="*/ 1073406 h 4671146"/>
                <a:gd name="connsiteX822" fmla="*/ 724972 w 3372468"/>
                <a:gd name="connsiteY822" fmla="*/ 1057081 h 4671146"/>
                <a:gd name="connsiteX823" fmla="*/ 934877 w 3372468"/>
                <a:gd name="connsiteY823" fmla="*/ 863502 h 4671146"/>
                <a:gd name="connsiteX824" fmla="*/ 1011841 w 3372468"/>
                <a:gd name="connsiteY824" fmla="*/ 844845 h 4671146"/>
                <a:gd name="connsiteX825" fmla="*/ 876570 w 3372468"/>
                <a:gd name="connsiteY825" fmla="*/ 781872 h 4671146"/>
                <a:gd name="connsiteX826" fmla="*/ 829925 w 3372468"/>
                <a:gd name="connsiteY826" fmla="*/ 807529 h 4671146"/>
                <a:gd name="connsiteX827" fmla="*/ 748295 w 3372468"/>
                <a:gd name="connsiteY827" fmla="*/ 849509 h 4671146"/>
                <a:gd name="connsiteX828" fmla="*/ 874238 w 3372468"/>
                <a:gd name="connsiteY828" fmla="*/ 779541 h 4671146"/>
                <a:gd name="connsiteX829" fmla="*/ 771618 w 3372468"/>
                <a:gd name="connsiteY829" fmla="*/ 947465 h 4671146"/>
                <a:gd name="connsiteX830" fmla="*/ 941873 w 3372468"/>
                <a:gd name="connsiteY830" fmla="*/ 837847 h 4671146"/>
                <a:gd name="connsiteX831" fmla="*/ 855580 w 3372468"/>
                <a:gd name="connsiteY831" fmla="*/ 893822 h 4671146"/>
                <a:gd name="connsiteX832" fmla="*/ 759956 w 3372468"/>
                <a:gd name="connsiteY832" fmla="*/ 982449 h 4671146"/>
                <a:gd name="connsiteX833" fmla="*/ 738967 w 3372468"/>
                <a:gd name="connsiteY833" fmla="*/ 994111 h 4671146"/>
                <a:gd name="connsiteX834" fmla="*/ 771618 w 3372468"/>
                <a:gd name="connsiteY834" fmla="*/ 947465 h 4671146"/>
                <a:gd name="connsiteX835" fmla="*/ 736634 w 3372468"/>
                <a:gd name="connsiteY835" fmla="*/ 998774 h 4671146"/>
                <a:gd name="connsiteX836" fmla="*/ 722641 w 3372468"/>
                <a:gd name="connsiteY836" fmla="*/ 1026760 h 4671146"/>
                <a:gd name="connsiteX837" fmla="*/ 736634 w 3372468"/>
                <a:gd name="connsiteY837" fmla="*/ 998774 h 4671146"/>
                <a:gd name="connsiteX838" fmla="*/ 648008 w 3372468"/>
                <a:gd name="connsiteY838" fmla="*/ 1448903 h 4671146"/>
                <a:gd name="connsiteX839" fmla="*/ 659669 w 3372468"/>
                <a:gd name="connsiteY839" fmla="*/ 1441905 h 4671146"/>
                <a:gd name="connsiteX840" fmla="*/ 694653 w 3372468"/>
                <a:gd name="connsiteY840" fmla="*/ 1532864 h 4671146"/>
                <a:gd name="connsiteX841" fmla="*/ 650340 w 3372468"/>
                <a:gd name="connsiteY841" fmla="*/ 1448903 h 4671146"/>
                <a:gd name="connsiteX842" fmla="*/ 703983 w 3372468"/>
                <a:gd name="connsiteY842" fmla="*/ 1490882 h 4671146"/>
                <a:gd name="connsiteX843" fmla="*/ 692322 w 3372468"/>
                <a:gd name="connsiteY843" fmla="*/ 1474557 h 4671146"/>
                <a:gd name="connsiteX844" fmla="*/ 876570 w 3372468"/>
                <a:gd name="connsiteY844" fmla="*/ 973120 h 4671146"/>
                <a:gd name="connsiteX845" fmla="*/ 916219 w 3372468"/>
                <a:gd name="connsiteY845" fmla="*/ 949797 h 4671146"/>
                <a:gd name="connsiteX846" fmla="*/ 731969 w 3372468"/>
                <a:gd name="connsiteY846" fmla="*/ 1243662 h 4671146"/>
                <a:gd name="connsiteX847" fmla="*/ 703983 w 3372468"/>
                <a:gd name="connsiteY847" fmla="*/ 1364939 h 4671146"/>
                <a:gd name="connsiteX848" fmla="*/ 703983 w 3372468"/>
                <a:gd name="connsiteY848" fmla="*/ 1490882 h 4671146"/>
                <a:gd name="connsiteX849" fmla="*/ 811267 w 3372468"/>
                <a:gd name="connsiteY849" fmla="*/ 1544525 h 4671146"/>
                <a:gd name="connsiteX850" fmla="*/ 801937 w 3372468"/>
                <a:gd name="connsiteY850" fmla="*/ 1437242 h 4671146"/>
                <a:gd name="connsiteX851" fmla="*/ 813598 w 3372468"/>
                <a:gd name="connsiteY851" fmla="*/ 1423246 h 4671146"/>
                <a:gd name="connsiteX852" fmla="*/ 813598 w 3372468"/>
                <a:gd name="connsiteY852" fmla="*/ 1523534 h 4671146"/>
                <a:gd name="connsiteX853" fmla="*/ 808935 w 3372468"/>
                <a:gd name="connsiteY853" fmla="*/ 1544525 h 4671146"/>
                <a:gd name="connsiteX854" fmla="*/ 792609 w 3372468"/>
                <a:gd name="connsiteY854" fmla="*/ 1343951 h 4671146"/>
                <a:gd name="connsiteX855" fmla="*/ 766953 w 3372468"/>
                <a:gd name="connsiteY855" fmla="*/ 1549189 h 4671146"/>
                <a:gd name="connsiteX856" fmla="*/ 776283 w 3372468"/>
                <a:gd name="connsiteY856" fmla="*/ 1598166 h 4671146"/>
                <a:gd name="connsiteX857" fmla="*/ 731969 w 3372468"/>
                <a:gd name="connsiteY857" fmla="*/ 1514205 h 4671146"/>
                <a:gd name="connsiteX858" fmla="*/ 755292 w 3372468"/>
                <a:gd name="connsiteY858" fmla="*/ 1262322 h 4671146"/>
                <a:gd name="connsiteX859" fmla="*/ 1046825 w 3372468"/>
                <a:gd name="connsiteY859" fmla="*/ 966122 h 4671146"/>
                <a:gd name="connsiteX860" fmla="*/ 913887 w 3372468"/>
                <a:gd name="connsiteY860" fmla="*/ 1066411 h 4671146"/>
                <a:gd name="connsiteX861" fmla="*/ 799605 w 3372468"/>
                <a:gd name="connsiteY861" fmla="*/ 1199349 h 4671146"/>
                <a:gd name="connsiteX862" fmla="*/ 820596 w 3372468"/>
                <a:gd name="connsiteY862" fmla="*/ 1229669 h 4671146"/>
                <a:gd name="connsiteX863" fmla="*/ 787944 w 3372468"/>
                <a:gd name="connsiteY863" fmla="*/ 1341616 h 4671146"/>
                <a:gd name="connsiteX864" fmla="*/ 1790819 w 3372468"/>
                <a:gd name="connsiteY864" fmla="*/ 2929893 h 4671146"/>
                <a:gd name="connsiteX865" fmla="*/ 1802480 w 3372468"/>
                <a:gd name="connsiteY865" fmla="*/ 2953215 h 4671146"/>
                <a:gd name="connsiteX866" fmla="*/ 1779158 w 3372468"/>
                <a:gd name="connsiteY866" fmla="*/ 2932224 h 4671146"/>
                <a:gd name="connsiteX867" fmla="*/ 1790819 w 3372468"/>
                <a:gd name="connsiteY867" fmla="*/ 2929893 h 4671146"/>
                <a:gd name="connsiteX868" fmla="*/ 1692863 w 3372468"/>
                <a:gd name="connsiteY868" fmla="*/ 2883247 h 4671146"/>
                <a:gd name="connsiteX869" fmla="*/ 1506282 w 3372468"/>
                <a:gd name="connsiteY869" fmla="*/ 2981201 h 4671146"/>
                <a:gd name="connsiteX870" fmla="*/ 1478294 w 3372468"/>
                <a:gd name="connsiteY870" fmla="*/ 2941554 h 4671146"/>
                <a:gd name="connsiteX871" fmla="*/ 1464301 w 3372468"/>
                <a:gd name="connsiteY871" fmla="*/ 2932224 h 4671146"/>
                <a:gd name="connsiteX872" fmla="*/ 1566922 w 3372468"/>
                <a:gd name="connsiteY872" fmla="*/ 2815611 h 4671146"/>
                <a:gd name="connsiteX873" fmla="*/ 1695196 w 3372468"/>
                <a:gd name="connsiteY873" fmla="*/ 2885579 h 4671146"/>
                <a:gd name="connsiteX874" fmla="*/ 1557592 w 3372468"/>
                <a:gd name="connsiteY874" fmla="*/ 3240082 h 4671146"/>
                <a:gd name="connsiteX875" fmla="*/ 1543599 w 3372468"/>
                <a:gd name="connsiteY875" fmla="*/ 3221426 h 4671146"/>
                <a:gd name="connsiteX876" fmla="*/ 1531938 w 3372468"/>
                <a:gd name="connsiteY876" fmla="*/ 3237751 h 4671146"/>
                <a:gd name="connsiteX877" fmla="*/ 1405995 w 3372468"/>
                <a:gd name="connsiteY877" fmla="*/ 3053501 h 4671146"/>
                <a:gd name="connsiteX878" fmla="*/ 1592576 w 3372468"/>
                <a:gd name="connsiteY878" fmla="*/ 2997526 h 4671146"/>
                <a:gd name="connsiteX879" fmla="*/ 1646218 w 3372468"/>
                <a:gd name="connsiteY879" fmla="*/ 2967208 h 4671146"/>
                <a:gd name="connsiteX880" fmla="*/ 1613567 w 3372468"/>
                <a:gd name="connsiteY880" fmla="*/ 3039508 h 4671146"/>
                <a:gd name="connsiteX881" fmla="*/ 1578583 w 3372468"/>
                <a:gd name="connsiteY881" fmla="*/ 3177112 h 4671146"/>
                <a:gd name="connsiteX882" fmla="*/ 1559924 w 3372468"/>
                <a:gd name="connsiteY882" fmla="*/ 3237751 h 4671146"/>
                <a:gd name="connsiteX883" fmla="*/ 1207752 w 3372468"/>
                <a:gd name="connsiteY883" fmla="*/ 2290851 h 4671146"/>
                <a:gd name="connsiteX884" fmla="*/ 1287050 w 3372468"/>
                <a:gd name="connsiteY884" fmla="*/ 2528741 h 4671146"/>
                <a:gd name="connsiteX885" fmla="*/ 1531938 w 3372468"/>
                <a:gd name="connsiteY885" fmla="*/ 2789957 h 4671146"/>
                <a:gd name="connsiteX886" fmla="*/ 1550596 w 3372468"/>
                <a:gd name="connsiteY886" fmla="*/ 2796952 h 4671146"/>
                <a:gd name="connsiteX887" fmla="*/ 1545931 w 3372468"/>
                <a:gd name="connsiteY887" fmla="*/ 2810945 h 4671146"/>
                <a:gd name="connsiteX888" fmla="*/ 1473631 w 3372468"/>
                <a:gd name="connsiteY888" fmla="*/ 2883247 h 4671146"/>
                <a:gd name="connsiteX889" fmla="*/ 1270724 w 3372468"/>
                <a:gd name="connsiteY889" fmla="*/ 3116474 h 4671146"/>
                <a:gd name="connsiteX890" fmla="*/ 1254397 w 3372468"/>
                <a:gd name="connsiteY890" fmla="*/ 3125801 h 4671146"/>
                <a:gd name="connsiteX891" fmla="*/ 1226410 w 3372468"/>
                <a:gd name="connsiteY891" fmla="*/ 2997526 h 4671146"/>
                <a:gd name="connsiteX892" fmla="*/ 1242736 w 3372468"/>
                <a:gd name="connsiteY892" fmla="*/ 2675675 h 4671146"/>
                <a:gd name="connsiteX893" fmla="*/ 1196091 w 3372468"/>
                <a:gd name="connsiteY893" fmla="*/ 2330498 h 4671146"/>
                <a:gd name="connsiteX894" fmla="*/ 1210084 w 3372468"/>
                <a:gd name="connsiteY894" fmla="*/ 2293183 h 4671146"/>
                <a:gd name="connsiteX895" fmla="*/ 1319701 w 3372468"/>
                <a:gd name="connsiteY895" fmla="*/ 3811488 h 4671146"/>
                <a:gd name="connsiteX896" fmla="*/ 1301043 w 3372468"/>
                <a:gd name="connsiteY896" fmla="*/ 3825481 h 4671146"/>
                <a:gd name="connsiteX897" fmla="*/ 1184429 w 3372468"/>
                <a:gd name="connsiteY897" fmla="*/ 3484970 h 4671146"/>
                <a:gd name="connsiteX898" fmla="*/ 1151777 w 3372468"/>
                <a:gd name="connsiteY898" fmla="*/ 3352032 h 4671146"/>
                <a:gd name="connsiteX899" fmla="*/ 1163438 w 3372468"/>
                <a:gd name="connsiteY899" fmla="*/ 3342703 h 4671146"/>
                <a:gd name="connsiteX900" fmla="*/ 1179765 w 3372468"/>
                <a:gd name="connsiteY900" fmla="*/ 3410339 h 4671146"/>
                <a:gd name="connsiteX901" fmla="*/ 1186761 w 3372468"/>
                <a:gd name="connsiteY901" fmla="*/ 3410339 h 4671146"/>
                <a:gd name="connsiteX902" fmla="*/ 1147114 w 3372468"/>
                <a:gd name="connsiteY902" fmla="*/ 3242414 h 4671146"/>
                <a:gd name="connsiteX903" fmla="*/ 1140116 w 3372468"/>
                <a:gd name="connsiteY903" fmla="*/ 2768966 h 4671146"/>
                <a:gd name="connsiteX904" fmla="*/ 1200756 w 3372468"/>
                <a:gd name="connsiteY904" fmla="*/ 3027847 h 4671146"/>
                <a:gd name="connsiteX905" fmla="*/ 1249733 w 3372468"/>
                <a:gd name="connsiteY905" fmla="*/ 3156121 h 4671146"/>
                <a:gd name="connsiteX906" fmla="*/ 1296378 w 3372468"/>
                <a:gd name="connsiteY906" fmla="*/ 3116474 h 4671146"/>
                <a:gd name="connsiteX907" fmla="*/ 1366346 w 3372468"/>
                <a:gd name="connsiteY907" fmla="*/ 3051169 h 4671146"/>
                <a:gd name="connsiteX908" fmla="*/ 1510947 w 3372468"/>
                <a:gd name="connsiteY908" fmla="*/ 3265737 h 4671146"/>
                <a:gd name="connsiteX909" fmla="*/ 1485292 w 3372468"/>
                <a:gd name="connsiteY909" fmla="*/ 3310050 h 4671146"/>
                <a:gd name="connsiteX910" fmla="*/ 1371011 w 3372468"/>
                <a:gd name="connsiteY910" fmla="*/ 3631904 h 4671146"/>
                <a:gd name="connsiteX911" fmla="*/ 1322034 w 3372468"/>
                <a:gd name="connsiteY911" fmla="*/ 3811488 h 4671146"/>
                <a:gd name="connsiteX912" fmla="*/ 1508615 w 3372468"/>
                <a:gd name="connsiteY912" fmla="*/ 3303055 h 4671146"/>
                <a:gd name="connsiteX913" fmla="*/ 1480628 w 3372468"/>
                <a:gd name="connsiteY913" fmla="*/ 3382350 h 4671146"/>
                <a:gd name="connsiteX914" fmla="*/ 1433982 w 3372468"/>
                <a:gd name="connsiteY914" fmla="*/ 3484970 h 4671146"/>
                <a:gd name="connsiteX915" fmla="*/ 1473631 w 3372468"/>
                <a:gd name="connsiteY915" fmla="*/ 3375355 h 4671146"/>
                <a:gd name="connsiteX916" fmla="*/ 1508615 w 3372468"/>
                <a:gd name="connsiteY916" fmla="*/ 3300721 h 4671146"/>
                <a:gd name="connsiteX917" fmla="*/ 1457305 w 3372468"/>
                <a:gd name="connsiteY917" fmla="*/ 4151998 h 4671146"/>
                <a:gd name="connsiteX918" fmla="*/ 1445644 w 3372468"/>
                <a:gd name="connsiteY918" fmla="*/ 4119349 h 4671146"/>
                <a:gd name="connsiteX919" fmla="*/ 1459637 w 3372468"/>
                <a:gd name="connsiteY919" fmla="*/ 3806824 h 4671146"/>
                <a:gd name="connsiteX920" fmla="*/ 1508615 w 3372468"/>
                <a:gd name="connsiteY920" fmla="*/ 3736856 h 4671146"/>
                <a:gd name="connsiteX921" fmla="*/ 1457305 w 3372468"/>
                <a:gd name="connsiteY921" fmla="*/ 4149667 h 4671146"/>
                <a:gd name="connsiteX922" fmla="*/ 1513278 w 3372468"/>
                <a:gd name="connsiteY922" fmla="*/ 3900115 h 4671146"/>
                <a:gd name="connsiteX923" fmla="*/ 1501617 w 3372468"/>
                <a:gd name="connsiteY923" fmla="*/ 3890785 h 4671146"/>
                <a:gd name="connsiteX924" fmla="*/ 1538934 w 3372468"/>
                <a:gd name="connsiteY924" fmla="*/ 3687879 h 4671146"/>
                <a:gd name="connsiteX925" fmla="*/ 1576250 w 3372468"/>
                <a:gd name="connsiteY925" fmla="*/ 3589922 h 4671146"/>
                <a:gd name="connsiteX926" fmla="*/ 1513278 w 3372468"/>
                <a:gd name="connsiteY926" fmla="*/ 3900115 h 4671146"/>
                <a:gd name="connsiteX927" fmla="*/ 1608902 w 3372468"/>
                <a:gd name="connsiteY927" fmla="*/ 3405673 h 4671146"/>
                <a:gd name="connsiteX928" fmla="*/ 1590244 w 3372468"/>
                <a:gd name="connsiteY928" fmla="*/ 3442991 h 4671146"/>
                <a:gd name="connsiteX929" fmla="*/ 1510947 w 3372468"/>
                <a:gd name="connsiteY929" fmla="*/ 3645897 h 4671146"/>
                <a:gd name="connsiteX930" fmla="*/ 1489956 w 3372468"/>
                <a:gd name="connsiteY930" fmla="*/ 3631904 h 4671146"/>
                <a:gd name="connsiteX931" fmla="*/ 1454972 w 3372468"/>
                <a:gd name="connsiteY931" fmla="*/ 3713534 h 4671146"/>
                <a:gd name="connsiteX932" fmla="*/ 1443310 w 3372468"/>
                <a:gd name="connsiteY932" fmla="*/ 3727527 h 4671146"/>
                <a:gd name="connsiteX933" fmla="*/ 1450308 w 3372468"/>
                <a:gd name="connsiteY933" fmla="*/ 3662222 h 4671146"/>
                <a:gd name="connsiteX934" fmla="*/ 1475963 w 3372468"/>
                <a:gd name="connsiteY934" fmla="*/ 3554938 h 4671146"/>
                <a:gd name="connsiteX935" fmla="*/ 1450308 w 3372468"/>
                <a:gd name="connsiteY935" fmla="*/ 3543277 h 4671146"/>
                <a:gd name="connsiteX936" fmla="*/ 1405995 w 3372468"/>
                <a:gd name="connsiteY936" fmla="*/ 3669220 h 4671146"/>
                <a:gd name="connsiteX937" fmla="*/ 1396665 w 3372468"/>
                <a:gd name="connsiteY937" fmla="*/ 3659890 h 4671146"/>
                <a:gd name="connsiteX938" fmla="*/ 1503950 w 3372468"/>
                <a:gd name="connsiteY938" fmla="*/ 3359027 h 4671146"/>
                <a:gd name="connsiteX939" fmla="*/ 1541266 w 3372468"/>
                <a:gd name="connsiteY939" fmla="*/ 3286728 h 4671146"/>
                <a:gd name="connsiteX940" fmla="*/ 1627560 w 3372468"/>
                <a:gd name="connsiteY940" fmla="*/ 3265737 h 4671146"/>
                <a:gd name="connsiteX941" fmla="*/ 1608902 w 3372468"/>
                <a:gd name="connsiteY941" fmla="*/ 3403341 h 4671146"/>
                <a:gd name="connsiteX942" fmla="*/ 1611234 w 3372468"/>
                <a:gd name="connsiteY942" fmla="*/ 3223758 h 4671146"/>
                <a:gd name="connsiteX943" fmla="*/ 1599573 w 3372468"/>
                <a:gd name="connsiteY943" fmla="*/ 3233087 h 4671146"/>
                <a:gd name="connsiteX944" fmla="*/ 1702193 w 3372468"/>
                <a:gd name="connsiteY944" fmla="*/ 2943886 h 4671146"/>
                <a:gd name="connsiteX945" fmla="*/ 1730180 w 3372468"/>
                <a:gd name="connsiteY945" fmla="*/ 2913565 h 4671146"/>
                <a:gd name="connsiteX946" fmla="*/ 1646218 w 3372468"/>
                <a:gd name="connsiteY946" fmla="*/ 3086153 h 4671146"/>
                <a:gd name="connsiteX947" fmla="*/ 1608902 w 3372468"/>
                <a:gd name="connsiteY947" fmla="*/ 3226089 h 4671146"/>
                <a:gd name="connsiteX948" fmla="*/ 2038039 w 3372468"/>
                <a:gd name="connsiteY948" fmla="*/ 3083822 h 4671146"/>
                <a:gd name="connsiteX949" fmla="*/ 2056698 w 3372468"/>
                <a:gd name="connsiteY949" fmla="*/ 3118806 h 4671146"/>
                <a:gd name="connsiteX950" fmla="*/ 2098678 w 3372468"/>
                <a:gd name="connsiteY950" fmla="*/ 3263405 h 4671146"/>
                <a:gd name="connsiteX951" fmla="*/ 2087017 w 3372468"/>
                <a:gd name="connsiteY951" fmla="*/ 3282064 h 4671146"/>
                <a:gd name="connsiteX952" fmla="*/ 2012384 w 3372468"/>
                <a:gd name="connsiteY952" fmla="*/ 3352032 h 4671146"/>
                <a:gd name="connsiteX953" fmla="*/ 1970404 w 3372468"/>
                <a:gd name="connsiteY953" fmla="*/ 3410339 h 4671146"/>
                <a:gd name="connsiteX954" fmla="*/ 2040372 w 3372468"/>
                <a:gd name="connsiteY954" fmla="*/ 3083822 h 4671146"/>
                <a:gd name="connsiteX955" fmla="*/ 2814685 w 3372468"/>
                <a:gd name="connsiteY955" fmla="*/ 739893 h 4671146"/>
                <a:gd name="connsiteX956" fmla="*/ 2777368 w 3372468"/>
                <a:gd name="connsiteY956" fmla="*/ 861170 h 4671146"/>
                <a:gd name="connsiteX957" fmla="*/ 2789029 w 3372468"/>
                <a:gd name="connsiteY957" fmla="*/ 896154 h 4671146"/>
                <a:gd name="connsiteX958" fmla="*/ 2817016 w 3372468"/>
                <a:gd name="connsiteY958" fmla="*/ 1033758 h 4671146"/>
                <a:gd name="connsiteX959" fmla="*/ 2805355 w 3372468"/>
                <a:gd name="connsiteY959" fmla="*/ 1092065 h 4671146"/>
                <a:gd name="connsiteX960" fmla="*/ 2770371 w 3372468"/>
                <a:gd name="connsiteY960" fmla="*/ 954461 h 4671146"/>
                <a:gd name="connsiteX961" fmla="*/ 2765706 w 3372468"/>
                <a:gd name="connsiteY961" fmla="*/ 921808 h 4671146"/>
                <a:gd name="connsiteX962" fmla="*/ 2754045 w 3372468"/>
                <a:gd name="connsiteY962" fmla="*/ 907815 h 4671146"/>
                <a:gd name="connsiteX963" fmla="*/ 2742384 w 3372468"/>
                <a:gd name="connsiteY963" fmla="*/ 1059413 h 4671146"/>
                <a:gd name="connsiteX964" fmla="*/ 2719061 w 3372468"/>
                <a:gd name="connsiteY964" fmla="*/ 1080404 h 4671146"/>
                <a:gd name="connsiteX965" fmla="*/ 2719061 w 3372468"/>
                <a:gd name="connsiteY965" fmla="*/ 996443 h 4671146"/>
                <a:gd name="connsiteX966" fmla="*/ 2742384 w 3372468"/>
                <a:gd name="connsiteY966" fmla="*/ 851840 h 4671146"/>
                <a:gd name="connsiteX967" fmla="*/ 2691073 w 3372468"/>
                <a:gd name="connsiteY967" fmla="*/ 660595 h 4671146"/>
                <a:gd name="connsiteX968" fmla="*/ 2707400 w 3372468"/>
                <a:gd name="connsiteY968" fmla="*/ 660595 h 4671146"/>
                <a:gd name="connsiteX969" fmla="*/ 2707400 w 3372468"/>
                <a:gd name="connsiteY969" fmla="*/ 665259 h 4671146"/>
                <a:gd name="connsiteX970" fmla="*/ 2754045 w 3372468"/>
                <a:gd name="connsiteY970" fmla="*/ 802863 h 4671146"/>
                <a:gd name="connsiteX971" fmla="*/ 2789029 w 3372468"/>
                <a:gd name="connsiteY971" fmla="*/ 732895 h 4671146"/>
                <a:gd name="connsiteX972" fmla="*/ 2861330 w 3372468"/>
                <a:gd name="connsiteY972" fmla="*/ 672257 h 4671146"/>
                <a:gd name="connsiteX973" fmla="*/ 2875323 w 3372468"/>
                <a:gd name="connsiteY973" fmla="*/ 681586 h 4671146"/>
                <a:gd name="connsiteX974" fmla="*/ 2858997 w 3372468"/>
                <a:gd name="connsiteY974" fmla="*/ 704909 h 4671146"/>
                <a:gd name="connsiteX975" fmla="*/ 2814685 w 3372468"/>
                <a:gd name="connsiteY975" fmla="*/ 739893 h 4671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Lst>
              <a:rect l="l" t="t" r="r" b="b"/>
              <a:pathLst>
                <a:path w="3372468" h="4671146">
                  <a:moveTo>
                    <a:pt x="2483502" y="821522"/>
                  </a:moveTo>
                  <a:cubicBezTo>
                    <a:pt x="2516153" y="877497"/>
                    <a:pt x="2583790" y="933470"/>
                    <a:pt x="2602448" y="989445"/>
                  </a:cubicBezTo>
                  <a:cubicBezTo>
                    <a:pt x="2607112" y="1003438"/>
                    <a:pt x="2628103" y="1115388"/>
                    <a:pt x="2623439" y="1122386"/>
                  </a:cubicBezTo>
                  <a:cubicBezTo>
                    <a:pt x="2623439" y="1122386"/>
                    <a:pt x="2609444" y="1122386"/>
                    <a:pt x="2607112" y="1122386"/>
                  </a:cubicBezTo>
                  <a:cubicBezTo>
                    <a:pt x="2551137" y="1148040"/>
                    <a:pt x="2593119" y="1178358"/>
                    <a:pt x="2595451" y="1199349"/>
                  </a:cubicBezTo>
                  <a:cubicBezTo>
                    <a:pt x="2595451" y="1213342"/>
                    <a:pt x="2583790" y="1220340"/>
                    <a:pt x="2586121" y="1232001"/>
                  </a:cubicBezTo>
                  <a:cubicBezTo>
                    <a:pt x="2586121" y="1243662"/>
                    <a:pt x="2600116" y="1257655"/>
                    <a:pt x="2600116" y="1269317"/>
                  </a:cubicBezTo>
                  <a:cubicBezTo>
                    <a:pt x="2604781" y="1294971"/>
                    <a:pt x="2586121" y="1308967"/>
                    <a:pt x="2604781" y="1343951"/>
                  </a:cubicBezTo>
                  <a:cubicBezTo>
                    <a:pt x="2632767" y="1392928"/>
                    <a:pt x="2709733" y="1378935"/>
                    <a:pt x="2721394" y="1385930"/>
                  </a:cubicBezTo>
                  <a:cubicBezTo>
                    <a:pt x="2723726" y="1388262"/>
                    <a:pt x="2740052" y="1451235"/>
                    <a:pt x="2756378" y="1462896"/>
                  </a:cubicBezTo>
                  <a:cubicBezTo>
                    <a:pt x="2805355" y="1500212"/>
                    <a:pt x="2882320" y="1462896"/>
                    <a:pt x="2847336" y="1402258"/>
                  </a:cubicBezTo>
                  <a:cubicBezTo>
                    <a:pt x="2882320" y="1402258"/>
                    <a:pt x="2910307" y="1402258"/>
                    <a:pt x="2905642" y="1360276"/>
                  </a:cubicBezTo>
                  <a:cubicBezTo>
                    <a:pt x="2905642" y="1343951"/>
                    <a:pt x="2889316" y="1341616"/>
                    <a:pt x="2900977" y="1327623"/>
                  </a:cubicBezTo>
                  <a:cubicBezTo>
                    <a:pt x="2863662" y="1313630"/>
                    <a:pt x="2838007" y="1294971"/>
                    <a:pt x="2796025" y="1285644"/>
                  </a:cubicBezTo>
                  <a:cubicBezTo>
                    <a:pt x="2751713" y="1276315"/>
                    <a:pt x="2700403" y="1278646"/>
                    <a:pt x="2658423" y="1262322"/>
                  </a:cubicBezTo>
                  <a:cubicBezTo>
                    <a:pt x="2630435" y="1252992"/>
                    <a:pt x="2618774" y="1243662"/>
                    <a:pt x="2625770" y="1211010"/>
                  </a:cubicBezTo>
                  <a:cubicBezTo>
                    <a:pt x="2632767" y="1211010"/>
                    <a:pt x="2639765" y="1211010"/>
                    <a:pt x="2646761" y="1211010"/>
                  </a:cubicBezTo>
                  <a:cubicBezTo>
                    <a:pt x="2684077" y="1211010"/>
                    <a:pt x="2831009" y="1238999"/>
                    <a:pt x="2861330" y="1255324"/>
                  </a:cubicBezTo>
                  <a:cubicBezTo>
                    <a:pt x="2886984" y="1271648"/>
                    <a:pt x="2884653" y="1278646"/>
                    <a:pt x="2889316" y="1308967"/>
                  </a:cubicBezTo>
                  <a:cubicBezTo>
                    <a:pt x="2917304" y="1294971"/>
                    <a:pt x="2912639" y="1273983"/>
                    <a:pt x="2896314" y="1248326"/>
                  </a:cubicBezTo>
                  <a:cubicBezTo>
                    <a:pt x="2891649" y="1238999"/>
                    <a:pt x="2879988" y="1241331"/>
                    <a:pt x="2879988" y="1234333"/>
                  </a:cubicBezTo>
                  <a:cubicBezTo>
                    <a:pt x="2886984" y="1234333"/>
                    <a:pt x="2896314" y="1234333"/>
                    <a:pt x="2903311" y="1234333"/>
                  </a:cubicBezTo>
                  <a:cubicBezTo>
                    <a:pt x="2903311" y="1234333"/>
                    <a:pt x="2907975" y="1229669"/>
                    <a:pt x="2907975" y="1229669"/>
                  </a:cubicBezTo>
                  <a:cubicBezTo>
                    <a:pt x="2935961" y="1089733"/>
                    <a:pt x="2735387" y="1150372"/>
                    <a:pt x="2656089" y="1120051"/>
                  </a:cubicBezTo>
                  <a:cubicBezTo>
                    <a:pt x="2644428" y="1075740"/>
                    <a:pt x="2646761" y="1022097"/>
                    <a:pt x="2632767" y="980115"/>
                  </a:cubicBezTo>
                  <a:cubicBezTo>
                    <a:pt x="2607112" y="900820"/>
                    <a:pt x="2509157" y="847177"/>
                    <a:pt x="2481169" y="751554"/>
                  </a:cubicBezTo>
                  <a:cubicBezTo>
                    <a:pt x="2418199" y="529989"/>
                    <a:pt x="2642096" y="308424"/>
                    <a:pt x="2858997" y="401714"/>
                  </a:cubicBezTo>
                  <a:cubicBezTo>
                    <a:pt x="2935961" y="434367"/>
                    <a:pt x="3024589" y="543982"/>
                    <a:pt x="3047911" y="625611"/>
                  </a:cubicBezTo>
                  <a:cubicBezTo>
                    <a:pt x="3057240" y="658264"/>
                    <a:pt x="3052575" y="732895"/>
                    <a:pt x="3047911" y="767879"/>
                  </a:cubicBezTo>
                  <a:cubicBezTo>
                    <a:pt x="3040913" y="828518"/>
                    <a:pt x="2947623" y="907815"/>
                    <a:pt x="2917304" y="963790"/>
                  </a:cubicBezTo>
                  <a:cubicBezTo>
                    <a:pt x="2889316" y="1017433"/>
                    <a:pt x="2884653" y="1068742"/>
                    <a:pt x="2875323" y="1127049"/>
                  </a:cubicBezTo>
                  <a:lnTo>
                    <a:pt x="2910307" y="1103726"/>
                  </a:lnTo>
                  <a:cubicBezTo>
                    <a:pt x="2900977" y="921808"/>
                    <a:pt x="3033917" y="921808"/>
                    <a:pt x="3066569" y="781872"/>
                  </a:cubicBezTo>
                  <a:cubicBezTo>
                    <a:pt x="3092224" y="674589"/>
                    <a:pt x="3068901" y="583630"/>
                    <a:pt x="3003598" y="495005"/>
                  </a:cubicBezTo>
                  <a:cubicBezTo>
                    <a:pt x="2796025" y="222128"/>
                    <a:pt x="2399540" y="399383"/>
                    <a:pt x="2443854" y="735227"/>
                  </a:cubicBezTo>
                  <a:cubicBezTo>
                    <a:pt x="2457847" y="765548"/>
                    <a:pt x="2464845" y="791202"/>
                    <a:pt x="2481169" y="821522"/>
                  </a:cubicBezTo>
                  <a:close/>
                  <a:moveTo>
                    <a:pt x="2765706" y="1439573"/>
                  </a:moveTo>
                  <a:cubicBezTo>
                    <a:pt x="2761041" y="1437242"/>
                    <a:pt x="2740052" y="1392928"/>
                    <a:pt x="2742384" y="1390596"/>
                  </a:cubicBezTo>
                  <a:cubicBezTo>
                    <a:pt x="2751713" y="1390596"/>
                    <a:pt x="2796025" y="1388262"/>
                    <a:pt x="2798359" y="1390596"/>
                  </a:cubicBezTo>
                  <a:cubicBezTo>
                    <a:pt x="2798359" y="1390596"/>
                    <a:pt x="2807687" y="1423246"/>
                    <a:pt x="2807687" y="1425580"/>
                  </a:cubicBezTo>
                  <a:cubicBezTo>
                    <a:pt x="2803023" y="1434907"/>
                    <a:pt x="2772703" y="1446568"/>
                    <a:pt x="2763375" y="1439573"/>
                  </a:cubicBezTo>
                  <a:close/>
                  <a:moveTo>
                    <a:pt x="2644428" y="1287976"/>
                  </a:moveTo>
                  <a:cubicBezTo>
                    <a:pt x="2651426" y="1287976"/>
                    <a:pt x="2754045" y="1301969"/>
                    <a:pt x="2768039" y="1304301"/>
                  </a:cubicBezTo>
                  <a:cubicBezTo>
                    <a:pt x="2805355" y="1311299"/>
                    <a:pt x="2877655" y="1327623"/>
                    <a:pt x="2875323" y="1376600"/>
                  </a:cubicBezTo>
                  <a:cubicBezTo>
                    <a:pt x="2856665" y="1376600"/>
                    <a:pt x="2835674" y="1376600"/>
                    <a:pt x="2817016" y="1376600"/>
                  </a:cubicBezTo>
                  <a:cubicBezTo>
                    <a:pt x="2800690" y="1374269"/>
                    <a:pt x="2805355" y="1362607"/>
                    <a:pt x="2793694" y="1360276"/>
                  </a:cubicBezTo>
                  <a:cubicBezTo>
                    <a:pt x="2775036" y="1360276"/>
                    <a:pt x="2749380" y="1360276"/>
                    <a:pt x="2728391" y="1360276"/>
                  </a:cubicBezTo>
                  <a:cubicBezTo>
                    <a:pt x="2723726" y="1360276"/>
                    <a:pt x="2716729" y="1364939"/>
                    <a:pt x="2709733" y="1364939"/>
                  </a:cubicBezTo>
                  <a:cubicBezTo>
                    <a:pt x="2684077" y="1364939"/>
                    <a:pt x="2635100" y="1355612"/>
                    <a:pt x="2630435" y="1327623"/>
                  </a:cubicBezTo>
                  <a:cubicBezTo>
                    <a:pt x="2630435" y="1313630"/>
                    <a:pt x="2630435" y="1292639"/>
                    <a:pt x="2644428" y="1287976"/>
                  </a:cubicBezTo>
                  <a:close/>
                  <a:moveTo>
                    <a:pt x="2875323" y="1180692"/>
                  </a:moveTo>
                  <a:cubicBezTo>
                    <a:pt x="2896314" y="1250660"/>
                    <a:pt x="2819348" y="1213342"/>
                    <a:pt x="2786697" y="1206347"/>
                  </a:cubicBezTo>
                  <a:cubicBezTo>
                    <a:pt x="2735387" y="1199349"/>
                    <a:pt x="2593119" y="1204015"/>
                    <a:pt x="2625770" y="1124717"/>
                  </a:cubicBezTo>
                  <a:cubicBezTo>
                    <a:pt x="2658423" y="1176026"/>
                    <a:pt x="2863662" y="1131712"/>
                    <a:pt x="2877655" y="1180692"/>
                  </a:cubicBezTo>
                  <a:close/>
                  <a:moveTo>
                    <a:pt x="2796025" y="264110"/>
                  </a:moveTo>
                  <a:cubicBezTo>
                    <a:pt x="2796025" y="189479"/>
                    <a:pt x="2782032" y="93853"/>
                    <a:pt x="2789029" y="19222"/>
                  </a:cubicBezTo>
                  <a:cubicBezTo>
                    <a:pt x="2789029" y="2897"/>
                    <a:pt x="2793694" y="-1769"/>
                    <a:pt x="2812352" y="563"/>
                  </a:cubicBezTo>
                  <a:cubicBezTo>
                    <a:pt x="2805355" y="19222"/>
                    <a:pt x="2817016" y="47208"/>
                    <a:pt x="2817016" y="61204"/>
                  </a:cubicBezTo>
                  <a:cubicBezTo>
                    <a:pt x="2817016" y="89190"/>
                    <a:pt x="2824013" y="257112"/>
                    <a:pt x="2817016" y="264110"/>
                  </a:cubicBezTo>
                  <a:cubicBezTo>
                    <a:pt x="2817016" y="264110"/>
                    <a:pt x="2800690" y="264110"/>
                    <a:pt x="2793694" y="264110"/>
                  </a:cubicBezTo>
                  <a:close/>
                  <a:moveTo>
                    <a:pt x="3372096" y="345739"/>
                  </a:moveTo>
                  <a:lnTo>
                    <a:pt x="3122543" y="460021"/>
                  </a:lnTo>
                  <a:cubicBezTo>
                    <a:pt x="3122543" y="453023"/>
                    <a:pt x="3122543" y="443694"/>
                    <a:pt x="3122543" y="439030"/>
                  </a:cubicBezTo>
                  <a:cubicBezTo>
                    <a:pt x="3124876" y="434367"/>
                    <a:pt x="3194844" y="394716"/>
                    <a:pt x="3206505" y="390053"/>
                  </a:cubicBezTo>
                  <a:cubicBezTo>
                    <a:pt x="3227495" y="378392"/>
                    <a:pt x="3360434" y="317753"/>
                    <a:pt x="3372096" y="329415"/>
                  </a:cubicBezTo>
                  <a:cubicBezTo>
                    <a:pt x="3372096" y="329415"/>
                    <a:pt x="3374429" y="348071"/>
                    <a:pt x="3367431" y="345739"/>
                  </a:cubicBezTo>
                  <a:close/>
                  <a:moveTo>
                    <a:pt x="2572128" y="289764"/>
                  </a:moveTo>
                  <a:cubicBezTo>
                    <a:pt x="2560467" y="273440"/>
                    <a:pt x="2483502" y="100851"/>
                    <a:pt x="2490499" y="91522"/>
                  </a:cubicBezTo>
                  <a:cubicBezTo>
                    <a:pt x="2497496" y="86858"/>
                    <a:pt x="2506825" y="93853"/>
                    <a:pt x="2513822" y="100851"/>
                  </a:cubicBezTo>
                  <a:cubicBezTo>
                    <a:pt x="2534813" y="128837"/>
                    <a:pt x="2583790" y="273440"/>
                    <a:pt x="2602448" y="285101"/>
                  </a:cubicBezTo>
                  <a:cubicBezTo>
                    <a:pt x="2607112" y="287433"/>
                    <a:pt x="2656089" y="294431"/>
                    <a:pt x="2618774" y="313087"/>
                  </a:cubicBezTo>
                  <a:cubicBezTo>
                    <a:pt x="2597783" y="322417"/>
                    <a:pt x="2583790" y="303757"/>
                    <a:pt x="2574460" y="289764"/>
                  </a:cubicBezTo>
                  <a:close/>
                  <a:moveTo>
                    <a:pt x="2984940" y="238456"/>
                  </a:moveTo>
                  <a:cubicBezTo>
                    <a:pt x="3001266" y="208135"/>
                    <a:pt x="3073566" y="107849"/>
                    <a:pt x="3099220" y="89190"/>
                  </a:cubicBezTo>
                  <a:cubicBezTo>
                    <a:pt x="3103885" y="84527"/>
                    <a:pt x="3122543" y="70531"/>
                    <a:pt x="3127208" y="75197"/>
                  </a:cubicBezTo>
                  <a:cubicBezTo>
                    <a:pt x="3131872" y="79860"/>
                    <a:pt x="3110881" y="112513"/>
                    <a:pt x="3106218" y="119511"/>
                  </a:cubicBezTo>
                  <a:cubicBezTo>
                    <a:pt x="3082895" y="154495"/>
                    <a:pt x="3019924" y="245451"/>
                    <a:pt x="2994268" y="273440"/>
                  </a:cubicBezTo>
                  <a:cubicBezTo>
                    <a:pt x="2963949" y="306092"/>
                    <a:pt x="2970945" y="264110"/>
                    <a:pt x="2984940" y="240787"/>
                  </a:cubicBezTo>
                  <a:close/>
                  <a:moveTo>
                    <a:pt x="3341776" y="695580"/>
                  </a:moveTo>
                  <a:lnTo>
                    <a:pt x="3351106" y="711904"/>
                  </a:lnTo>
                  <a:cubicBezTo>
                    <a:pt x="3339445" y="721234"/>
                    <a:pt x="3201840" y="690916"/>
                    <a:pt x="3183183" y="681586"/>
                  </a:cubicBezTo>
                  <a:cubicBezTo>
                    <a:pt x="3164525" y="672257"/>
                    <a:pt x="3171521" y="653598"/>
                    <a:pt x="3190179" y="655932"/>
                  </a:cubicBezTo>
                  <a:cubicBezTo>
                    <a:pt x="3236824" y="665259"/>
                    <a:pt x="3292799" y="688582"/>
                    <a:pt x="3341776" y="695580"/>
                  </a:cubicBezTo>
                  <a:close/>
                  <a:moveTo>
                    <a:pt x="2516153" y="2377144"/>
                  </a:moveTo>
                  <a:cubicBezTo>
                    <a:pt x="2525483" y="2379475"/>
                    <a:pt x="2537144" y="2372480"/>
                    <a:pt x="2534813" y="2363151"/>
                  </a:cubicBezTo>
                  <a:cubicBezTo>
                    <a:pt x="2534813" y="2356153"/>
                    <a:pt x="2497496" y="2330498"/>
                    <a:pt x="2488167" y="2323503"/>
                  </a:cubicBezTo>
                  <a:cubicBezTo>
                    <a:pt x="2464845" y="2307176"/>
                    <a:pt x="2357560" y="2255867"/>
                    <a:pt x="2352895" y="2248869"/>
                  </a:cubicBezTo>
                  <a:cubicBezTo>
                    <a:pt x="2343566" y="2234876"/>
                    <a:pt x="2343566" y="2178901"/>
                    <a:pt x="2338902" y="2162576"/>
                  </a:cubicBezTo>
                  <a:cubicBezTo>
                    <a:pt x="2338902" y="2153246"/>
                    <a:pt x="2329572" y="2148583"/>
                    <a:pt x="2327240" y="2139253"/>
                  </a:cubicBezTo>
                  <a:cubicBezTo>
                    <a:pt x="2327240" y="2127592"/>
                    <a:pt x="2338902" y="2115931"/>
                    <a:pt x="2329572" y="2101938"/>
                  </a:cubicBezTo>
                  <a:cubicBezTo>
                    <a:pt x="2324909" y="2094940"/>
                    <a:pt x="2240946" y="2050626"/>
                    <a:pt x="2226953" y="2038965"/>
                  </a:cubicBezTo>
                  <a:cubicBezTo>
                    <a:pt x="2173311" y="2001649"/>
                    <a:pt x="2066026" y="1915356"/>
                    <a:pt x="2124333" y="1843054"/>
                  </a:cubicBezTo>
                  <a:cubicBezTo>
                    <a:pt x="2198966" y="1915356"/>
                    <a:pt x="2296921" y="1943342"/>
                    <a:pt x="2383215" y="1992319"/>
                  </a:cubicBezTo>
                  <a:cubicBezTo>
                    <a:pt x="2506825" y="2059956"/>
                    <a:pt x="2462512" y="2097272"/>
                    <a:pt x="2483502" y="2218551"/>
                  </a:cubicBezTo>
                  <a:cubicBezTo>
                    <a:pt x="2490499" y="2255867"/>
                    <a:pt x="2509157" y="2293183"/>
                    <a:pt x="2511490" y="2332830"/>
                  </a:cubicBezTo>
                  <a:cubicBezTo>
                    <a:pt x="2534813" y="2332830"/>
                    <a:pt x="2534813" y="2295514"/>
                    <a:pt x="2534813" y="2279189"/>
                  </a:cubicBezTo>
                  <a:cubicBezTo>
                    <a:pt x="2532480" y="2234876"/>
                    <a:pt x="2504492" y="2106601"/>
                    <a:pt x="2492831" y="2062287"/>
                  </a:cubicBezTo>
                  <a:cubicBezTo>
                    <a:pt x="2490499" y="2052958"/>
                    <a:pt x="2485834" y="2036633"/>
                    <a:pt x="2478838" y="2029635"/>
                  </a:cubicBezTo>
                  <a:cubicBezTo>
                    <a:pt x="2457847" y="1999317"/>
                    <a:pt x="2320244" y="1943342"/>
                    <a:pt x="2278263" y="1920020"/>
                  </a:cubicBezTo>
                  <a:cubicBezTo>
                    <a:pt x="2250276" y="1903695"/>
                    <a:pt x="2222288" y="1885036"/>
                    <a:pt x="2194301" y="1866376"/>
                  </a:cubicBezTo>
                  <a:cubicBezTo>
                    <a:pt x="2175643" y="1852383"/>
                    <a:pt x="2156985" y="1831392"/>
                    <a:pt x="2140659" y="1822066"/>
                  </a:cubicBezTo>
                  <a:cubicBezTo>
                    <a:pt x="2124333" y="1812736"/>
                    <a:pt x="2103343" y="1833727"/>
                    <a:pt x="2094014" y="1845388"/>
                  </a:cubicBezTo>
                  <a:cubicBezTo>
                    <a:pt x="2056698" y="1908358"/>
                    <a:pt x="2105675" y="1959667"/>
                    <a:pt x="2147655" y="2003981"/>
                  </a:cubicBezTo>
                  <a:cubicBezTo>
                    <a:pt x="2152320" y="2017974"/>
                    <a:pt x="2135994" y="2008647"/>
                    <a:pt x="2126666" y="2017974"/>
                  </a:cubicBezTo>
                  <a:cubicBezTo>
                    <a:pt x="2124333" y="2020308"/>
                    <a:pt x="2091682" y="2078615"/>
                    <a:pt x="2094014" y="2080947"/>
                  </a:cubicBezTo>
                  <a:cubicBezTo>
                    <a:pt x="2112671" y="2094940"/>
                    <a:pt x="2124333" y="2041296"/>
                    <a:pt x="2135994" y="2045963"/>
                  </a:cubicBezTo>
                  <a:cubicBezTo>
                    <a:pt x="2140659" y="2045963"/>
                    <a:pt x="2187304" y="2087942"/>
                    <a:pt x="2196634" y="2094940"/>
                  </a:cubicBezTo>
                  <a:cubicBezTo>
                    <a:pt x="2247943" y="2139253"/>
                    <a:pt x="2280595" y="2174237"/>
                    <a:pt x="2282927" y="2246537"/>
                  </a:cubicBezTo>
                  <a:cubicBezTo>
                    <a:pt x="2275930" y="2253535"/>
                    <a:pt x="2124333" y="2206890"/>
                    <a:pt x="2096345" y="2206890"/>
                  </a:cubicBezTo>
                  <a:cubicBezTo>
                    <a:pt x="2061361" y="2206890"/>
                    <a:pt x="2033375" y="2241874"/>
                    <a:pt x="2000723" y="2253535"/>
                  </a:cubicBezTo>
                  <a:cubicBezTo>
                    <a:pt x="1989062" y="2239539"/>
                    <a:pt x="1928423" y="2206890"/>
                    <a:pt x="1933087" y="2188230"/>
                  </a:cubicBezTo>
                  <a:cubicBezTo>
                    <a:pt x="1940084" y="2169571"/>
                    <a:pt x="2007719" y="2160244"/>
                    <a:pt x="2019381" y="2139253"/>
                  </a:cubicBezTo>
                  <a:cubicBezTo>
                    <a:pt x="1949413" y="2148583"/>
                    <a:pt x="1881778" y="2181233"/>
                    <a:pt x="1809477" y="2178901"/>
                  </a:cubicBezTo>
                  <a:cubicBezTo>
                    <a:pt x="1744173" y="2178901"/>
                    <a:pt x="1522608" y="2146249"/>
                    <a:pt x="1464301" y="2127592"/>
                  </a:cubicBezTo>
                  <a:cubicBezTo>
                    <a:pt x="1450308" y="2122926"/>
                    <a:pt x="1436314" y="2118262"/>
                    <a:pt x="1426986" y="2108933"/>
                  </a:cubicBezTo>
                  <a:cubicBezTo>
                    <a:pt x="1392002" y="2078615"/>
                    <a:pt x="1354685" y="1996986"/>
                    <a:pt x="1322034" y="1955004"/>
                  </a:cubicBezTo>
                  <a:cubicBezTo>
                    <a:pt x="1305708" y="1934013"/>
                    <a:pt x="1245068" y="1861713"/>
                    <a:pt x="1224078" y="1850052"/>
                  </a:cubicBezTo>
                  <a:cubicBezTo>
                    <a:pt x="1207752" y="1840722"/>
                    <a:pt x="1198422" y="1847720"/>
                    <a:pt x="1186761" y="1859381"/>
                  </a:cubicBezTo>
                  <a:lnTo>
                    <a:pt x="1210084" y="1859381"/>
                  </a:lnTo>
                  <a:cubicBezTo>
                    <a:pt x="1193759" y="1878038"/>
                    <a:pt x="1191426" y="1871043"/>
                    <a:pt x="1193759" y="1896697"/>
                  </a:cubicBezTo>
                  <a:cubicBezTo>
                    <a:pt x="1198422" y="1896697"/>
                    <a:pt x="1203087" y="1896697"/>
                    <a:pt x="1205420" y="1896697"/>
                  </a:cubicBezTo>
                  <a:cubicBezTo>
                    <a:pt x="1231075" y="1903695"/>
                    <a:pt x="1340692" y="2059956"/>
                    <a:pt x="1368679" y="2092608"/>
                  </a:cubicBezTo>
                  <a:cubicBezTo>
                    <a:pt x="1392002" y="2118262"/>
                    <a:pt x="1417656" y="2136922"/>
                    <a:pt x="1445644" y="2157910"/>
                  </a:cubicBezTo>
                  <a:cubicBezTo>
                    <a:pt x="1426986" y="2167240"/>
                    <a:pt x="1415324" y="2164908"/>
                    <a:pt x="1424653" y="2190562"/>
                  </a:cubicBezTo>
                  <a:cubicBezTo>
                    <a:pt x="1424653" y="2195228"/>
                    <a:pt x="1471298" y="2246537"/>
                    <a:pt x="1478294" y="2251201"/>
                  </a:cubicBezTo>
                  <a:cubicBezTo>
                    <a:pt x="1548262" y="2318837"/>
                    <a:pt x="1681202" y="2363151"/>
                    <a:pt x="1776826" y="2372480"/>
                  </a:cubicBezTo>
                  <a:cubicBezTo>
                    <a:pt x="1807145" y="2374812"/>
                    <a:pt x="1858455" y="2379475"/>
                    <a:pt x="1879445" y="2356153"/>
                  </a:cubicBezTo>
                  <a:cubicBezTo>
                    <a:pt x="1884110" y="2360819"/>
                    <a:pt x="1879445" y="2370148"/>
                    <a:pt x="1891106" y="2367814"/>
                  </a:cubicBezTo>
                  <a:cubicBezTo>
                    <a:pt x="1947081" y="2309507"/>
                    <a:pt x="2021714" y="2272192"/>
                    <a:pt x="2091682" y="2230212"/>
                  </a:cubicBezTo>
                  <a:cubicBezTo>
                    <a:pt x="2170978" y="2255867"/>
                    <a:pt x="2254941" y="2269860"/>
                    <a:pt x="2334237" y="2297846"/>
                  </a:cubicBezTo>
                  <a:cubicBezTo>
                    <a:pt x="2385547" y="2316505"/>
                    <a:pt x="2474173" y="2342160"/>
                    <a:pt x="2471841" y="2409796"/>
                  </a:cubicBezTo>
                  <a:cubicBezTo>
                    <a:pt x="2471841" y="2442448"/>
                    <a:pt x="2434524" y="2533407"/>
                    <a:pt x="2425196" y="2575386"/>
                  </a:cubicBezTo>
                  <a:cubicBezTo>
                    <a:pt x="2415866" y="2617368"/>
                    <a:pt x="2408870" y="2659347"/>
                    <a:pt x="2401873" y="2701329"/>
                  </a:cubicBezTo>
                  <a:cubicBezTo>
                    <a:pt x="2415866" y="2701329"/>
                    <a:pt x="2413534" y="2689668"/>
                    <a:pt x="2418199" y="2682670"/>
                  </a:cubicBezTo>
                  <a:cubicBezTo>
                    <a:pt x="2457847" y="2575386"/>
                    <a:pt x="2511490" y="2468103"/>
                    <a:pt x="2469508" y="2353821"/>
                  </a:cubicBezTo>
                  <a:cubicBezTo>
                    <a:pt x="2464845" y="2342160"/>
                    <a:pt x="2455515" y="2349157"/>
                    <a:pt x="2457847" y="2339828"/>
                  </a:cubicBezTo>
                  <a:cubicBezTo>
                    <a:pt x="2481169" y="2335164"/>
                    <a:pt x="2506825" y="2377144"/>
                    <a:pt x="2513822" y="2379475"/>
                  </a:cubicBezTo>
                  <a:close/>
                  <a:moveTo>
                    <a:pt x="2240946" y="2078615"/>
                  </a:moveTo>
                  <a:cubicBezTo>
                    <a:pt x="2224620" y="2078615"/>
                    <a:pt x="2161650" y="2034301"/>
                    <a:pt x="2145324" y="2020308"/>
                  </a:cubicBezTo>
                  <a:cubicBezTo>
                    <a:pt x="2154652" y="2020308"/>
                    <a:pt x="2163982" y="2020308"/>
                    <a:pt x="2173311" y="2022640"/>
                  </a:cubicBezTo>
                  <a:cubicBezTo>
                    <a:pt x="2177975" y="2022640"/>
                    <a:pt x="2240946" y="2062287"/>
                    <a:pt x="2243279" y="2064619"/>
                  </a:cubicBezTo>
                  <a:cubicBezTo>
                    <a:pt x="2243279" y="2064619"/>
                    <a:pt x="2243279" y="2076280"/>
                    <a:pt x="2240946" y="2076280"/>
                  </a:cubicBezTo>
                  <a:close/>
                  <a:moveTo>
                    <a:pt x="1800148" y="2330498"/>
                  </a:moveTo>
                  <a:cubicBezTo>
                    <a:pt x="1706858" y="2314173"/>
                    <a:pt x="1611234" y="2300180"/>
                    <a:pt x="1531938" y="2248869"/>
                  </a:cubicBezTo>
                  <a:cubicBezTo>
                    <a:pt x="1524940" y="2244205"/>
                    <a:pt x="1492289" y="2223215"/>
                    <a:pt x="1501617" y="2211553"/>
                  </a:cubicBezTo>
                  <a:cubicBezTo>
                    <a:pt x="1585580" y="2283853"/>
                    <a:pt x="1699860" y="2307176"/>
                    <a:pt x="1804812" y="2321169"/>
                  </a:cubicBezTo>
                  <a:cubicBezTo>
                    <a:pt x="1804812" y="2330498"/>
                    <a:pt x="1809477" y="2332830"/>
                    <a:pt x="1797815" y="2330498"/>
                  </a:cubicBezTo>
                  <a:close/>
                  <a:moveTo>
                    <a:pt x="1909764" y="2325835"/>
                  </a:moveTo>
                  <a:cubicBezTo>
                    <a:pt x="1905100" y="2321169"/>
                    <a:pt x="1914429" y="2248869"/>
                    <a:pt x="1933087" y="2246537"/>
                  </a:cubicBezTo>
                  <a:lnTo>
                    <a:pt x="1928423" y="2281521"/>
                  </a:lnTo>
                  <a:lnTo>
                    <a:pt x="1956409" y="2265196"/>
                  </a:lnTo>
                  <a:cubicBezTo>
                    <a:pt x="1963407" y="2295514"/>
                    <a:pt x="1935420" y="2316505"/>
                    <a:pt x="1909764" y="2328167"/>
                  </a:cubicBezTo>
                  <a:close/>
                  <a:moveTo>
                    <a:pt x="2303918" y="2216217"/>
                  </a:moveTo>
                  <a:cubicBezTo>
                    <a:pt x="2299253" y="2199892"/>
                    <a:pt x="2296921" y="2181233"/>
                    <a:pt x="2294588" y="2164908"/>
                  </a:cubicBezTo>
                  <a:cubicBezTo>
                    <a:pt x="2317911" y="2178901"/>
                    <a:pt x="2310914" y="2211553"/>
                    <a:pt x="2310914" y="2234876"/>
                  </a:cubicBezTo>
                  <a:cubicBezTo>
                    <a:pt x="2301586" y="2234876"/>
                    <a:pt x="2303918" y="2223215"/>
                    <a:pt x="2301586" y="2218551"/>
                  </a:cubicBezTo>
                  <a:close/>
                  <a:moveTo>
                    <a:pt x="2394877" y="2293183"/>
                  </a:moveTo>
                  <a:cubicBezTo>
                    <a:pt x="2385547" y="2290851"/>
                    <a:pt x="2373886" y="2286185"/>
                    <a:pt x="2364556" y="2283853"/>
                  </a:cubicBezTo>
                  <a:lnTo>
                    <a:pt x="2313247" y="2262862"/>
                  </a:lnTo>
                  <a:lnTo>
                    <a:pt x="2411201" y="2290851"/>
                  </a:lnTo>
                  <a:cubicBezTo>
                    <a:pt x="2411201" y="2302512"/>
                    <a:pt x="2401873" y="2293183"/>
                    <a:pt x="2394877" y="2290851"/>
                  </a:cubicBezTo>
                  <a:close/>
                  <a:moveTo>
                    <a:pt x="1716186" y="1120051"/>
                  </a:moveTo>
                  <a:lnTo>
                    <a:pt x="1702193" y="1073406"/>
                  </a:lnTo>
                  <a:cubicBezTo>
                    <a:pt x="1727847" y="1080404"/>
                    <a:pt x="1748838" y="1124717"/>
                    <a:pt x="1732512" y="1145708"/>
                  </a:cubicBezTo>
                  <a:cubicBezTo>
                    <a:pt x="1713854" y="1169031"/>
                    <a:pt x="1625228" y="1180692"/>
                    <a:pt x="1590244" y="1190019"/>
                  </a:cubicBezTo>
                  <a:cubicBezTo>
                    <a:pt x="1541266" y="1204015"/>
                    <a:pt x="1464301" y="1225003"/>
                    <a:pt x="1426986" y="1255324"/>
                  </a:cubicBezTo>
                  <a:cubicBezTo>
                    <a:pt x="1408326" y="1269317"/>
                    <a:pt x="1398998" y="1292639"/>
                    <a:pt x="1378007" y="1301969"/>
                  </a:cubicBezTo>
                  <a:cubicBezTo>
                    <a:pt x="1378007" y="1276315"/>
                    <a:pt x="1422321" y="1162033"/>
                    <a:pt x="1436314" y="1152703"/>
                  </a:cubicBezTo>
                  <a:cubicBezTo>
                    <a:pt x="1438647" y="1152703"/>
                    <a:pt x="1447975" y="1157370"/>
                    <a:pt x="1454972" y="1157370"/>
                  </a:cubicBezTo>
                  <a:cubicBezTo>
                    <a:pt x="1461970" y="1157370"/>
                    <a:pt x="1471298" y="1143374"/>
                    <a:pt x="1480628" y="1138710"/>
                  </a:cubicBezTo>
                  <a:cubicBezTo>
                    <a:pt x="1520276" y="1122386"/>
                    <a:pt x="1653215" y="1071074"/>
                    <a:pt x="1688199" y="1087402"/>
                  </a:cubicBezTo>
                  <a:cubicBezTo>
                    <a:pt x="1697528" y="1092065"/>
                    <a:pt x="1702193" y="1115388"/>
                    <a:pt x="1716186" y="1120051"/>
                  </a:cubicBezTo>
                  <a:close/>
                  <a:moveTo>
                    <a:pt x="1727847" y="1327623"/>
                  </a:moveTo>
                  <a:cubicBezTo>
                    <a:pt x="1695196" y="1329955"/>
                    <a:pt x="1681202" y="1290308"/>
                    <a:pt x="1650883" y="1280978"/>
                  </a:cubicBezTo>
                  <a:cubicBezTo>
                    <a:pt x="1695196" y="1385930"/>
                    <a:pt x="1590244" y="1376600"/>
                    <a:pt x="1587911" y="1285644"/>
                  </a:cubicBezTo>
                  <a:cubicBezTo>
                    <a:pt x="1541266" y="1304301"/>
                    <a:pt x="1515612" y="1346283"/>
                    <a:pt x="1475963" y="1376600"/>
                  </a:cubicBezTo>
                  <a:cubicBezTo>
                    <a:pt x="1468966" y="1315962"/>
                    <a:pt x="1562257" y="1238999"/>
                    <a:pt x="1615899" y="1243662"/>
                  </a:cubicBezTo>
                  <a:cubicBezTo>
                    <a:pt x="1625228" y="1243662"/>
                    <a:pt x="1646218" y="1252992"/>
                    <a:pt x="1655548" y="1255324"/>
                  </a:cubicBezTo>
                  <a:cubicBezTo>
                    <a:pt x="1662544" y="1257655"/>
                    <a:pt x="1713854" y="1287976"/>
                    <a:pt x="1716186" y="1290308"/>
                  </a:cubicBezTo>
                  <a:cubicBezTo>
                    <a:pt x="1716186" y="1290308"/>
                    <a:pt x="1730180" y="1320628"/>
                    <a:pt x="1730180" y="1322960"/>
                  </a:cubicBezTo>
                  <a:close/>
                  <a:moveTo>
                    <a:pt x="2068359" y="1705452"/>
                  </a:moveTo>
                  <a:cubicBezTo>
                    <a:pt x="2082352" y="1705452"/>
                    <a:pt x="2098678" y="1714779"/>
                    <a:pt x="2112671" y="1712447"/>
                  </a:cubicBezTo>
                  <a:cubicBezTo>
                    <a:pt x="2117336" y="1712447"/>
                    <a:pt x="2128998" y="1684461"/>
                    <a:pt x="2140659" y="1696123"/>
                  </a:cubicBezTo>
                  <a:cubicBezTo>
                    <a:pt x="2140659" y="1696123"/>
                    <a:pt x="2145324" y="1719445"/>
                    <a:pt x="2145324" y="1724109"/>
                  </a:cubicBezTo>
                  <a:cubicBezTo>
                    <a:pt x="2145324" y="1756761"/>
                    <a:pt x="2066026" y="1724109"/>
                    <a:pt x="2052033" y="1726440"/>
                  </a:cubicBezTo>
                  <a:cubicBezTo>
                    <a:pt x="1998391" y="1731107"/>
                    <a:pt x="1877113" y="1801075"/>
                    <a:pt x="1811810" y="1819731"/>
                  </a:cubicBezTo>
                  <a:cubicBezTo>
                    <a:pt x="1769828" y="1831392"/>
                    <a:pt x="1727847" y="1826729"/>
                    <a:pt x="1697528" y="1836059"/>
                  </a:cubicBezTo>
                  <a:cubicBezTo>
                    <a:pt x="1662544" y="1847720"/>
                    <a:pt x="1697528" y="1794077"/>
                    <a:pt x="1711521" y="1787082"/>
                  </a:cubicBezTo>
                  <a:cubicBezTo>
                    <a:pt x="1723183" y="1784747"/>
                    <a:pt x="1723183" y="1803406"/>
                    <a:pt x="1730180" y="1803406"/>
                  </a:cubicBezTo>
                  <a:cubicBezTo>
                    <a:pt x="1814142" y="1824397"/>
                    <a:pt x="1977400" y="1707784"/>
                    <a:pt x="2068359" y="1705452"/>
                  </a:cubicBezTo>
                  <a:close/>
                  <a:moveTo>
                    <a:pt x="2198966" y="1588839"/>
                  </a:moveTo>
                  <a:cubicBezTo>
                    <a:pt x="2191969" y="1670468"/>
                    <a:pt x="2210627" y="1756761"/>
                    <a:pt x="2203630" y="1838390"/>
                  </a:cubicBezTo>
                  <a:cubicBezTo>
                    <a:pt x="2187304" y="1843054"/>
                    <a:pt x="2187304" y="1815068"/>
                    <a:pt x="2187304" y="1805738"/>
                  </a:cubicBezTo>
                  <a:cubicBezTo>
                    <a:pt x="2180308" y="1724109"/>
                    <a:pt x="2173311" y="1600500"/>
                    <a:pt x="2189636" y="1521203"/>
                  </a:cubicBezTo>
                  <a:cubicBezTo>
                    <a:pt x="2194301" y="1497880"/>
                    <a:pt x="2210627" y="1486219"/>
                    <a:pt x="2210627" y="1460564"/>
                  </a:cubicBezTo>
                  <a:cubicBezTo>
                    <a:pt x="2210627" y="1406921"/>
                    <a:pt x="2163982" y="1350946"/>
                    <a:pt x="2145324" y="1299637"/>
                  </a:cubicBezTo>
                  <a:cubicBezTo>
                    <a:pt x="2140659" y="1285644"/>
                    <a:pt x="2152320" y="1276315"/>
                    <a:pt x="2135994" y="1278646"/>
                  </a:cubicBezTo>
                  <a:cubicBezTo>
                    <a:pt x="2133662" y="1269317"/>
                    <a:pt x="2149989" y="1271648"/>
                    <a:pt x="2152320" y="1273983"/>
                  </a:cubicBezTo>
                  <a:cubicBezTo>
                    <a:pt x="2152320" y="1273983"/>
                    <a:pt x="2156985" y="1292639"/>
                    <a:pt x="2159317" y="1297306"/>
                  </a:cubicBezTo>
                  <a:cubicBezTo>
                    <a:pt x="2182639" y="1336953"/>
                    <a:pt x="2231618" y="1404589"/>
                    <a:pt x="2231618" y="1448903"/>
                  </a:cubicBezTo>
                  <a:cubicBezTo>
                    <a:pt x="2231618" y="1490882"/>
                    <a:pt x="2201297" y="1539859"/>
                    <a:pt x="2196634" y="1586504"/>
                  </a:cubicBezTo>
                  <a:close/>
                  <a:moveTo>
                    <a:pt x="2066026" y="1159701"/>
                  </a:moveTo>
                  <a:cubicBezTo>
                    <a:pt x="2056698" y="1183024"/>
                    <a:pt x="2066026" y="1173694"/>
                    <a:pt x="2075356" y="1183024"/>
                  </a:cubicBezTo>
                  <a:cubicBezTo>
                    <a:pt x="2096345" y="1204015"/>
                    <a:pt x="2110340" y="1208678"/>
                    <a:pt x="2101010" y="1241331"/>
                  </a:cubicBezTo>
                  <a:cubicBezTo>
                    <a:pt x="2091682" y="1250660"/>
                    <a:pt x="2059030" y="1190019"/>
                    <a:pt x="2047368" y="1190019"/>
                  </a:cubicBezTo>
                  <a:cubicBezTo>
                    <a:pt x="2070691" y="1238999"/>
                    <a:pt x="2045037" y="1285644"/>
                    <a:pt x="1996058" y="1241331"/>
                  </a:cubicBezTo>
                  <a:lnTo>
                    <a:pt x="1975069" y="1194685"/>
                  </a:lnTo>
                  <a:cubicBezTo>
                    <a:pt x="1961074" y="1218008"/>
                    <a:pt x="1947081" y="1248326"/>
                    <a:pt x="1930755" y="1266985"/>
                  </a:cubicBezTo>
                  <a:cubicBezTo>
                    <a:pt x="1926090" y="1273983"/>
                    <a:pt x="1923758" y="1283310"/>
                    <a:pt x="1912097" y="1280978"/>
                  </a:cubicBezTo>
                  <a:cubicBezTo>
                    <a:pt x="1928423" y="1211010"/>
                    <a:pt x="1986730" y="1129381"/>
                    <a:pt x="2066026" y="1159701"/>
                  </a:cubicBezTo>
                  <a:close/>
                  <a:moveTo>
                    <a:pt x="2285260" y="2321169"/>
                  </a:moveTo>
                  <a:cubicBezTo>
                    <a:pt x="2322576" y="2325835"/>
                    <a:pt x="2364556" y="2339828"/>
                    <a:pt x="2366889" y="2381810"/>
                  </a:cubicBezTo>
                  <a:cubicBezTo>
                    <a:pt x="2366889" y="2386473"/>
                    <a:pt x="2364556" y="2409796"/>
                    <a:pt x="2362224" y="2412128"/>
                  </a:cubicBezTo>
                  <a:cubicBezTo>
                    <a:pt x="2352895" y="2421457"/>
                    <a:pt x="2352895" y="2409796"/>
                    <a:pt x="2350563" y="2405132"/>
                  </a:cubicBezTo>
                  <a:cubicBezTo>
                    <a:pt x="2329572" y="2358487"/>
                    <a:pt x="2336570" y="2351489"/>
                    <a:pt x="2278263" y="2339828"/>
                  </a:cubicBezTo>
                  <a:cubicBezTo>
                    <a:pt x="2208295" y="2325835"/>
                    <a:pt x="2159317" y="2351489"/>
                    <a:pt x="2096345" y="2349157"/>
                  </a:cubicBezTo>
                  <a:cubicBezTo>
                    <a:pt x="2061361" y="2349157"/>
                    <a:pt x="2026377" y="2330498"/>
                    <a:pt x="1986730" y="2337496"/>
                  </a:cubicBezTo>
                  <a:cubicBezTo>
                    <a:pt x="1975069" y="2337496"/>
                    <a:pt x="1968071" y="2360819"/>
                    <a:pt x="1958742" y="2360819"/>
                  </a:cubicBezTo>
                  <a:cubicBezTo>
                    <a:pt x="1947081" y="2360819"/>
                    <a:pt x="1942416" y="2325835"/>
                    <a:pt x="1975069" y="2321169"/>
                  </a:cubicBezTo>
                  <a:cubicBezTo>
                    <a:pt x="2035707" y="2314173"/>
                    <a:pt x="2222288" y="2314173"/>
                    <a:pt x="2285260" y="2321169"/>
                  </a:cubicBezTo>
                  <a:close/>
                  <a:moveTo>
                    <a:pt x="1844461" y="1598166"/>
                  </a:moveTo>
                  <a:cubicBezTo>
                    <a:pt x="1858455" y="1588839"/>
                    <a:pt x="1930755" y="1539859"/>
                    <a:pt x="1942416" y="1539859"/>
                  </a:cubicBezTo>
                  <a:cubicBezTo>
                    <a:pt x="1951746" y="1539859"/>
                    <a:pt x="1984397" y="1572511"/>
                    <a:pt x="1979732" y="1579509"/>
                  </a:cubicBezTo>
                  <a:lnTo>
                    <a:pt x="1846794" y="1619157"/>
                  </a:lnTo>
                  <a:cubicBezTo>
                    <a:pt x="1846794" y="1630818"/>
                    <a:pt x="1865452" y="1621488"/>
                    <a:pt x="1874780" y="1628486"/>
                  </a:cubicBezTo>
                  <a:cubicBezTo>
                    <a:pt x="1884110" y="1633150"/>
                    <a:pt x="1874780" y="1642479"/>
                    <a:pt x="1872448" y="1642479"/>
                  </a:cubicBezTo>
                  <a:cubicBezTo>
                    <a:pt x="1844461" y="1649477"/>
                    <a:pt x="1783822" y="1626155"/>
                    <a:pt x="1783822" y="1586504"/>
                  </a:cubicBezTo>
                  <a:cubicBezTo>
                    <a:pt x="1783822" y="1572511"/>
                    <a:pt x="1802480" y="1567848"/>
                    <a:pt x="1807145" y="1572511"/>
                  </a:cubicBezTo>
                  <a:cubicBezTo>
                    <a:pt x="1807145" y="1572511"/>
                    <a:pt x="1807145" y="1591171"/>
                    <a:pt x="1816473" y="1600500"/>
                  </a:cubicBezTo>
                  <a:cubicBezTo>
                    <a:pt x="1835132" y="1628486"/>
                    <a:pt x="1835132" y="1605164"/>
                    <a:pt x="1844461" y="1595834"/>
                  </a:cubicBezTo>
                  <a:close/>
                  <a:moveTo>
                    <a:pt x="2049700" y="1831392"/>
                  </a:moveTo>
                  <a:cubicBezTo>
                    <a:pt x="2021714" y="1843054"/>
                    <a:pt x="1998391" y="1866376"/>
                    <a:pt x="1965739" y="1866376"/>
                  </a:cubicBezTo>
                  <a:cubicBezTo>
                    <a:pt x="1954078" y="1866376"/>
                    <a:pt x="1898103" y="1857050"/>
                    <a:pt x="1923758" y="1843054"/>
                  </a:cubicBezTo>
                  <a:cubicBezTo>
                    <a:pt x="1944748" y="1831392"/>
                    <a:pt x="2000723" y="1815068"/>
                    <a:pt x="2024046" y="1810404"/>
                  </a:cubicBezTo>
                  <a:cubicBezTo>
                    <a:pt x="2033375" y="1810404"/>
                    <a:pt x="2045037" y="1815068"/>
                    <a:pt x="2049700" y="1815068"/>
                  </a:cubicBezTo>
                  <a:cubicBezTo>
                    <a:pt x="2052033" y="1815068"/>
                    <a:pt x="2068359" y="1782415"/>
                    <a:pt x="2087017" y="1791745"/>
                  </a:cubicBezTo>
                  <a:lnTo>
                    <a:pt x="2049700" y="1831392"/>
                  </a:lnTo>
                  <a:close/>
                  <a:moveTo>
                    <a:pt x="2075356" y="1528198"/>
                  </a:moveTo>
                  <a:cubicBezTo>
                    <a:pt x="2061361" y="1556187"/>
                    <a:pt x="2038039" y="1577178"/>
                    <a:pt x="2014716" y="1598166"/>
                  </a:cubicBezTo>
                  <a:cubicBezTo>
                    <a:pt x="2021714" y="1572511"/>
                    <a:pt x="2038039" y="1551520"/>
                    <a:pt x="2049700" y="1528198"/>
                  </a:cubicBezTo>
                  <a:cubicBezTo>
                    <a:pt x="2056698" y="1511873"/>
                    <a:pt x="2047368" y="1502543"/>
                    <a:pt x="2073023" y="1509541"/>
                  </a:cubicBezTo>
                  <a:cubicBezTo>
                    <a:pt x="2077687" y="1509541"/>
                    <a:pt x="2089349" y="1518871"/>
                    <a:pt x="2091682" y="1521203"/>
                  </a:cubicBezTo>
                  <a:cubicBezTo>
                    <a:pt x="2105675" y="1537527"/>
                    <a:pt x="2103343" y="1563182"/>
                    <a:pt x="2082352" y="1570180"/>
                  </a:cubicBezTo>
                  <a:cubicBezTo>
                    <a:pt x="2080021" y="1565516"/>
                    <a:pt x="2089349" y="1521203"/>
                    <a:pt x="2073023" y="1530532"/>
                  </a:cubicBezTo>
                  <a:close/>
                  <a:moveTo>
                    <a:pt x="1660212" y="1388262"/>
                  </a:moveTo>
                  <a:cubicBezTo>
                    <a:pt x="1629892" y="1399923"/>
                    <a:pt x="1599573" y="1409253"/>
                    <a:pt x="1566922" y="1406921"/>
                  </a:cubicBezTo>
                  <a:lnTo>
                    <a:pt x="1688199" y="1360276"/>
                  </a:lnTo>
                  <a:cubicBezTo>
                    <a:pt x="1702193" y="1374269"/>
                    <a:pt x="1669541" y="1383598"/>
                    <a:pt x="1660212" y="1388262"/>
                  </a:cubicBezTo>
                  <a:close/>
                  <a:moveTo>
                    <a:pt x="1968071" y="1894365"/>
                  </a:moveTo>
                  <a:lnTo>
                    <a:pt x="2047368" y="1859381"/>
                  </a:lnTo>
                  <a:cubicBezTo>
                    <a:pt x="2061361" y="1873374"/>
                    <a:pt x="1979732" y="1906027"/>
                    <a:pt x="1968071" y="1894365"/>
                  </a:cubicBezTo>
                  <a:close/>
                  <a:moveTo>
                    <a:pt x="2052033" y="1299637"/>
                  </a:moveTo>
                  <a:cubicBezTo>
                    <a:pt x="2033375" y="1306632"/>
                    <a:pt x="2010053" y="1311299"/>
                    <a:pt x="1989062" y="1308967"/>
                  </a:cubicBezTo>
                  <a:cubicBezTo>
                    <a:pt x="1986730" y="1292639"/>
                    <a:pt x="1993726" y="1299637"/>
                    <a:pt x="2003055" y="1297306"/>
                  </a:cubicBezTo>
                  <a:cubicBezTo>
                    <a:pt x="2021714" y="1292639"/>
                    <a:pt x="2045037" y="1287976"/>
                    <a:pt x="2063694" y="1285644"/>
                  </a:cubicBezTo>
                  <a:cubicBezTo>
                    <a:pt x="2066026" y="1301969"/>
                    <a:pt x="2061361" y="1294971"/>
                    <a:pt x="2052033" y="1299637"/>
                  </a:cubicBezTo>
                  <a:close/>
                  <a:moveTo>
                    <a:pt x="2007719" y="1509541"/>
                  </a:moveTo>
                  <a:cubicBezTo>
                    <a:pt x="2026377" y="1525866"/>
                    <a:pt x="1944748" y="1532864"/>
                    <a:pt x="1937751" y="1532864"/>
                  </a:cubicBezTo>
                  <a:cubicBezTo>
                    <a:pt x="1951746" y="1507210"/>
                    <a:pt x="1984397" y="1521203"/>
                    <a:pt x="2007719" y="1509541"/>
                  </a:cubicBezTo>
                  <a:close/>
                  <a:moveTo>
                    <a:pt x="1021171" y="1703118"/>
                  </a:moveTo>
                  <a:cubicBezTo>
                    <a:pt x="997848" y="1738102"/>
                    <a:pt x="1060820" y="1721777"/>
                    <a:pt x="1058486" y="1752098"/>
                  </a:cubicBezTo>
                  <a:cubicBezTo>
                    <a:pt x="948871" y="1731107"/>
                    <a:pt x="962864" y="1637816"/>
                    <a:pt x="1044493" y="1588839"/>
                  </a:cubicBezTo>
                  <a:cubicBezTo>
                    <a:pt x="972194" y="1528198"/>
                    <a:pt x="853247" y="1469891"/>
                    <a:pt x="899893" y="1628486"/>
                  </a:cubicBezTo>
                  <a:cubicBezTo>
                    <a:pt x="918550" y="1689125"/>
                    <a:pt x="955867" y="1747431"/>
                    <a:pt x="1021171" y="1766091"/>
                  </a:cubicBezTo>
                  <a:cubicBezTo>
                    <a:pt x="1042162" y="1773086"/>
                    <a:pt x="1095804" y="1766091"/>
                    <a:pt x="1081809" y="1796408"/>
                  </a:cubicBezTo>
                  <a:cubicBezTo>
                    <a:pt x="972194" y="1810404"/>
                    <a:pt x="864909" y="1670468"/>
                    <a:pt x="867242" y="1570180"/>
                  </a:cubicBezTo>
                  <a:cubicBezTo>
                    <a:pt x="869573" y="1430244"/>
                    <a:pt x="1051490" y="1556187"/>
                    <a:pt x="1098135" y="1605164"/>
                  </a:cubicBezTo>
                  <a:cubicBezTo>
                    <a:pt x="1137784" y="1647146"/>
                    <a:pt x="1105132" y="1663470"/>
                    <a:pt x="1109797" y="1689125"/>
                  </a:cubicBezTo>
                  <a:cubicBezTo>
                    <a:pt x="1112130" y="1705452"/>
                    <a:pt x="1179765" y="1766091"/>
                    <a:pt x="1165772" y="1780084"/>
                  </a:cubicBezTo>
                  <a:cubicBezTo>
                    <a:pt x="1095804" y="1787082"/>
                    <a:pt x="1072481" y="1712447"/>
                    <a:pt x="1056155" y="1658807"/>
                  </a:cubicBezTo>
                  <a:lnTo>
                    <a:pt x="1021171" y="1700786"/>
                  </a:lnTo>
                  <a:close/>
                  <a:moveTo>
                    <a:pt x="2047368" y="3942094"/>
                  </a:moveTo>
                  <a:cubicBezTo>
                    <a:pt x="1942416" y="4086696"/>
                    <a:pt x="1818806" y="4221966"/>
                    <a:pt x="1746505" y="4387560"/>
                  </a:cubicBezTo>
                  <a:cubicBezTo>
                    <a:pt x="1720851" y="4445866"/>
                    <a:pt x="1713854" y="4494843"/>
                    <a:pt x="1697528" y="4553150"/>
                  </a:cubicBezTo>
                  <a:cubicBezTo>
                    <a:pt x="1688199" y="4590466"/>
                    <a:pt x="1671874" y="4641774"/>
                    <a:pt x="1669541" y="4564811"/>
                  </a:cubicBezTo>
                  <a:cubicBezTo>
                    <a:pt x="1653215" y="4567143"/>
                    <a:pt x="1639221" y="4571806"/>
                    <a:pt x="1622895" y="4576473"/>
                  </a:cubicBezTo>
                  <a:cubicBezTo>
                    <a:pt x="1653215" y="4389891"/>
                    <a:pt x="1739509" y="4210305"/>
                    <a:pt x="1844461" y="4054044"/>
                  </a:cubicBezTo>
                  <a:cubicBezTo>
                    <a:pt x="1863119" y="4026058"/>
                    <a:pt x="1951746" y="3902447"/>
                    <a:pt x="1975069" y="3893117"/>
                  </a:cubicBezTo>
                  <a:cubicBezTo>
                    <a:pt x="1982065" y="3890785"/>
                    <a:pt x="1986730" y="3893117"/>
                    <a:pt x="1984397" y="3902447"/>
                  </a:cubicBezTo>
                  <a:cubicBezTo>
                    <a:pt x="1944748" y="3942094"/>
                    <a:pt x="1909764" y="3984076"/>
                    <a:pt x="1877113" y="4030721"/>
                  </a:cubicBezTo>
                  <a:cubicBezTo>
                    <a:pt x="1858455" y="4058708"/>
                    <a:pt x="1830468" y="4091360"/>
                    <a:pt x="1823471" y="4124012"/>
                  </a:cubicBezTo>
                  <a:cubicBezTo>
                    <a:pt x="1865452" y="4086696"/>
                    <a:pt x="1975069" y="3897783"/>
                    <a:pt x="2021714" y="3888454"/>
                  </a:cubicBezTo>
                  <a:cubicBezTo>
                    <a:pt x="2031042" y="3888454"/>
                    <a:pt x="2031042" y="3888454"/>
                    <a:pt x="2031042" y="3897783"/>
                  </a:cubicBezTo>
                  <a:cubicBezTo>
                    <a:pt x="2024046" y="3914108"/>
                    <a:pt x="1895771" y="4077367"/>
                    <a:pt x="1905100" y="4084365"/>
                  </a:cubicBezTo>
                  <a:cubicBezTo>
                    <a:pt x="1914429" y="4091360"/>
                    <a:pt x="1919094" y="4082030"/>
                    <a:pt x="1923758" y="4077367"/>
                  </a:cubicBezTo>
                  <a:cubicBezTo>
                    <a:pt x="1961074" y="4042383"/>
                    <a:pt x="1993726" y="3988740"/>
                    <a:pt x="2031042" y="3949092"/>
                  </a:cubicBezTo>
                  <a:cubicBezTo>
                    <a:pt x="2035707" y="3944429"/>
                    <a:pt x="2042703" y="3918771"/>
                    <a:pt x="2047368" y="3942094"/>
                  </a:cubicBezTo>
                  <a:close/>
                  <a:moveTo>
                    <a:pt x="3234493" y="3214428"/>
                  </a:moveTo>
                  <a:cubicBezTo>
                    <a:pt x="3243821" y="3251744"/>
                    <a:pt x="3267144" y="3433662"/>
                    <a:pt x="3250817" y="3456984"/>
                  </a:cubicBezTo>
                  <a:cubicBezTo>
                    <a:pt x="3246154" y="3461648"/>
                    <a:pt x="3234493" y="3466314"/>
                    <a:pt x="3229828" y="3461648"/>
                  </a:cubicBezTo>
                  <a:cubicBezTo>
                    <a:pt x="3229828" y="3461648"/>
                    <a:pt x="3236824" y="3442991"/>
                    <a:pt x="3234493" y="3435993"/>
                  </a:cubicBezTo>
                  <a:cubicBezTo>
                    <a:pt x="3229828" y="3282064"/>
                    <a:pt x="3192511" y="3128135"/>
                    <a:pt x="3096888" y="3004524"/>
                  </a:cubicBezTo>
                  <a:cubicBezTo>
                    <a:pt x="3061904" y="2960210"/>
                    <a:pt x="3010594" y="2920563"/>
                    <a:pt x="2975610" y="2878581"/>
                  </a:cubicBezTo>
                  <a:cubicBezTo>
                    <a:pt x="2966282" y="2866920"/>
                    <a:pt x="2956952" y="2855258"/>
                    <a:pt x="2959284" y="2841265"/>
                  </a:cubicBezTo>
                  <a:cubicBezTo>
                    <a:pt x="3089892" y="2922895"/>
                    <a:pt x="3197176" y="3062831"/>
                    <a:pt x="3232160" y="3214428"/>
                  </a:cubicBezTo>
                  <a:close/>
                  <a:moveTo>
                    <a:pt x="848582" y="2794620"/>
                  </a:moveTo>
                  <a:cubicBezTo>
                    <a:pt x="853247" y="2803950"/>
                    <a:pt x="855580" y="2810945"/>
                    <a:pt x="853247" y="2820274"/>
                  </a:cubicBezTo>
                  <a:cubicBezTo>
                    <a:pt x="822928" y="2827272"/>
                    <a:pt x="827593" y="2813279"/>
                    <a:pt x="815931" y="2803950"/>
                  </a:cubicBezTo>
                  <a:cubicBezTo>
                    <a:pt x="780947" y="2775961"/>
                    <a:pt x="738967" y="2740977"/>
                    <a:pt x="715644" y="2701329"/>
                  </a:cubicBezTo>
                  <a:cubicBezTo>
                    <a:pt x="715644" y="2701329"/>
                    <a:pt x="738967" y="2687336"/>
                    <a:pt x="743630" y="2685005"/>
                  </a:cubicBezTo>
                  <a:cubicBezTo>
                    <a:pt x="769286" y="2722320"/>
                    <a:pt x="825260" y="2757304"/>
                    <a:pt x="846251" y="2796952"/>
                  </a:cubicBezTo>
                  <a:close/>
                  <a:moveTo>
                    <a:pt x="850915" y="4646441"/>
                  </a:moveTo>
                  <a:cubicBezTo>
                    <a:pt x="860244" y="4672095"/>
                    <a:pt x="850915" y="4676758"/>
                    <a:pt x="827593" y="4665097"/>
                  </a:cubicBezTo>
                  <a:cubicBezTo>
                    <a:pt x="811267" y="4655770"/>
                    <a:pt x="741299" y="4534491"/>
                    <a:pt x="724972" y="4508836"/>
                  </a:cubicBezTo>
                  <a:cubicBezTo>
                    <a:pt x="648008" y="4378230"/>
                    <a:pt x="578040" y="4238294"/>
                    <a:pt x="522065" y="4098358"/>
                  </a:cubicBezTo>
                  <a:cubicBezTo>
                    <a:pt x="501075" y="4044714"/>
                    <a:pt x="487081" y="3979413"/>
                    <a:pt x="461427" y="3928101"/>
                  </a:cubicBezTo>
                  <a:cubicBezTo>
                    <a:pt x="433439" y="3867463"/>
                    <a:pt x="379797" y="3799826"/>
                    <a:pt x="347145" y="3739188"/>
                  </a:cubicBezTo>
                  <a:cubicBezTo>
                    <a:pt x="232865" y="3533947"/>
                    <a:pt x="137241" y="3305387"/>
                    <a:pt x="22961" y="3104813"/>
                  </a:cubicBezTo>
                  <a:cubicBezTo>
                    <a:pt x="13631" y="3088485"/>
                    <a:pt x="-12023" y="3076824"/>
                    <a:pt x="6634" y="3062831"/>
                  </a:cubicBezTo>
                  <a:cubicBezTo>
                    <a:pt x="25292" y="3072160"/>
                    <a:pt x="32289" y="3086153"/>
                    <a:pt x="43950" y="3100146"/>
                  </a:cubicBezTo>
                  <a:cubicBezTo>
                    <a:pt x="158232" y="3270403"/>
                    <a:pt x="232865" y="3512959"/>
                    <a:pt x="351810" y="3676218"/>
                  </a:cubicBezTo>
                  <a:cubicBezTo>
                    <a:pt x="368136" y="3697206"/>
                    <a:pt x="393790" y="3715865"/>
                    <a:pt x="407785" y="3739188"/>
                  </a:cubicBezTo>
                  <a:lnTo>
                    <a:pt x="433439" y="3715865"/>
                  </a:lnTo>
                  <a:lnTo>
                    <a:pt x="440436" y="3767174"/>
                  </a:lnTo>
                  <a:cubicBezTo>
                    <a:pt x="449765" y="3767174"/>
                    <a:pt x="447434" y="3760179"/>
                    <a:pt x="445100" y="3753181"/>
                  </a:cubicBezTo>
                  <a:cubicBezTo>
                    <a:pt x="440436" y="3690211"/>
                    <a:pt x="426443" y="3594589"/>
                    <a:pt x="412450" y="3533947"/>
                  </a:cubicBezTo>
                  <a:cubicBezTo>
                    <a:pt x="400788" y="3487302"/>
                    <a:pt x="379797" y="3440657"/>
                    <a:pt x="354143" y="3398678"/>
                  </a:cubicBezTo>
                  <a:cubicBezTo>
                    <a:pt x="361139" y="3391680"/>
                    <a:pt x="382129" y="3417334"/>
                    <a:pt x="384462" y="3422000"/>
                  </a:cubicBezTo>
                  <a:cubicBezTo>
                    <a:pt x="398455" y="3440657"/>
                    <a:pt x="424111" y="3512959"/>
                    <a:pt x="431107" y="3536282"/>
                  </a:cubicBezTo>
                  <a:cubicBezTo>
                    <a:pt x="452097" y="3622575"/>
                    <a:pt x="452097" y="3718197"/>
                    <a:pt x="468423" y="3806824"/>
                  </a:cubicBezTo>
                  <a:cubicBezTo>
                    <a:pt x="477753" y="3806824"/>
                    <a:pt x="480084" y="3809156"/>
                    <a:pt x="480084" y="3797495"/>
                  </a:cubicBezTo>
                  <a:cubicBezTo>
                    <a:pt x="473088" y="3676218"/>
                    <a:pt x="454430" y="3557270"/>
                    <a:pt x="417113" y="3440657"/>
                  </a:cubicBezTo>
                  <a:cubicBezTo>
                    <a:pt x="445100" y="3408007"/>
                    <a:pt x="456762" y="3466314"/>
                    <a:pt x="466091" y="3489637"/>
                  </a:cubicBezTo>
                  <a:cubicBezTo>
                    <a:pt x="487081" y="3554938"/>
                    <a:pt x="498742" y="3627238"/>
                    <a:pt x="503407" y="3697206"/>
                  </a:cubicBezTo>
                  <a:cubicBezTo>
                    <a:pt x="512737" y="3697206"/>
                    <a:pt x="512737" y="3683213"/>
                    <a:pt x="512737" y="3676218"/>
                  </a:cubicBezTo>
                  <a:cubicBezTo>
                    <a:pt x="512737" y="3641234"/>
                    <a:pt x="501075" y="3594589"/>
                    <a:pt x="496411" y="3557270"/>
                  </a:cubicBezTo>
                  <a:cubicBezTo>
                    <a:pt x="501075" y="3557270"/>
                    <a:pt x="512737" y="3557270"/>
                    <a:pt x="512737" y="3557270"/>
                  </a:cubicBezTo>
                  <a:cubicBezTo>
                    <a:pt x="517402" y="3561936"/>
                    <a:pt x="529063" y="3697206"/>
                    <a:pt x="529063" y="3715865"/>
                  </a:cubicBezTo>
                  <a:cubicBezTo>
                    <a:pt x="531395" y="3785833"/>
                    <a:pt x="519733" y="3867463"/>
                    <a:pt x="536059" y="3932767"/>
                  </a:cubicBezTo>
                  <a:cubicBezTo>
                    <a:pt x="550052" y="3988740"/>
                    <a:pt x="585036" y="4061042"/>
                    <a:pt x="606027" y="4114683"/>
                  </a:cubicBezTo>
                  <a:cubicBezTo>
                    <a:pt x="657338" y="4240626"/>
                    <a:pt x="713311" y="4373564"/>
                    <a:pt x="769286" y="4494843"/>
                  </a:cubicBezTo>
                  <a:cubicBezTo>
                    <a:pt x="787944" y="4536822"/>
                    <a:pt x="834589" y="4604459"/>
                    <a:pt x="846251" y="4641774"/>
                  </a:cubicBezTo>
                  <a:close/>
                  <a:moveTo>
                    <a:pt x="717976" y="3216760"/>
                  </a:moveTo>
                  <a:cubicBezTo>
                    <a:pt x="703983" y="3174781"/>
                    <a:pt x="673662" y="3095483"/>
                    <a:pt x="652673" y="3060499"/>
                  </a:cubicBezTo>
                  <a:cubicBezTo>
                    <a:pt x="652673" y="3067494"/>
                    <a:pt x="657338" y="3095483"/>
                    <a:pt x="648008" y="3095483"/>
                  </a:cubicBezTo>
                  <a:lnTo>
                    <a:pt x="636347" y="3037176"/>
                  </a:lnTo>
                  <a:lnTo>
                    <a:pt x="652673" y="3060499"/>
                  </a:lnTo>
                  <a:cubicBezTo>
                    <a:pt x="652673" y="3046506"/>
                    <a:pt x="650340" y="3039508"/>
                    <a:pt x="643343" y="3025515"/>
                  </a:cubicBezTo>
                  <a:cubicBezTo>
                    <a:pt x="634015" y="3006856"/>
                    <a:pt x="606027" y="2995194"/>
                    <a:pt x="629350" y="2964877"/>
                  </a:cubicBezTo>
                  <a:cubicBezTo>
                    <a:pt x="634015" y="2957879"/>
                    <a:pt x="755292" y="2892574"/>
                    <a:pt x="778614" y="2878581"/>
                  </a:cubicBezTo>
                  <a:cubicBezTo>
                    <a:pt x="799605" y="2864588"/>
                    <a:pt x="822928" y="2852927"/>
                    <a:pt x="836921" y="2829604"/>
                  </a:cubicBezTo>
                  <a:cubicBezTo>
                    <a:pt x="748295" y="2850595"/>
                    <a:pt x="671331" y="2899572"/>
                    <a:pt x="585036" y="2925226"/>
                  </a:cubicBezTo>
                  <a:cubicBezTo>
                    <a:pt x="568710" y="2932224"/>
                    <a:pt x="561714" y="2943886"/>
                    <a:pt x="566379" y="2962542"/>
                  </a:cubicBezTo>
                  <a:cubicBezTo>
                    <a:pt x="673662" y="3291394"/>
                    <a:pt x="762290" y="3629573"/>
                    <a:pt x="876570" y="3956090"/>
                  </a:cubicBezTo>
                  <a:cubicBezTo>
                    <a:pt x="934877" y="4119349"/>
                    <a:pt x="1049158" y="4359571"/>
                    <a:pt x="1149445" y="4497175"/>
                  </a:cubicBezTo>
                  <a:cubicBezTo>
                    <a:pt x="1168103" y="4522829"/>
                    <a:pt x="1191426" y="4543820"/>
                    <a:pt x="1221745" y="4518166"/>
                  </a:cubicBezTo>
                  <a:lnTo>
                    <a:pt x="1221745" y="4506505"/>
                  </a:lnTo>
                  <a:cubicBezTo>
                    <a:pt x="1102800" y="4280273"/>
                    <a:pt x="967529" y="4061042"/>
                    <a:pt x="888231" y="3818486"/>
                  </a:cubicBezTo>
                  <a:cubicBezTo>
                    <a:pt x="822928" y="3622575"/>
                    <a:pt x="780947" y="3412671"/>
                    <a:pt x="715644" y="3216760"/>
                  </a:cubicBezTo>
                  <a:close/>
                  <a:moveTo>
                    <a:pt x="689988" y="3200435"/>
                  </a:moveTo>
                  <a:lnTo>
                    <a:pt x="682992" y="3158453"/>
                  </a:lnTo>
                  <a:lnTo>
                    <a:pt x="708646" y="3216760"/>
                  </a:lnTo>
                  <a:lnTo>
                    <a:pt x="713311" y="3244749"/>
                  </a:lnTo>
                  <a:lnTo>
                    <a:pt x="692322" y="3200435"/>
                  </a:lnTo>
                  <a:close/>
                  <a:moveTo>
                    <a:pt x="559382" y="4616120"/>
                  </a:moveTo>
                  <a:cubicBezTo>
                    <a:pt x="575708" y="4632448"/>
                    <a:pt x="582705" y="4653436"/>
                    <a:pt x="552386" y="4653436"/>
                  </a:cubicBezTo>
                  <a:cubicBezTo>
                    <a:pt x="496411" y="4653436"/>
                    <a:pt x="363471" y="4574141"/>
                    <a:pt x="312161" y="4543820"/>
                  </a:cubicBezTo>
                  <a:cubicBezTo>
                    <a:pt x="270180" y="4518166"/>
                    <a:pt x="232865" y="4485514"/>
                    <a:pt x="188551" y="4464523"/>
                  </a:cubicBezTo>
                  <a:cubicBezTo>
                    <a:pt x="188551" y="4455193"/>
                    <a:pt x="186219" y="4452861"/>
                    <a:pt x="195548" y="4452861"/>
                  </a:cubicBezTo>
                  <a:cubicBezTo>
                    <a:pt x="253854" y="4459859"/>
                    <a:pt x="314494" y="4518166"/>
                    <a:pt x="368136" y="4543820"/>
                  </a:cubicBezTo>
                  <a:cubicBezTo>
                    <a:pt x="391459" y="4555482"/>
                    <a:pt x="438104" y="4576473"/>
                    <a:pt x="461427" y="4583468"/>
                  </a:cubicBezTo>
                  <a:cubicBezTo>
                    <a:pt x="466091" y="4583468"/>
                    <a:pt x="482418" y="4588134"/>
                    <a:pt x="480084" y="4578804"/>
                  </a:cubicBezTo>
                  <a:cubicBezTo>
                    <a:pt x="377466" y="4518166"/>
                    <a:pt x="272514" y="4436537"/>
                    <a:pt x="183886" y="4354907"/>
                  </a:cubicBezTo>
                  <a:cubicBezTo>
                    <a:pt x="123248" y="4298932"/>
                    <a:pt x="71938" y="4238294"/>
                    <a:pt x="20628" y="4172989"/>
                  </a:cubicBezTo>
                  <a:cubicBezTo>
                    <a:pt x="13631" y="4156664"/>
                    <a:pt x="48615" y="4165994"/>
                    <a:pt x="53280" y="4168326"/>
                  </a:cubicBezTo>
                  <a:cubicBezTo>
                    <a:pt x="76603" y="4177655"/>
                    <a:pt x="116251" y="4245289"/>
                    <a:pt x="137241" y="4266280"/>
                  </a:cubicBezTo>
                  <a:cubicBezTo>
                    <a:pt x="207209" y="4343246"/>
                    <a:pt x="295836" y="4417877"/>
                    <a:pt x="375132" y="4480850"/>
                  </a:cubicBezTo>
                  <a:cubicBezTo>
                    <a:pt x="426443" y="4520498"/>
                    <a:pt x="515068" y="4571806"/>
                    <a:pt x="557049" y="4613788"/>
                  </a:cubicBezTo>
                  <a:close/>
                  <a:moveTo>
                    <a:pt x="701650" y="4513500"/>
                  </a:moveTo>
                  <a:cubicBezTo>
                    <a:pt x="706315" y="4529827"/>
                    <a:pt x="722641" y="4576473"/>
                    <a:pt x="692322" y="4569475"/>
                  </a:cubicBezTo>
                  <a:cubicBezTo>
                    <a:pt x="489414" y="4420209"/>
                    <a:pt x="288838" y="4270946"/>
                    <a:pt x="76603" y="4133342"/>
                  </a:cubicBezTo>
                  <a:lnTo>
                    <a:pt x="67273" y="4110019"/>
                  </a:lnTo>
                  <a:cubicBezTo>
                    <a:pt x="76603" y="4110019"/>
                    <a:pt x="85932" y="4110019"/>
                    <a:pt x="95260" y="4112351"/>
                  </a:cubicBezTo>
                  <a:cubicBezTo>
                    <a:pt x="123248" y="4124012"/>
                    <a:pt x="211874" y="4189317"/>
                    <a:pt x="242193" y="4210305"/>
                  </a:cubicBezTo>
                  <a:cubicBezTo>
                    <a:pt x="389127" y="4310594"/>
                    <a:pt x="529063" y="4420209"/>
                    <a:pt x="673662" y="4522829"/>
                  </a:cubicBezTo>
                  <a:lnTo>
                    <a:pt x="552386" y="4284939"/>
                  </a:lnTo>
                  <a:cubicBezTo>
                    <a:pt x="547721" y="4270946"/>
                    <a:pt x="573375" y="4275610"/>
                    <a:pt x="580372" y="4280273"/>
                  </a:cubicBezTo>
                  <a:cubicBezTo>
                    <a:pt x="592033" y="4287271"/>
                    <a:pt x="689988" y="4490177"/>
                    <a:pt x="696985" y="4513500"/>
                  </a:cubicBezTo>
                  <a:close/>
                  <a:moveTo>
                    <a:pt x="664334" y="2983533"/>
                  </a:moveTo>
                  <a:cubicBezTo>
                    <a:pt x="652673" y="2999861"/>
                    <a:pt x="664334" y="3018517"/>
                    <a:pt x="668999" y="3037176"/>
                  </a:cubicBezTo>
                  <a:cubicBezTo>
                    <a:pt x="668999" y="3044171"/>
                    <a:pt x="675995" y="3058167"/>
                    <a:pt x="664334" y="3055833"/>
                  </a:cubicBezTo>
                  <a:cubicBezTo>
                    <a:pt x="659669" y="3039508"/>
                    <a:pt x="634015" y="2988199"/>
                    <a:pt x="643343" y="2976538"/>
                  </a:cubicBezTo>
                  <a:lnTo>
                    <a:pt x="892896" y="2822606"/>
                  </a:lnTo>
                  <a:cubicBezTo>
                    <a:pt x="904557" y="2834267"/>
                    <a:pt x="862577" y="2862256"/>
                    <a:pt x="855580" y="2866920"/>
                  </a:cubicBezTo>
                  <a:cubicBezTo>
                    <a:pt x="797274" y="2911233"/>
                    <a:pt x="724972" y="2941554"/>
                    <a:pt x="664334" y="2985865"/>
                  </a:cubicBezTo>
                  <a:close/>
                  <a:moveTo>
                    <a:pt x="2926633" y="3557270"/>
                  </a:moveTo>
                  <a:cubicBezTo>
                    <a:pt x="2959284" y="3445323"/>
                    <a:pt x="2989605" y="3317048"/>
                    <a:pt x="2996601" y="3200435"/>
                  </a:cubicBezTo>
                  <a:cubicBezTo>
                    <a:pt x="2996601" y="3160785"/>
                    <a:pt x="3003598" y="3062831"/>
                    <a:pt x="2942959" y="3118806"/>
                  </a:cubicBezTo>
                  <a:cubicBezTo>
                    <a:pt x="2900977" y="3275066"/>
                    <a:pt x="2889316" y="3449986"/>
                    <a:pt x="2791362" y="3582927"/>
                  </a:cubicBezTo>
                  <a:lnTo>
                    <a:pt x="2663087" y="3361362"/>
                  </a:lnTo>
                  <a:cubicBezTo>
                    <a:pt x="2721394" y="3272735"/>
                    <a:pt x="2791362" y="3177112"/>
                    <a:pt x="2814685" y="3072160"/>
                  </a:cubicBezTo>
                  <a:cubicBezTo>
                    <a:pt x="2814685" y="3067494"/>
                    <a:pt x="2821681" y="3053501"/>
                    <a:pt x="2812352" y="3055833"/>
                  </a:cubicBezTo>
                  <a:cubicBezTo>
                    <a:pt x="2800690" y="3076824"/>
                    <a:pt x="2770371" y="3179444"/>
                    <a:pt x="2761041" y="3188774"/>
                  </a:cubicBezTo>
                  <a:cubicBezTo>
                    <a:pt x="2754045" y="3193437"/>
                    <a:pt x="2749380" y="3188774"/>
                    <a:pt x="2749380" y="3179444"/>
                  </a:cubicBezTo>
                  <a:cubicBezTo>
                    <a:pt x="2749380" y="3144460"/>
                    <a:pt x="2777368" y="3095483"/>
                    <a:pt x="2786697" y="3062831"/>
                  </a:cubicBezTo>
                  <a:cubicBezTo>
                    <a:pt x="2796025" y="3027847"/>
                    <a:pt x="2803023" y="2983533"/>
                    <a:pt x="2807687" y="2948549"/>
                  </a:cubicBezTo>
                  <a:cubicBezTo>
                    <a:pt x="2789029" y="2948549"/>
                    <a:pt x="2784364" y="2988199"/>
                    <a:pt x="2779701" y="3004524"/>
                  </a:cubicBezTo>
                  <a:cubicBezTo>
                    <a:pt x="2770371" y="3039508"/>
                    <a:pt x="2775036" y="3030178"/>
                    <a:pt x="2772703" y="3060499"/>
                  </a:cubicBezTo>
                  <a:cubicBezTo>
                    <a:pt x="2772703" y="3090817"/>
                    <a:pt x="2709733" y="3251744"/>
                    <a:pt x="2693407" y="3279733"/>
                  </a:cubicBezTo>
                  <a:cubicBezTo>
                    <a:pt x="2688742" y="3286728"/>
                    <a:pt x="2684077" y="3293726"/>
                    <a:pt x="2677080" y="3298389"/>
                  </a:cubicBezTo>
                  <a:cubicBezTo>
                    <a:pt x="2672416" y="3298389"/>
                    <a:pt x="2672416" y="3293726"/>
                    <a:pt x="2674749" y="3289059"/>
                  </a:cubicBezTo>
                  <a:cubicBezTo>
                    <a:pt x="2693407" y="3228421"/>
                    <a:pt x="2730722" y="3165451"/>
                    <a:pt x="2747048" y="3104813"/>
                  </a:cubicBezTo>
                  <a:cubicBezTo>
                    <a:pt x="2747048" y="3100146"/>
                    <a:pt x="2751713" y="3083822"/>
                    <a:pt x="2742384" y="3086153"/>
                  </a:cubicBezTo>
                  <a:lnTo>
                    <a:pt x="2639765" y="3333373"/>
                  </a:lnTo>
                  <a:cubicBezTo>
                    <a:pt x="2572128" y="3270403"/>
                    <a:pt x="2551137" y="3179444"/>
                    <a:pt x="2518487" y="3095483"/>
                  </a:cubicBezTo>
                  <a:cubicBezTo>
                    <a:pt x="2518487" y="3086153"/>
                    <a:pt x="2506825" y="3088485"/>
                    <a:pt x="2502160" y="3086153"/>
                  </a:cubicBezTo>
                  <a:cubicBezTo>
                    <a:pt x="2502160" y="3121137"/>
                    <a:pt x="2527815" y="3160785"/>
                    <a:pt x="2518487" y="3195769"/>
                  </a:cubicBezTo>
                  <a:cubicBezTo>
                    <a:pt x="2576793" y="3289059"/>
                    <a:pt x="2635100" y="3382350"/>
                    <a:pt x="2693407" y="3477975"/>
                  </a:cubicBezTo>
                  <a:cubicBezTo>
                    <a:pt x="2721394" y="3524621"/>
                    <a:pt x="2768039" y="3582927"/>
                    <a:pt x="2765706" y="3638899"/>
                  </a:cubicBezTo>
                  <a:lnTo>
                    <a:pt x="2779701" y="3622575"/>
                  </a:lnTo>
                  <a:cubicBezTo>
                    <a:pt x="2786697" y="3622575"/>
                    <a:pt x="2789029" y="3627238"/>
                    <a:pt x="2793694" y="3631904"/>
                  </a:cubicBezTo>
                  <a:cubicBezTo>
                    <a:pt x="2831009" y="3683213"/>
                    <a:pt x="2858997" y="3795163"/>
                    <a:pt x="2891649" y="3837142"/>
                  </a:cubicBezTo>
                  <a:cubicBezTo>
                    <a:pt x="2903311" y="3853470"/>
                    <a:pt x="3019924" y="3883787"/>
                    <a:pt x="3005929" y="3928101"/>
                  </a:cubicBezTo>
                  <a:cubicBezTo>
                    <a:pt x="3005929" y="3932767"/>
                    <a:pt x="2980275" y="3949092"/>
                    <a:pt x="2977943" y="3974746"/>
                  </a:cubicBezTo>
                  <a:cubicBezTo>
                    <a:pt x="2975610" y="4019060"/>
                    <a:pt x="3038582" y="3972415"/>
                    <a:pt x="3040913" y="3960753"/>
                  </a:cubicBezTo>
                  <a:cubicBezTo>
                    <a:pt x="3043247" y="3946760"/>
                    <a:pt x="3038582" y="3883787"/>
                    <a:pt x="3033917" y="3865131"/>
                  </a:cubicBezTo>
                  <a:cubicBezTo>
                    <a:pt x="3017591" y="3762511"/>
                    <a:pt x="2970945" y="3652895"/>
                    <a:pt x="2926633" y="3559605"/>
                  </a:cubicBezTo>
                  <a:close/>
                  <a:moveTo>
                    <a:pt x="2889316" y="3445323"/>
                  </a:moveTo>
                  <a:cubicBezTo>
                    <a:pt x="2884653" y="3459316"/>
                    <a:pt x="2882320" y="3456984"/>
                    <a:pt x="2882320" y="3445323"/>
                  </a:cubicBezTo>
                  <a:cubicBezTo>
                    <a:pt x="2884653" y="3387016"/>
                    <a:pt x="2921968" y="3277398"/>
                    <a:pt x="2938295" y="3212096"/>
                  </a:cubicBezTo>
                  <a:cubicBezTo>
                    <a:pt x="2945291" y="3181776"/>
                    <a:pt x="2938295" y="3128135"/>
                    <a:pt x="2970945" y="3114139"/>
                  </a:cubicBezTo>
                  <a:cubicBezTo>
                    <a:pt x="3003598" y="3118806"/>
                    <a:pt x="2970945" y="3242414"/>
                    <a:pt x="2970945" y="3265737"/>
                  </a:cubicBezTo>
                  <a:cubicBezTo>
                    <a:pt x="2970945" y="3279733"/>
                    <a:pt x="2968614" y="3352032"/>
                    <a:pt x="2963949" y="3354364"/>
                  </a:cubicBezTo>
                  <a:cubicBezTo>
                    <a:pt x="2959284" y="3361362"/>
                    <a:pt x="2942959" y="3354364"/>
                    <a:pt x="2940626" y="3340371"/>
                  </a:cubicBezTo>
                  <a:cubicBezTo>
                    <a:pt x="2938295" y="3324043"/>
                    <a:pt x="2968614" y="3244749"/>
                    <a:pt x="2956952" y="3233087"/>
                  </a:cubicBezTo>
                  <a:cubicBezTo>
                    <a:pt x="2956952" y="3233087"/>
                    <a:pt x="2945291" y="3233087"/>
                    <a:pt x="2940626" y="3233087"/>
                  </a:cubicBezTo>
                  <a:cubicBezTo>
                    <a:pt x="2935961" y="3303055"/>
                    <a:pt x="2917304" y="3380018"/>
                    <a:pt x="2889316" y="3445323"/>
                  </a:cubicBezTo>
                  <a:close/>
                  <a:moveTo>
                    <a:pt x="2926633" y="3652895"/>
                  </a:moveTo>
                  <a:cubicBezTo>
                    <a:pt x="2938295" y="3650561"/>
                    <a:pt x="2940626" y="3659890"/>
                    <a:pt x="2945291" y="3666888"/>
                  </a:cubicBezTo>
                  <a:cubicBezTo>
                    <a:pt x="2977943" y="3706536"/>
                    <a:pt x="2982607" y="3767174"/>
                    <a:pt x="3001266" y="3813819"/>
                  </a:cubicBezTo>
                  <a:cubicBezTo>
                    <a:pt x="2966282" y="3767174"/>
                    <a:pt x="2931298" y="3713534"/>
                    <a:pt x="2926633" y="3652895"/>
                  </a:cubicBezTo>
                  <a:close/>
                  <a:moveTo>
                    <a:pt x="2415866" y="3788165"/>
                  </a:moveTo>
                  <a:cubicBezTo>
                    <a:pt x="2411201" y="3781170"/>
                    <a:pt x="2397208" y="3776504"/>
                    <a:pt x="2394877" y="3769509"/>
                  </a:cubicBezTo>
                  <a:cubicBezTo>
                    <a:pt x="2390212" y="3755513"/>
                    <a:pt x="2399540" y="3736856"/>
                    <a:pt x="2390212" y="3720529"/>
                  </a:cubicBezTo>
                  <a:cubicBezTo>
                    <a:pt x="2383215" y="3708867"/>
                    <a:pt x="2362224" y="3711202"/>
                    <a:pt x="2359893" y="3699541"/>
                  </a:cubicBezTo>
                  <a:cubicBezTo>
                    <a:pt x="2355228" y="3683213"/>
                    <a:pt x="2364556" y="3657559"/>
                    <a:pt x="2355228" y="3636568"/>
                  </a:cubicBezTo>
                  <a:cubicBezTo>
                    <a:pt x="2352895" y="3629573"/>
                    <a:pt x="2313247" y="3582927"/>
                    <a:pt x="2308582" y="3589922"/>
                  </a:cubicBezTo>
                  <a:cubicBezTo>
                    <a:pt x="2306249" y="3629573"/>
                    <a:pt x="2257272" y="3655227"/>
                    <a:pt x="2294588" y="3699541"/>
                  </a:cubicBezTo>
                  <a:cubicBezTo>
                    <a:pt x="2303918" y="3711202"/>
                    <a:pt x="2324909" y="3715865"/>
                    <a:pt x="2327240" y="3715865"/>
                  </a:cubicBezTo>
                  <a:cubicBezTo>
                    <a:pt x="2329572" y="3718197"/>
                    <a:pt x="2301586" y="3750849"/>
                    <a:pt x="2322576" y="3783502"/>
                  </a:cubicBezTo>
                  <a:cubicBezTo>
                    <a:pt x="2322576" y="3785833"/>
                    <a:pt x="2336570" y="3788165"/>
                    <a:pt x="2336570" y="3795163"/>
                  </a:cubicBezTo>
                  <a:cubicBezTo>
                    <a:pt x="2338902" y="3806824"/>
                    <a:pt x="2324909" y="3816154"/>
                    <a:pt x="2341233" y="3841808"/>
                  </a:cubicBezTo>
                  <a:cubicBezTo>
                    <a:pt x="2373886" y="3890785"/>
                    <a:pt x="2443854" y="3830147"/>
                    <a:pt x="2415866" y="3790497"/>
                  </a:cubicBezTo>
                  <a:close/>
                  <a:moveTo>
                    <a:pt x="2322576" y="3624906"/>
                  </a:moveTo>
                  <a:cubicBezTo>
                    <a:pt x="2341233" y="3620243"/>
                    <a:pt x="2366889" y="3704204"/>
                    <a:pt x="2327240" y="3701872"/>
                  </a:cubicBezTo>
                  <a:cubicBezTo>
                    <a:pt x="2289925" y="3701872"/>
                    <a:pt x="2285260" y="3631904"/>
                    <a:pt x="2322576" y="3624906"/>
                  </a:cubicBezTo>
                  <a:close/>
                  <a:moveTo>
                    <a:pt x="2334237" y="3771840"/>
                  </a:moveTo>
                  <a:cubicBezTo>
                    <a:pt x="2313247" y="3757847"/>
                    <a:pt x="2338902" y="3706536"/>
                    <a:pt x="2369221" y="3725195"/>
                  </a:cubicBezTo>
                  <a:cubicBezTo>
                    <a:pt x="2376217" y="3729858"/>
                    <a:pt x="2376217" y="3764842"/>
                    <a:pt x="2373886" y="3767174"/>
                  </a:cubicBezTo>
                  <a:cubicBezTo>
                    <a:pt x="2373886" y="3769509"/>
                    <a:pt x="2341233" y="3776504"/>
                    <a:pt x="2334237" y="3771840"/>
                  </a:cubicBezTo>
                  <a:close/>
                  <a:moveTo>
                    <a:pt x="2387879" y="3839477"/>
                  </a:moveTo>
                  <a:cubicBezTo>
                    <a:pt x="2350563" y="3858133"/>
                    <a:pt x="2338902" y="3804493"/>
                    <a:pt x="2355228" y="3785833"/>
                  </a:cubicBezTo>
                  <a:cubicBezTo>
                    <a:pt x="2380882" y="3757847"/>
                    <a:pt x="2432192" y="3816154"/>
                    <a:pt x="2387879" y="3839477"/>
                  </a:cubicBezTo>
                  <a:close/>
                  <a:moveTo>
                    <a:pt x="2679412" y="3044171"/>
                  </a:moveTo>
                  <a:cubicBezTo>
                    <a:pt x="2695738" y="3060499"/>
                    <a:pt x="2712064" y="3004524"/>
                    <a:pt x="2716729" y="2992863"/>
                  </a:cubicBezTo>
                  <a:cubicBezTo>
                    <a:pt x="2740052" y="2955547"/>
                    <a:pt x="2768039" y="2915897"/>
                    <a:pt x="2791362" y="2876249"/>
                  </a:cubicBezTo>
                  <a:cubicBezTo>
                    <a:pt x="2791362" y="2873918"/>
                    <a:pt x="2796025" y="2852927"/>
                    <a:pt x="2805355" y="2864588"/>
                  </a:cubicBezTo>
                  <a:cubicBezTo>
                    <a:pt x="2810020" y="2869251"/>
                    <a:pt x="2765706" y="2948549"/>
                    <a:pt x="2758710" y="2964877"/>
                  </a:cubicBezTo>
                  <a:cubicBezTo>
                    <a:pt x="2754045" y="2974203"/>
                    <a:pt x="2754045" y="2999861"/>
                    <a:pt x="2751713" y="3002192"/>
                  </a:cubicBezTo>
                  <a:cubicBezTo>
                    <a:pt x="2751713" y="3002192"/>
                    <a:pt x="2740052" y="3002192"/>
                    <a:pt x="2735387" y="3006856"/>
                  </a:cubicBezTo>
                  <a:cubicBezTo>
                    <a:pt x="2723726" y="3020849"/>
                    <a:pt x="2714396" y="3083822"/>
                    <a:pt x="2693407" y="3083822"/>
                  </a:cubicBezTo>
                  <a:cubicBezTo>
                    <a:pt x="2688742" y="3083822"/>
                    <a:pt x="2651426" y="3079155"/>
                    <a:pt x="2649093" y="3079155"/>
                  </a:cubicBezTo>
                  <a:cubicBezTo>
                    <a:pt x="2649093" y="3079155"/>
                    <a:pt x="2649093" y="3025515"/>
                    <a:pt x="2651426" y="3016185"/>
                  </a:cubicBezTo>
                  <a:cubicBezTo>
                    <a:pt x="2658423" y="2988199"/>
                    <a:pt x="2712064" y="2918231"/>
                    <a:pt x="2730722" y="2887911"/>
                  </a:cubicBezTo>
                  <a:cubicBezTo>
                    <a:pt x="2733055" y="2883247"/>
                    <a:pt x="2747048" y="2843597"/>
                    <a:pt x="2751713" y="2850595"/>
                  </a:cubicBezTo>
                  <a:cubicBezTo>
                    <a:pt x="2765706" y="2887911"/>
                    <a:pt x="2653758" y="3023183"/>
                    <a:pt x="2677080" y="3046506"/>
                  </a:cubicBezTo>
                  <a:close/>
                  <a:moveTo>
                    <a:pt x="2224620" y="3650561"/>
                  </a:moveTo>
                  <a:cubicBezTo>
                    <a:pt x="2217623" y="3624906"/>
                    <a:pt x="2222288" y="3608582"/>
                    <a:pt x="2238614" y="3636568"/>
                  </a:cubicBezTo>
                  <a:cubicBezTo>
                    <a:pt x="2264269" y="3680881"/>
                    <a:pt x="2282927" y="3750849"/>
                    <a:pt x="2306249" y="3799826"/>
                  </a:cubicBezTo>
                  <a:cubicBezTo>
                    <a:pt x="2331905" y="3853470"/>
                    <a:pt x="2376217" y="3923438"/>
                    <a:pt x="2394877" y="3974746"/>
                  </a:cubicBezTo>
                  <a:cubicBezTo>
                    <a:pt x="2394877" y="3979413"/>
                    <a:pt x="2401873" y="3995737"/>
                    <a:pt x="2397208" y="3998069"/>
                  </a:cubicBezTo>
                  <a:cubicBezTo>
                    <a:pt x="2397208" y="3998069"/>
                    <a:pt x="2380882" y="4000401"/>
                    <a:pt x="2380882" y="3993406"/>
                  </a:cubicBezTo>
                  <a:cubicBezTo>
                    <a:pt x="2355228" y="3946760"/>
                    <a:pt x="2331905" y="3897783"/>
                    <a:pt x="2308582" y="3848803"/>
                  </a:cubicBezTo>
                  <a:cubicBezTo>
                    <a:pt x="2278263" y="3788165"/>
                    <a:pt x="2245611" y="3718197"/>
                    <a:pt x="2224620" y="3650561"/>
                  </a:cubicBezTo>
                  <a:close/>
                  <a:moveTo>
                    <a:pt x="2196634" y="3571266"/>
                  </a:moveTo>
                  <a:cubicBezTo>
                    <a:pt x="2201297" y="3552607"/>
                    <a:pt x="2315579" y="3419669"/>
                    <a:pt x="2329572" y="3433662"/>
                  </a:cubicBezTo>
                  <a:cubicBezTo>
                    <a:pt x="2331905" y="3445323"/>
                    <a:pt x="2322576" y="3447655"/>
                    <a:pt x="2317911" y="3454653"/>
                  </a:cubicBezTo>
                  <a:cubicBezTo>
                    <a:pt x="2296921" y="3480307"/>
                    <a:pt x="2261937" y="3515291"/>
                    <a:pt x="2238614" y="3540945"/>
                  </a:cubicBezTo>
                  <a:cubicBezTo>
                    <a:pt x="2233950" y="3545609"/>
                    <a:pt x="2203630" y="3578261"/>
                    <a:pt x="2198966" y="3571266"/>
                  </a:cubicBezTo>
                  <a:close/>
                  <a:moveTo>
                    <a:pt x="2439189" y="4203310"/>
                  </a:moveTo>
                  <a:cubicBezTo>
                    <a:pt x="2418199" y="4205642"/>
                    <a:pt x="2401873" y="4193980"/>
                    <a:pt x="2387879" y="4184651"/>
                  </a:cubicBezTo>
                  <a:cubicBezTo>
                    <a:pt x="2385547" y="4184651"/>
                    <a:pt x="2366889" y="4177655"/>
                    <a:pt x="2376217" y="4170657"/>
                  </a:cubicBezTo>
                  <a:cubicBezTo>
                    <a:pt x="2378550" y="4168326"/>
                    <a:pt x="2443854" y="4191648"/>
                    <a:pt x="2439189" y="4205642"/>
                  </a:cubicBezTo>
                  <a:close/>
                  <a:moveTo>
                    <a:pt x="2014716" y="2659347"/>
                  </a:moveTo>
                  <a:cubicBezTo>
                    <a:pt x="2014716" y="2657016"/>
                    <a:pt x="2014716" y="2652352"/>
                    <a:pt x="2014716" y="2647686"/>
                  </a:cubicBezTo>
                  <a:cubicBezTo>
                    <a:pt x="2035707" y="2657016"/>
                    <a:pt x="2061361" y="2652352"/>
                    <a:pt x="2084684" y="2652352"/>
                  </a:cubicBezTo>
                  <a:lnTo>
                    <a:pt x="2033375" y="2640691"/>
                  </a:lnTo>
                  <a:cubicBezTo>
                    <a:pt x="2033375" y="2615037"/>
                    <a:pt x="2049700" y="2596377"/>
                    <a:pt x="2047368" y="2570723"/>
                  </a:cubicBezTo>
                  <a:cubicBezTo>
                    <a:pt x="2047368" y="2549732"/>
                    <a:pt x="2035707" y="2535739"/>
                    <a:pt x="2033375" y="2517080"/>
                  </a:cubicBezTo>
                  <a:cubicBezTo>
                    <a:pt x="2033375" y="2507750"/>
                    <a:pt x="2045037" y="2498423"/>
                    <a:pt x="2031042" y="2491425"/>
                  </a:cubicBezTo>
                  <a:cubicBezTo>
                    <a:pt x="2000723" y="2503087"/>
                    <a:pt x="1965739" y="2479764"/>
                    <a:pt x="1935420" y="2493757"/>
                  </a:cubicBezTo>
                  <a:cubicBezTo>
                    <a:pt x="1928423" y="2496089"/>
                    <a:pt x="1921425" y="2507750"/>
                    <a:pt x="1914429" y="2514748"/>
                  </a:cubicBezTo>
                  <a:cubicBezTo>
                    <a:pt x="1909764" y="2519411"/>
                    <a:pt x="1898103" y="2519411"/>
                    <a:pt x="1895771" y="2521746"/>
                  </a:cubicBezTo>
                  <a:cubicBezTo>
                    <a:pt x="1895771" y="2524078"/>
                    <a:pt x="1891106" y="2563725"/>
                    <a:pt x="1879445" y="2582384"/>
                  </a:cubicBezTo>
                  <a:cubicBezTo>
                    <a:pt x="1867783" y="2601041"/>
                    <a:pt x="1837464" y="2608039"/>
                    <a:pt x="1846794" y="2629030"/>
                  </a:cubicBezTo>
                  <a:lnTo>
                    <a:pt x="1872448" y="2624363"/>
                  </a:lnTo>
                  <a:cubicBezTo>
                    <a:pt x="1867783" y="2652352"/>
                    <a:pt x="1884110" y="2678007"/>
                    <a:pt x="1867783" y="2701329"/>
                  </a:cubicBezTo>
                  <a:cubicBezTo>
                    <a:pt x="1839796" y="2738645"/>
                    <a:pt x="1816473" y="2698998"/>
                    <a:pt x="1814142" y="2698998"/>
                  </a:cubicBezTo>
                  <a:cubicBezTo>
                    <a:pt x="1804812" y="2698998"/>
                    <a:pt x="1774493" y="2733982"/>
                    <a:pt x="1818806" y="2745643"/>
                  </a:cubicBezTo>
                  <a:cubicBezTo>
                    <a:pt x="1867783" y="2761968"/>
                    <a:pt x="1916762" y="2733982"/>
                    <a:pt x="1947081" y="2698998"/>
                  </a:cubicBezTo>
                  <a:cubicBezTo>
                    <a:pt x="1970404" y="2775961"/>
                    <a:pt x="1986730" y="2698998"/>
                    <a:pt x="2012384" y="2671009"/>
                  </a:cubicBezTo>
                  <a:cubicBezTo>
                    <a:pt x="2012384" y="2671009"/>
                    <a:pt x="2014716" y="2661682"/>
                    <a:pt x="2017049" y="2659347"/>
                  </a:cubicBezTo>
                  <a:close/>
                  <a:moveTo>
                    <a:pt x="1940084" y="2584716"/>
                  </a:moveTo>
                  <a:cubicBezTo>
                    <a:pt x="1942416" y="2584716"/>
                    <a:pt x="1963407" y="2629030"/>
                    <a:pt x="1956409" y="2636025"/>
                  </a:cubicBezTo>
                  <a:cubicBezTo>
                    <a:pt x="1923758" y="2640691"/>
                    <a:pt x="1914429" y="2568391"/>
                    <a:pt x="1940084" y="2584716"/>
                  </a:cubicBezTo>
                  <a:close/>
                  <a:moveTo>
                    <a:pt x="1963407" y="2657016"/>
                  </a:moveTo>
                  <a:cubicBezTo>
                    <a:pt x="1961074" y="2703661"/>
                    <a:pt x="1954078" y="2680338"/>
                    <a:pt x="1937751" y="2682670"/>
                  </a:cubicBezTo>
                  <a:cubicBezTo>
                    <a:pt x="1926090" y="2685005"/>
                    <a:pt x="1907432" y="2715322"/>
                    <a:pt x="1888774" y="2710659"/>
                  </a:cubicBezTo>
                  <a:cubicBezTo>
                    <a:pt x="1905100" y="2675675"/>
                    <a:pt x="1900436" y="2643023"/>
                    <a:pt x="1900436" y="2608039"/>
                  </a:cubicBezTo>
                  <a:cubicBezTo>
                    <a:pt x="1914429" y="2619700"/>
                    <a:pt x="1937751" y="2692000"/>
                    <a:pt x="1958742" y="2643023"/>
                  </a:cubicBezTo>
                  <a:cubicBezTo>
                    <a:pt x="1968071" y="2643023"/>
                    <a:pt x="1965739" y="2652352"/>
                    <a:pt x="1965739" y="2657016"/>
                  </a:cubicBezTo>
                  <a:close/>
                  <a:moveTo>
                    <a:pt x="1991393" y="2556730"/>
                  </a:moveTo>
                  <a:cubicBezTo>
                    <a:pt x="1989062" y="2528741"/>
                    <a:pt x="2019381" y="2538071"/>
                    <a:pt x="2024046" y="2554395"/>
                  </a:cubicBezTo>
                  <a:cubicBezTo>
                    <a:pt x="2031042" y="2575386"/>
                    <a:pt x="2014716" y="2603375"/>
                    <a:pt x="2019381" y="2624363"/>
                  </a:cubicBezTo>
                  <a:cubicBezTo>
                    <a:pt x="2005388" y="2640691"/>
                    <a:pt x="1991393" y="2563725"/>
                    <a:pt x="1991393" y="2556730"/>
                  </a:cubicBezTo>
                  <a:close/>
                  <a:moveTo>
                    <a:pt x="2397208" y="4261617"/>
                  </a:moveTo>
                  <a:cubicBezTo>
                    <a:pt x="2385547" y="4254619"/>
                    <a:pt x="2334237" y="4235962"/>
                    <a:pt x="2331905" y="4233628"/>
                  </a:cubicBezTo>
                  <a:cubicBezTo>
                    <a:pt x="2329572" y="4228964"/>
                    <a:pt x="2299253" y="4154333"/>
                    <a:pt x="2296921" y="4145003"/>
                  </a:cubicBezTo>
                  <a:cubicBezTo>
                    <a:pt x="2292256" y="4124012"/>
                    <a:pt x="2327240" y="4149667"/>
                    <a:pt x="2327240" y="4147335"/>
                  </a:cubicBezTo>
                  <a:cubicBezTo>
                    <a:pt x="2334237" y="4147335"/>
                    <a:pt x="2334237" y="4128676"/>
                    <a:pt x="2338902" y="4131010"/>
                  </a:cubicBezTo>
                  <a:cubicBezTo>
                    <a:pt x="2355228" y="4135673"/>
                    <a:pt x="2383215" y="4163660"/>
                    <a:pt x="2401873" y="4170657"/>
                  </a:cubicBezTo>
                  <a:cubicBezTo>
                    <a:pt x="2406538" y="4170657"/>
                    <a:pt x="2406538" y="4163660"/>
                    <a:pt x="2404205" y="4161328"/>
                  </a:cubicBezTo>
                  <a:cubicBezTo>
                    <a:pt x="2404205" y="4158996"/>
                    <a:pt x="2359893" y="4121680"/>
                    <a:pt x="2352895" y="4114683"/>
                  </a:cubicBezTo>
                  <a:cubicBezTo>
                    <a:pt x="2317911" y="4086696"/>
                    <a:pt x="2273598" y="4063374"/>
                    <a:pt x="2240946" y="4037719"/>
                  </a:cubicBezTo>
                  <a:cubicBezTo>
                    <a:pt x="2149989" y="3960753"/>
                    <a:pt x="2108007" y="3760179"/>
                    <a:pt x="2061361" y="3648229"/>
                  </a:cubicBezTo>
                  <a:cubicBezTo>
                    <a:pt x="2054365" y="3629573"/>
                    <a:pt x="2038039" y="3610913"/>
                    <a:pt x="2031042" y="3596920"/>
                  </a:cubicBezTo>
                  <a:cubicBezTo>
                    <a:pt x="2024046" y="3580593"/>
                    <a:pt x="2045037" y="3594589"/>
                    <a:pt x="2045037" y="3594589"/>
                  </a:cubicBezTo>
                  <a:lnTo>
                    <a:pt x="2142991" y="3594589"/>
                  </a:lnTo>
                  <a:cubicBezTo>
                    <a:pt x="2205962" y="3715865"/>
                    <a:pt x="2243279" y="3848803"/>
                    <a:pt x="2306249" y="3972415"/>
                  </a:cubicBezTo>
                  <a:cubicBezTo>
                    <a:pt x="2315579" y="3988740"/>
                    <a:pt x="2371554" y="4096026"/>
                    <a:pt x="2376217" y="4100689"/>
                  </a:cubicBezTo>
                  <a:cubicBezTo>
                    <a:pt x="2380882" y="4103021"/>
                    <a:pt x="2392544" y="4100689"/>
                    <a:pt x="2394877" y="4096026"/>
                  </a:cubicBezTo>
                  <a:lnTo>
                    <a:pt x="2161650" y="3568931"/>
                  </a:lnTo>
                  <a:cubicBezTo>
                    <a:pt x="2096345" y="3557270"/>
                    <a:pt x="2021714" y="3596920"/>
                    <a:pt x="1982065" y="3526952"/>
                  </a:cubicBezTo>
                  <a:cubicBezTo>
                    <a:pt x="1933087" y="3442991"/>
                    <a:pt x="2056698" y="3345034"/>
                    <a:pt x="2108007" y="3291394"/>
                  </a:cubicBezTo>
                  <a:cubicBezTo>
                    <a:pt x="2119668" y="3291394"/>
                    <a:pt x="2115005" y="3293726"/>
                    <a:pt x="2117336" y="3298389"/>
                  </a:cubicBezTo>
                  <a:cubicBezTo>
                    <a:pt x="2122001" y="3307719"/>
                    <a:pt x="2140659" y="3347366"/>
                    <a:pt x="2138327" y="3349701"/>
                  </a:cubicBezTo>
                  <a:cubicBezTo>
                    <a:pt x="2135994" y="3361362"/>
                    <a:pt x="2080021" y="3403341"/>
                    <a:pt x="2068359" y="3417334"/>
                  </a:cubicBezTo>
                  <a:cubicBezTo>
                    <a:pt x="2040372" y="3447655"/>
                    <a:pt x="2007719" y="3494300"/>
                    <a:pt x="2012384" y="3536282"/>
                  </a:cubicBezTo>
                  <a:lnTo>
                    <a:pt x="2047368" y="3531616"/>
                  </a:lnTo>
                  <a:cubicBezTo>
                    <a:pt x="2019381" y="3480307"/>
                    <a:pt x="2061361" y="3491968"/>
                    <a:pt x="2096345" y="3475641"/>
                  </a:cubicBezTo>
                  <a:cubicBezTo>
                    <a:pt x="2108007" y="3468646"/>
                    <a:pt x="2154652" y="3433662"/>
                    <a:pt x="2159317" y="3433662"/>
                  </a:cubicBezTo>
                  <a:cubicBezTo>
                    <a:pt x="2163982" y="3433662"/>
                    <a:pt x="2170978" y="3440657"/>
                    <a:pt x="2161650" y="3447655"/>
                  </a:cubicBezTo>
                  <a:cubicBezTo>
                    <a:pt x="2135994" y="3470977"/>
                    <a:pt x="2094014" y="3491968"/>
                    <a:pt x="2063694" y="3510625"/>
                  </a:cubicBezTo>
                  <a:cubicBezTo>
                    <a:pt x="2061361" y="3510625"/>
                    <a:pt x="2042703" y="3515291"/>
                    <a:pt x="2052033" y="3524621"/>
                  </a:cubicBezTo>
                  <a:cubicBezTo>
                    <a:pt x="2056698" y="3529284"/>
                    <a:pt x="2154652" y="3489637"/>
                    <a:pt x="2163982" y="3482639"/>
                  </a:cubicBezTo>
                  <a:cubicBezTo>
                    <a:pt x="2187304" y="3466314"/>
                    <a:pt x="2187304" y="3445323"/>
                    <a:pt x="2208295" y="3428995"/>
                  </a:cubicBezTo>
                  <a:cubicBezTo>
                    <a:pt x="2240946" y="3403341"/>
                    <a:pt x="2296921" y="3398678"/>
                    <a:pt x="2322576" y="3366025"/>
                  </a:cubicBezTo>
                  <a:cubicBezTo>
                    <a:pt x="2331905" y="3354364"/>
                    <a:pt x="2334237" y="3349701"/>
                    <a:pt x="2317911" y="3352032"/>
                  </a:cubicBezTo>
                  <a:cubicBezTo>
                    <a:pt x="2303918" y="3359027"/>
                    <a:pt x="2264269" y="3382350"/>
                    <a:pt x="2252607" y="3387016"/>
                  </a:cubicBezTo>
                  <a:cubicBezTo>
                    <a:pt x="2245611" y="3389348"/>
                    <a:pt x="2243279" y="3387016"/>
                    <a:pt x="2243279" y="3377687"/>
                  </a:cubicBezTo>
                  <a:cubicBezTo>
                    <a:pt x="2289925" y="3312382"/>
                    <a:pt x="2336570" y="3247080"/>
                    <a:pt x="2387879" y="3181776"/>
                  </a:cubicBezTo>
                  <a:cubicBezTo>
                    <a:pt x="2408870" y="3156121"/>
                    <a:pt x="2448518" y="3121137"/>
                    <a:pt x="2462512" y="3097815"/>
                  </a:cubicBezTo>
                  <a:cubicBezTo>
                    <a:pt x="2488167" y="3058167"/>
                    <a:pt x="2462512" y="3048838"/>
                    <a:pt x="2457847" y="3013854"/>
                  </a:cubicBezTo>
                  <a:cubicBezTo>
                    <a:pt x="2441522" y="2894909"/>
                    <a:pt x="2530148" y="2775961"/>
                    <a:pt x="2555802" y="2661682"/>
                  </a:cubicBezTo>
                  <a:cubicBezTo>
                    <a:pt x="2600116" y="2685005"/>
                    <a:pt x="2656089" y="2694331"/>
                    <a:pt x="2700403" y="2719989"/>
                  </a:cubicBezTo>
                  <a:cubicBezTo>
                    <a:pt x="2765706" y="2740977"/>
                    <a:pt x="2819348" y="2789957"/>
                    <a:pt x="2884653" y="2806281"/>
                  </a:cubicBezTo>
                  <a:cubicBezTo>
                    <a:pt x="2884653" y="2792288"/>
                    <a:pt x="2870658" y="2787622"/>
                    <a:pt x="2861330" y="2780627"/>
                  </a:cubicBezTo>
                  <a:cubicBezTo>
                    <a:pt x="2789029" y="2733982"/>
                    <a:pt x="2670084" y="2682670"/>
                    <a:pt x="2590786" y="2650021"/>
                  </a:cubicBezTo>
                  <a:cubicBezTo>
                    <a:pt x="2581458" y="2647686"/>
                    <a:pt x="2565132" y="2645354"/>
                    <a:pt x="2562799" y="2645354"/>
                  </a:cubicBezTo>
                  <a:cubicBezTo>
                    <a:pt x="2555802" y="2638359"/>
                    <a:pt x="2579125" y="2596377"/>
                    <a:pt x="2539476" y="2612702"/>
                  </a:cubicBezTo>
                  <a:cubicBezTo>
                    <a:pt x="2532480" y="2617368"/>
                    <a:pt x="2539476" y="2633693"/>
                    <a:pt x="2539476" y="2645354"/>
                  </a:cubicBezTo>
                  <a:cubicBezTo>
                    <a:pt x="2534813" y="2664014"/>
                    <a:pt x="2516153" y="2692000"/>
                    <a:pt x="2509157" y="2712991"/>
                  </a:cubicBezTo>
                  <a:cubicBezTo>
                    <a:pt x="2467176" y="2831936"/>
                    <a:pt x="2408870" y="2953215"/>
                    <a:pt x="2425196" y="3081490"/>
                  </a:cubicBezTo>
                  <a:cubicBezTo>
                    <a:pt x="2366889" y="3142128"/>
                    <a:pt x="2315579" y="3258742"/>
                    <a:pt x="2257272" y="3317048"/>
                  </a:cubicBezTo>
                  <a:cubicBezTo>
                    <a:pt x="2252607" y="3321712"/>
                    <a:pt x="2252607" y="3326378"/>
                    <a:pt x="2243279" y="3324043"/>
                  </a:cubicBezTo>
                  <a:cubicBezTo>
                    <a:pt x="2229285" y="3258742"/>
                    <a:pt x="2173311" y="3214428"/>
                    <a:pt x="2140659" y="3158453"/>
                  </a:cubicBezTo>
                  <a:cubicBezTo>
                    <a:pt x="2133662" y="3146792"/>
                    <a:pt x="2103343" y="3062831"/>
                    <a:pt x="2087017" y="3076824"/>
                  </a:cubicBezTo>
                  <a:cubicBezTo>
                    <a:pt x="2091682" y="3097815"/>
                    <a:pt x="2101010" y="3121137"/>
                    <a:pt x="2103343" y="3144460"/>
                  </a:cubicBezTo>
                  <a:cubicBezTo>
                    <a:pt x="2103343" y="3151458"/>
                    <a:pt x="2108007" y="3165451"/>
                    <a:pt x="2098678" y="3163119"/>
                  </a:cubicBezTo>
                  <a:cubicBezTo>
                    <a:pt x="2087017" y="3128135"/>
                    <a:pt x="2080021" y="3088485"/>
                    <a:pt x="2066026" y="3053501"/>
                  </a:cubicBezTo>
                  <a:cubicBezTo>
                    <a:pt x="2059030" y="3037176"/>
                    <a:pt x="2047368" y="3027847"/>
                    <a:pt x="2042703" y="3013854"/>
                  </a:cubicBezTo>
                  <a:cubicBezTo>
                    <a:pt x="2026377" y="2976538"/>
                    <a:pt x="2000723" y="2838934"/>
                    <a:pt x="2000723" y="2796952"/>
                  </a:cubicBezTo>
                  <a:cubicBezTo>
                    <a:pt x="2000723" y="2759636"/>
                    <a:pt x="2024046" y="2705993"/>
                    <a:pt x="2035707" y="2671009"/>
                  </a:cubicBezTo>
                  <a:cubicBezTo>
                    <a:pt x="2035707" y="2661682"/>
                    <a:pt x="2026377" y="2654684"/>
                    <a:pt x="2019381" y="2657016"/>
                  </a:cubicBezTo>
                  <a:cubicBezTo>
                    <a:pt x="2019381" y="2661682"/>
                    <a:pt x="2014716" y="2666345"/>
                    <a:pt x="2014716" y="2668677"/>
                  </a:cubicBezTo>
                  <a:cubicBezTo>
                    <a:pt x="1977400" y="2778295"/>
                    <a:pt x="1979732" y="2850595"/>
                    <a:pt x="2000723" y="2962542"/>
                  </a:cubicBezTo>
                  <a:cubicBezTo>
                    <a:pt x="2005388" y="2985865"/>
                    <a:pt x="2021714" y="3013854"/>
                    <a:pt x="2021714" y="3034845"/>
                  </a:cubicBezTo>
                  <a:cubicBezTo>
                    <a:pt x="2021714" y="3055833"/>
                    <a:pt x="2007719" y="3109476"/>
                    <a:pt x="2000723" y="3135130"/>
                  </a:cubicBezTo>
                  <a:cubicBezTo>
                    <a:pt x="1951746" y="3359027"/>
                    <a:pt x="1872448" y="3550275"/>
                    <a:pt x="1767496" y="3753181"/>
                  </a:cubicBezTo>
                  <a:cubicBezTo>
                    <a:pt x="1767496" y="3757847"/>
                    <a:pt x="1765164" y="3771840"/>
                    <a:pt x="1755835" y="3762511"/>
                  </a:cubicBezTo>
                  <a:cubicBezTo>
                    <a:pt x="1753503" y="3757847"/>
                    <a:pt x="1744173" y="3678550"/>
                    <a:pt x="1741842" y="3664557"/>
                  </a:cubicBezTo>
                  <a:cubicBezTo>
                    <a:pt x="1716186" y="3515291"/>
                    <a:pt x="1676537" y="3370689"/>
                    <a:pt x="1683535" y="3216760"/>
                  </a:cubicBezTo>
                  <a:cubicBezTo>
                    <a:pt x="1699860" y="3188774"/>
                    <a:pt x="1793151" y="2995194"/>
                    <a:pt x="1807145" y="2990531"/>
                  </a:cubicBezTo>
                  <a:cubicBezTo>
                    <a:pt x="1818806" y="2983533"/>
                    <a:pt x="1874780" y="3051169"/>
                    <a:pt x="1898103" y="3053501"/>
                  </a:cubicBezTo>
                  <a:cubicBezTo>
                    <a:pt x="1916762" y="3055833"/>
                    <a:pt x="1947081" y="2969540"/>
                    <a:pt x="1951746" y="2950881"/>
                  </a:cubicBezTo>
                  <a:cubicBezTo>
                    <a:pt x="1958742" y="2925226"/>
                    <a:pt x="1968071" y="2897240"/>
                    <a:pt x="1968071" y="2871586"/>
                  </a:cubicBezTo>
                  <a:cubicBezTo>
                    <a:pt x="1954078" y="2866920"/>
                    <a:pt x="1951746" y="2885579"/>
                    <a:pt x="1949413" y="2894909"/>
                  </a:cubicBezTo>
                  <a:cubicBezTo>
                    <a:pt x="1930755" y="2934556"/>
                    <a:pt x="1912097" y="2983533"/>
                    <a:pt x="1905100" y="3027847"/>
                  </a:cubicBezTo>
                  <a:cubicBezTo>
                    <a:pt x="1863119" y="3016185"/>
                    <a:pt x="1919094" y="2936888"/>
                    <a:pt x="1930755" y="2906570"/>
                  </a:cubicBezTo>
                  <a:cubicBezTo>
                    <a:pt x="1944748" y="2871586"/>
                    <a:pt x="1958742" y="2834267"/>
                    <a:pt x="1968071" y="2796952"/>
                  </a:cubicBezTo>
                  <a:cubicBezTo>
                    <a:pt x="1958742" y="2796952"/>
                    <a:pt x="1956409" y="2808613"/>
                    <a:pt x="1954078" y="2813279"/>
                  </a:cubicBezTo>
                  <a:cubicBezTo>
                    <a:pt x="1928423" y="2862256"/>
                    <a:pt x="1907432" y="2918231"/>
                    <a:pt x="1884110" y="2969540"/>
                  </a:cubicBezTo>
                  <a:lnTo>
                    <a:pt x="1650883" y="2808613"/>
                  </a:lnTo>
                  <a:cubicBezTo>
                    <a:pt x="1643886" y="2796952"/>
                    <a:pt x="1685867" y="2771297"/>
                    <a:pt x="1695196" y="2761968"/>
                  </a:cubicBezTo>
                  <a:cubicBezTo>
                    <a:pt x="1713854" y="2745643"/>
                    <a:pt x="1779158" y="2680338"/>
                    <a:pt x="1786154" y="2664014"/>
                  </a:cubicBezTo>
                  <a:cubicBezTo>
                    <a:pt x="1795484" y="2645354"/>
                    <a:pt x="1779158" y="2626698"/>
                    <a:pt x="1786154" y="2603375"/>
                  </a:cubicBezTo>
                  <a:cubicBezTo>
                    <a:pt x="1790819" y="2591714"/>
                    <a:pt x="1800148" y="2591714"/>
                    <a:pt x="1802480" y="2587048"/>
                  </a:cubicBezTo>
                  <a:cubicBezTo>
                    <a:pt x="1832799" y="2535739"/>
                    <a:pt x="1821138" y="2486762"/>
                    <a:pt x="1832799" y="2433119"/>
                  </a:cubicBezTo>
                  <a:cubicBezTo>
                    <a:pt x="1837464" y="2412128"/>
                    <a:pt x="1858455" y="2407464"/>
                    <a:pt x="1860787" y="2388805"/>
                  </a:cubicBezTo>
                  <a:cubicBezTo>
                    <a:pt x="1839796" y="2384141"/>
                    <a:pt x="1835132" y="2414459"/>
                    <a:pt x="1818806" y="2416794"/>
                  </a:cubicBezTo>
                  <a:cubicBezTo>
                    <a:pt x="1802480" y="2419126"/>
                    <a:pt x="1746505" y="2412128"/>
                    <a:pt x="1727847" y="2409796"/>
                  </a:cubicBezTo>
                  <a:cubicBezTo>
                    <a:pt x="1655548" y="2398135"/>
                    <a:pt x="1583247" y="2370148"/>
                    <a:pt x="1522608" y="2325835"/>
                  </a:cubicBezTo>
                  <a:cubicBezTo>
                    <a:pt x="1506282" y="2314173"/>
                    <a:pt x="1485292" y="2283853"/>
                    <a:pt x="1466633" y="2276858"/>
                  </a:cubicBezTo>
                  <a:cubicBezTo>
                    <a:pt x="1443310" y="2267528"/>
                    <a:pt x="1471298" y="2309507"/>
                    <a:pt x="1475963" y="2314173"/>
                  </a:cubicBezTo>
                  <a:cubicBezTo>
                    <a:pt x="1524940" y="2377144"/>
                    <a:pt x="1646218" y="2433119"/>
                    <a:pt x="1725516" y="2433119"/>
                  </a:cubicBezTo>
                  <a:lnTo>
                    <a:pt x="1814142" y="2433119"/>
                  </a:lnTo>
                  <a:cubicBezTo>
                    <a:pt x="1790819" y="2493757"/>
                    <a:pt x="1790819" y="2570723"/>
                    <a:pt x="1767496" y="2629030"/>
                  </a:cubicBezTo>
                  <a:cubicBezTo>
                    <a:pt x="1753503" y="2659347"/>
                    <a:pt x="1650883" y="2773629"/>
                    <a:pt x="1620564" y="2787622"/>
                  </a:cubicBezTo>
                  <a:cubicBezTo>
                    <a:pt x="1608902" y="2794620"/>
                    <a:pt x="1590244" y="2796952"/>
                    <a:pt x="1576250" y="2794620"/>
                  </a:cubicBezTo>
                  <a:cubicBezTo>
                    <a:pt x="1569253" y="2794620"/>
                    <a:pt x="1503950" y="2738645"/>
                    <a:pt x="1492289" y="2729315"/>
                  </a:cubicBezTo>
                  <a:cubicBezTo>
                    <a:pt x="1429317" y="2673343"/>
                    <a:pt x="1308039" y="2540402"/>
                    <a:pt x="1282385" y="2461105"/>
                  </a:cubicBezTo>
                  <a:cubicBezTo>
                    <a:pt x="1259062" y="2388805"/>
                    <a:pt x="1256729" y="2297846"/>
                    <a:pt x="1242736" y="2225546"/>
                  </a:cubicBezTo>
                  <a:cubicBezTo>
                    <a:pt x="1235740" y="2185899"/>
                    <a:pt x="1219413" y="2146249"/>
                    <a:pt x="1212417" y="2106601"/>
                  </a:cubicBezTo>
                  <a:cubicBezTo>
                    <a:pt x="1198422" y="2034301"/>
                    <a:pt x="1191426" y="1959667"/>
                    <a:pt x="1175100" y="1887367"/>
                  </a:cubicBezTo>
                  <a:cubicBezTo>
                    <a:pt x="1147114" y="1889699"/>
                    <a:pt x="1130788" y="1906027"/>
                    <a:pt x="1100468" y="1896697"/>
                  </a:cubicBezTo>
                  <a:cubicBezTo>
                    <a:pt x="1093470" y="1896697"/>
                    <a:pt x="1021171" y="1845388"/>
                    <a:pt x="1009509" y="1838390"/>
                  </a:cubicBezTo>
                  <a:cubicBezTo>
                    <a:pt x="930212" y="1780084"/>
                    <a:pt x="853247" y="1672800"/>
                    <a:pt x="843919" y="1574843"/>
                  </a:cubicBezTo>
                  <a:cubicBezTo>
                    <a:pt x="832258" y="1448903"/>
                    <a:pt x="909222" y="1453566"/>
                    <a:pt x="1002513" y="1490882"/>
                  </a:cubicBezTo>
                  <a:cubicBezTo>
                    <a:pt x="1042162" y="1507210"/>
                    <a:pt x="1102800" y="1530532"/>
                    <a:pt x="1135452" y="1553855"/>
                  </a:cubicBezTo>
                  <a:cubicBezTo>
                    <a:pt x="1151777" y="1565516"/>
                    <a:pt x="1205420" y="1626155"/>
                    <a:pt x="1226410" y="1595834"/>
                  </a:cubicBezTo>
                  <a:cubicBezTo>
                    <a:pt x="1240404" y="1574843"/>
                    <a:pt x="1191426" y="1420914"/>
                    <a:pt x="1189094" y="1378935"/>
                  </a:cubicBezTo>
                  <a:cubicBezTo>
                    <a:pt x="1182098" y="1278646"/>
                    <a:pt x="1210084" y="1208678"/>
                    <a:pt x="1268390" y="1129381"/>
                  </a:cubicBezTo>
                  <a:cubicBezTo>
                    <a:pt x="1235740" y="1134047"/>
                    <a:pt x="1221745" y="1120051"/>
                    <a:pt x="1252066" y="1101395"/>
                  </a:cubicBezTo>
                  <a:cubicBezTo>
                    <a:pt x="1207752" y="1108390"/>
                    <a:pt x="1231075" y="1068742"/>
                    <a:pt x="1228743" y="1066411"/>
                  </a:cubicBezTo>
                  <a:cubicBezTo>
                    <a:pt x="1228743" y="1066411"/>
                    <a:pt x="1200756" y="1073406"/>
                    <a:pt x="1212417" y="1050083"/>
                  </a:cubicBezTo>
                  <a:cubicBezTo>
                    <a:pt x="1212417" y="1050083"/>
                    <a:pt x="1226410" y="1050083"/>
                    <a:pt x="1221745" y="1038422"/>
                  </a:cubicBezTo>
                  <a:cubicBezTo>
                    <a:pt x="1214749" y="1031427"/>
                    <a:pt x="1189094" y="1047751"/>
                    <a:pt x="1198422" y="1019765"/>
                  </a:cubicBezTo>
                  <a:cubicBezTo>
                    <a:pt x="1200756" y="1012767"/>
                    <a:pt x="1219413" y="1012767"/>
                    <a:pt x="1214749" y="998774"/>
                  </a:cubicBezTo>
                  <a:cubicBezTo>
                    <a:pt x="1133119" y="1001106"/>
                    <a:pt x="1200756" y="924143"/>
                    <a:pt x="1219413" y="891491"/>
                  </a:cubicBezTo>
                  <a:cubicBezTo>
                    <a:pt x="1224078" y="882161"/>
                    <a:pt x="1238071" y="842513"/>
                    <a:pt x="1245068" y="837847"/>
                  </a:cubicBezTo>
                  <a:cubicBezTo>
                    <a:pt x="1247401" y="837847"/>
                    <a:pt x="1296378" y="842513"/>
                    <a:pt x="1308039" y="837847"/>
                  </a:cubicBezTo>
                  <a:cubicBezTo>
                    <a:pt x="1282385" y="753886"/>
                    <a:pt x="1371011" y="830852"/>
                    <a:pt x="1382672" y="821522"/>
                  </a:cubicBezTo>
                  <a:lnTo>
                    <a:pt x="1378007" y="781872"/>
                  </a:lnTo>
                  <a:cubicBezTo>
                    <a:pt x="1398998" y="772545"/>
                    <a:pt x="1450308" y="805195"/>
                    <a:pt x="1461970" y="805195"/>
                  </a:cubicBezTo>
                  <a:cubicBezTo>
                    <a:pt x="1482959" y="802863"/>
                    <a:pt x="1438647" y="756218"/>
                    <a:pt x="1461970" y="753886"/>
                  </a:cubicBezTo>
                  <a:cubicBezTo>
                    <a:pt x="1478294" y="753886"/>
                    <a:pt x="1522608" y="777209"/>
                    <a:pt x="1545931" y="770211"/>
                  </a:cubicBezTo>
                  <a:lnTo>
                    <a:pt x="1459637" y="735227"/>
                  </a:lnTo>
                  <a:cubicBezTo>
                    <a:pt x="1473631" y="730564"/>
                    <a:pt x="1492289" y="742225"/>
                    <a:pt x="1501617" y="742225"/>
                  </a:cubicBezTo>
                  <a:cubicBezTo>
                    <a:pt x="1506282" y="742225"/>
                    <a:pt x="1503950" y="730564"/>
                    <a:pt x="1508615" y="730564"/>
                  </a:cubicBezTo>
                  <a:cubicBezTo>
                    <a:pt x="1529605" y="725900"/>
                    <a:pt x="1571585" y="744557"/>
                    <a:pt x="1594908" y="746888"/>
                  </a:cubicBezTo>
                  <a:cubicBezTo>
                    <a:pt x="1629892" y="751554"/>
                    <a:pt x="1669541" y="746888"/>
                    <a:pt x="1702193" y="753886"/>
                  </a:cubicBezTo>
                  <a:cubicBezTo>
                    <a:pt x="1776826" y="763216"/>
                    <a:pt x="1853790" y="788870"/>
                    <a:pt x="1928423" y="779541"/>
                  </a:cubicBezTo>
                  <a:cubicBezTo>
                    <a:pt x="1963407" y="858838"/>
                    <a:pt x="2012384" y="931138"/>
                    <a:pt x="2063694" y="1001106"/>
                  </a:cubicBezTo>
                  <a:cubicBezTo>
                    <a:pt x="2077687" y="1019765"/>
                    <a:pt x="2103343" y="1033758"/>
                    <a:pt x="2105675" y="1059413"/>
                  </a:cubicBezTo>
                  <a:cubicBezTo>
                    <a:pt x="2098678" y="1066411"/>
                    <a:pt x="1956409" y="1052418"/>
                    <a:pt x="1942416" y="1082735"/>
                  </a:cubicBezTo>
                  <a:lnTo>
                    <a:pt x="1933087" y="1068742"/>
                  </a:lnTo>
                  <a:cubicBezTo>
                    <a:pt x="1916762" y="1082735"/>
                    <a:pt x="1919094" y="1106058"/>
                    <a:pt x="1912097" y="1122386"/>
                  </a:cubicBezTo>
                  <a:cubicBezTo>
                    <a:pt x="1907432" y="1134047"/>
                    <a:pt x="1881778" y="1141042"/>
                    <a:pt x="1909764" y="1148040"/>
                  </a:cubicBezTo>
                  <a:cubicBezTo>
                    <a:pt x="1884110" y="1166696"/>
                    <a:pt x="1870116" y="1250660"/>
                    <a:pt x="1884110" y="1271648"/>
                  </a:cubicBezTo>
                  <a:cubicBezTo>
                    <a:pt x="1888774" y="1276315"/>
                    <a:pt x="1891106" y="1278646"/>
                    <a:pt x="1898103" y="1276315"/>
                  </a:cubicBezTo>
                  <a:cubicBezTo>
                    <a:pt x="1891106" y="1229669"/>
                    <a:pt x="1909764" y="1190019"/>
                    <a:pt x="1916762" y="1143374"/>
                  </a:cubicBezTo>
                  <a:cubicBezTo>
                    <a:pt x="1986730" y="1143374"/>
                    <a:pt x="2059030" y="1129381"/>
                    <a:pt x="2128998" y="1115388"/>
                  </a:cubicBezTo>
                  <a:lnTo>
                    <a:pt x="2135994" y="1213342"/>
                  </a:lnTo>
                  <a:cubicBezTo>
                    <a:pt x="2140659" y="1215676"/>
                    <a:pt x="2147655" y="1199349"/>
                    <a:pt x="2147655" y="1199349"/>
                  </a:cubicBezTo>
                  <a:lnTo>
                    <a:pt x="2147655" y="1089733"/>
                  </a:lnTo>
                  <a:cubicBezTo>
                    <a:pt x="2147655" y="1061744"/>
                    <a:pt x="2105675" y="1022097"/>
                    <a:pt x="2089349" y="1001106"/>
                  </a:cubicBezTo>
                  <a:cubicBezTo>
                    <a:pt x="2115005" y="996443"/>
                    <a:pt x="2159317" y="1068742"/>
                    <a:pt x="2159317" y="1085067"/>
                  </a:cubicBezTo>
                  <a:lnTo>
                    <a:pt x="2159317" y="1185356"/>
                  </a:lnTo>
                  <a:cubicBezTo>
                    <a:pt x="2194301" y="1192354"/>
                    <a:pt x="2205962" y="1148040"/>
                    <a:pt x="2212959" y="1120051"/>
                  </a:cubicBezTo>
                  <a:cubicBezTo>
                    <a:pt x="2236281" y="1031427"/>
                    <a:pt x="2217623" y="928806"/>
                    <a:pt x="2187304" y="844845"/>
                  </a:cubicBezTo>
                  <a:cubicBezTo>
                    <a:pt x="2208295" y="854175"/>
                    <a:pt x="2315579" y="802863"/>
                    <a:pt x="2296921" y="781872"/>
                  </a:cubicBezTo>
                  <a:cubicBezTo>
                    <a:pt x="2292256" y="777209"/>
                    <a:pt x="2219957" y="816856"/>
                    <a:pt x="2201297" y="821522"/>
                  </a:cubicBezTo>
                  <a:cubicBezTo>
                    <a:pt x="2147655" y="830852"/>
                    <a:pt x="2070691" y="821522"/>
                    <a:pt x="2033375" y="777209"/>
                  </a:cubicBezTo>
                  <a:cubicBezTo>
                    <a:pt x="2098678" y="786538"/>
                    <a:pt x="2226953" y="805195"/>
                    <a:pt x="2285260" y="772545"/>
                  </a:cubicBezTo>
                  <a:cubicBezTo>
                    <a:pt x="2292256" y="767879"/>
                    <a:pt x="2294588" y="772545"/>
                    <a:pt x="2292256" y="760884"/>
                  </a:cubicBezTo>
                  <a:lnTo>
                    <a:pt x="2108007" y="765548"/>
                  </a:lnTo>
                  <a:cubicBezTo>
                    <a:pt x="2117336" y="749223"/>
                    <a:pt x="2135994" y="751554"/>
                    <a:pt x="2149989" y="742225"/>
                  </a:cubicBezTo>
                  <a:cubicBezTo>
                    <a:pt x="2191969" y="714239"/>
                    <a:pt x="2161650" y="683918"/>
                    <a:pt x="2170978" y="653598"/>
                  </a:cubicBezTo>
                  <a:cubicBezTo>
                    <a:pt x="2177975" y="630275"/>
                    <a:pt x="2233950" y="585964"/>
                    <a:pt x="2201297" y="550980"/>
                  </a:cubicBezTo>
                  <a:cubicBezTo>
                    <a:pt x="2189636" y="548646"/>
                    <a:pt x="2161650" y="597625"/>
                    <a:pt x="2149989" y="609287"/>
                  </a:cubicBezTo>
                  <a:cubicBezTo>
                    <a:pt x="2115005" y="644271"/>
                    <a:pt x="2054365" y="697911"/>
                    <a:pt x="2010053" y="711904"/>
                  </a:cubicBezTo>
                  <a:cubicBezTo>
                    <a:pt x="1989062" y="718902"/>
                    <a:pt x="1942416" y="742225"/>
                    <a:pt x="1935420" y="707241"/>
                  </a:cubicBezTo>
                  <a:cubicBezTo>
                    <a:pt x="1951746" y="707241"/>
                    <a:pt x="1972735" y="700243"/>
                    <a:pt x="1986730" y="695580"/>
                  </a:cubicBezTo>
                  <a:cubicBezTo>
                    <a:pt x="1998391" y="690916"/>
                    <a:pt x="2073023" y="667593"/>
                    <a:pt x="2073023" y="662927"/>
                  </a:cubicBezTo>
                  <a:cubicBezTo>
                    <a:pt x="2075356" y="648934"/>
                    <a:pt x="2035707" y="637273"/>
                    <a:pt x="2038039" y="623280"/>
                  </a:cubicBezTo>
                  <a:cubicBezTo>
                    <a:pt x="2038039" y="620948"/>
                    <a:pt x="2082352" y="599957"/>
                    <a:pt x="2096345" y="588296"/>
                  </a:cubicBezTo>
                  <a:cubicBezTo>
                    <a:pt x="2154652" y="534653"/>
                    <a:pt x="2201297" y="397048"/>
                    <a:pt x="2152320" y="327080"/>
                  </a:cubicBezTo>
                  <a:cubicBezTo>
                    <a:pt x="2091682" y="240787"/>
                    <a:pt x="1893439" y="336410"/>
                    <a:pt x="1823471" y="378392"/>
                  </a:cubicBezTo>
                  <a:cubicBezTo>
                    <a:pt x="1755835" y="420371"/>
                    <a:pt x="1643886" y="527657"/>
                    <a:pt x="1566922" y="534653"/>
                  </a:cubicBezTo>
                  <a:cubicBezTo>
                    <a:pt x="1555260" y="550980"/>
                    <a:pt x="1562257" y="543982"/>
                    <a:pt x="1576250" y="546314"/>
                  </a:cubicBezTo>
                  <a:cubicBezTo>
                    <a:pt x="1618231" y="553312"/>
                    <a:pt x="1648551" y="553312"/>
                    <a:pt x="1688199" y="543982"/>
                  </a:cubicBezTo>
                  <a:cubicBezTo>
                    <a:pt x="1695196" y="543982"/>
                    <a:pt x="1741842" y="529989"/>
                    <a:pt x="1734844" y="522991"/>
                  </a:cubicBezTo>
                  <a:lnTo>
                    <a:pt x="1699860" y="527657"/>
                  </a:lnTo>
                  <a:cubicBezTo>
                    <a:pt x="1692863" y="522991"/>
                    <a:pt x="1772161" y="495005"/>
                    <a:pt x="1779158" y="490339"/>
                  </a:cubicBezTo>
                  <a:cubicBezTo>
                    <a:pt x="1788487" y="485675"/>
                    <a:pt x="1793151" y="471682"/>
                    <a:pt x="1797815" y="471682"/>
                  </a:cubicBezTo>
                  <a:cubicBezTo>
                    <a:pt x="1830468" y="450691"/>
                    <a:pt x="1851457" y="415707"/>
                    <a:pt x="1881778" y="392385"/>
                  </a:cubicBezTo>
                  <a:cubicBezTo>
                    <a:pt x="1923758" y="357401"/>
                    <a:pt x="2000723" y="324748"/>
                    <a:pt x="2054365" y="322417"/>
                  </a:cubicBezTo>
                  <a:cubicBezTo>
                    <a:pt x="2080021" y="322417"/>
                    <a:pt x="2103343" y="322417"/>
                    <a:pt x="2108007" y="350403"/>
                  </a:cubicBezTo>
                  <a:cubicBezTo>
                    <a:pt x="2098678" y="350403"/>
                    <a:pt x="2103343" y="336410"/>
                    <a:pt x="2094014" y="334078"/>
                  </a:cubicBezTo>
                  <a:cubicBezTo>
                    <a:pt x="2049700" y="317753"/>
                    <a:pt x="1984397" y="359732"/>
                    <a:pt x="1944748" y="378392"/>
                  </a:cubicBezTo>
                  <a:lnTo>
                    <a:pt x="1951746" y="362064"/>
                  </a:lnTo>
                  <a:cubicBezTo>
                    <a:pt x="1907432" y="385387"/>
                    <a:pt x="1881778" y="425037"/>
                    <a:pt x="1839796" y="453023"/>
                  </a:cubicBezTo>
                  <a:cubicBezTo>
                    <a:pt x="1839796" y="464684"/>
                    <a:pt x="1832799" y="469351"/>
                    <a:pt x="1823471" y="474014"/>
                  </a:cubicBezTo>
                  <a:cubicBezTo>
                    <a:pt x="1795484" y="495005"/>
                    <a:pt x="1779158" y="520659"/>
                    <a:pt x="1746505" y="534653"/>
                  </a:cubicBezTo>
                  <a:cubicBezTo>
                    <a:pt x="1627560" y="592959"/>
                    <a:pt x="1573918" y="553312"/>
                    <a:pt x="1459637" y="527657"/>
                  </a:cubicBezTo>
                  <a:cubicBezTo>
                    <a:pt x="1389669" y="511330"/>
                    <a:pt x="1268390" y="490339"/>
                    <a:pt x="1200756" y="506666"/>
                  </a:cubicBezTo>
                  <a:cubicBezTo>
                    <a:pt x="1116793" y="529989"/>
                    <a:pt x="997848" y="630275"/>
                    <a:pt x="1016506" y="725900"/>
                  </a:cubicBezTo>
                  <a:cubicBezTo>
                    <a:pt x="976857" y="700243"/>
                    <a:pt x="1000180" y="644271"/>
                    <a:pt x="1016506" y="609287"/>
                  </a:cubicBezTo>
                  <a:cubicBezTo>
                    <a:pt x="1063151" y="513662"/>
                    <a:pt x="1170436" y="446028"/>
                    <a:pt x="1280052" y="455355"/>
                  </a:cubicBezTo>
                  <a:lnTo>
                    <a:pt x="1231075" y="443694"/>
                  </a:lnTo>
                  <a:cubicBezTo>
                    <a:pt x="1161107" y="443694"/>
                    <a:pt x="1135452" y="469351"/>
                    <a:pt x="1088807" y="511330"/>
                  </a:cubicBezTo>
                  <a:cubicBezTo>
                    <a:pt x="1084142" y="515996"/>
                    <a:pt x="1074813" y="515996"/>
                    <a:pt x="1067816" y="520659"/>
                  </a:cubicBezTo>
                  <a:cubicBezTo>
                    <a:pt x="1053823" y="532321"/>
                    <a:pt x="1046825" y="555643"/>
                    <a:pt x="1028167" y="564973"/>
                  </a:cubicBezTo>
                  <a:cubicBezTo>
                    <a:pt x="1051490" y="508998"/>
                    <a:pt x="1133119" y="441362"/>
                    <a:pt x="1191426" y="434367"/>
                  </a:cubicBezTo>
                  <a:cubicBezTo>
                    <a:pt x="1224078" y="429700"/>
                    <a:pt x="1256729" y="436698"/>
                    <a:pt x="1287050" y="439030"/>
                  </a:cubicBezTo>
                  <a:cubicBezTo>
                    <a:pt x="1294046" y="439030"/>
                    <a:pt x="1305708" y="432032"/>
                    <a:pt x="1315036" y="434367"/>
                  </a:cubicBezTo>
                  <a:cubicBezTo>
                    <a:pt x="1333695" y="434367"/>
                    <a:pt x="1419988" y="481012"/>
                    <a:pt x="1445644" y="492673"/>
                  </a:cubicBezTo>
                  <a:cubicBezTo>
                    <a:pt x="1438647" y="464684"/>
                    <a:pt x="1475963" y="478678"/>
                    <a:pt x="1494621" y="474014"/>
                  </a:cubicBezTo>
                  <a:cubicBezTo>
                    <a:pt x="1536601" y="467016"/>
                    <a:pt x="1580915" y="450691"/>
                    <a:pt x="1583247" y="401714"/>
                  </a:cubicBezTo>
                  <a:cubicBezTo>
                    <a:pt x="1583247" y="397048"/>
                    <a:pt x="1578583" y="362064"/>
                    <a:pt x="1578583" y="359732"/>
                  </a:cubicBezTo>
                  <a:cubicBezTo>
                    <a:pt x="1578583" y="359732"/>
                    <a:pt x="1571585" y="359732"/>
                    <a:pt x="1569253" y="359732"/>
                  </a:cubicBezTo>
                  <a:cubicBezTo>
                    <a:pt x="1562257" y="352737"/>
                    <a:pt x="1604237" y="280435"/>
                    <a:pt x="1608902" y="261778"/>
                  </a:cubicBezTo>
                  <a:cubicBezTo>
                    <a:pt x="1620564" y="226794"/>
                    <a:pt x="1625228" y="189479"/>
                    <a:pt x="1625228" y="154495"/>
                  </a:cubicBezTo>
                  <a:cubicBezTo>
                    <a:pt x="1625228" y="154495"/>
                    <a:pt x="1627560" y="142833"/>
                    <a:pt x="1622895" y="142833"/>
                  </a:cubicBezTo>
                  <a:cubicBezTo>
                    <a:pt x="1594908" y="142833"/>
                    <a:pt x="1599573" y="191810"/>
                    <a:pt x="1592576" y="217465"/>
                  </a:cubicBezTo>
                  <a:cubicBezTo>
                    <a:pt x="1564589" y="315419"/>
                    <a:pt x="1471298" y="418039"/>
                    <a:pt x="1364014" y="420371"/>
                  </a:cubicBezTo>
                  <a:cubicBezTo>
                    <a:pt x="1329030" y="420371"/>
                    <a:pt x="1289381" y="399383"/>
                    <a:pt x="1254397" y="397048"/>
                  </a:cubicBezTo>
                  <a:cubicBezTo>
                    <a:pt x="1177433" y="390053"/>
                    <a:pt x="1114461" y="399383"/>
                    <a:pt x="1049158" y="439030"/>
                  </a:cubicBezTo>
                  <a:cubicBezTo>
                    <a:pt x="1016506" y="457689"/>
                    <a:pt x="962864" y="508998"/>
                    <a:pt x="932545" y="518328"/>
                  </a:cubicBezTo>
                  <a:cubicBezTo>
                    <a:pt x="925548" y="518328"/>
                    <a:pt x="920883" y="518328"/>
                    <a:pt x="923215" y="508998"/>
                  </a:cubicBezTo>
                  <a:cubicBezTo>
                    <a:pt x="937210" y="478678"/>
                    <a:pt x="1044493" y="408710"/>
                    <a:pt x="1084142" y="413376"/>
                  </a:cubicBezTo>
                  <a:cubicBezTo>
                    <a:pt x="1084142" y="401714"/>
                    <a:pt x="1060820" y="408710"/>
                    <a:pt x="1053823" y="408710"/>
                  </a:cubicBezTo>
                  <a:cubicBezTo>
                    <a:pt x="995516" y="420371"/>
                    <a:pt x="948871" y="462353"/>
                    <a:pt x="909222" y="504335"/>
                  </a:cubicBezTo>
                  <a:cubicBezTo>
                    <a:pt x="902226" y="511330"/>
                    <a:pt x="899893" y="522991"/>
                    <a:pt x="895228" y="527657"/>
                  </a:cubicBezTo>
                  <a:cubicBezTo>
                    <a:pt x="895228" y="527657"/>
                    <a:pt x="906889" y="527657"/>
                    <a:pt x="906889" y="529989"/>
                  </a:cubicBezTo>
                  <a:cubicBezTo>
                    <a:pt x="878903" y="595291"/>
                    <a:pt x="864909" y="690916"/>
                    <a:pt x="930212" y="739893"/>
                  </a:cubicBezTo>
                  <a:cubicBezTo>
                    <a:pt x="909222" y="641936"/>
                    <a:pt x="953534" y="520659"/>
                    <a:pt x="1051490" y="481012"/>
                  </a:cubicBezTo>
                  <a:cubicBezTo>
                    <a:pt x="981522" y="550980"/>
                    <a:pt x="923215" y="641936"/>
                    <a:pt x="948871" y="744557"/>
                  </a:cubicBezTo>
                  <a:cubicBezTo>
                    <a:pt x="881235" y="758550"/>
                    <a:pt x="855580" y="665259"/>
                    <a:pt x="864909" y="611618"/>
                  </a:cubicBezTo>
                  <a:cubicBezTo>
                    <a:pt x="864909" y="602289"/>
                    <a:pt x="895228" y="529989"/>
                    <a:pt x="897561" y="527657"/>
                  </a:cubicBezTo>
                  <a:cubicBezTo>
                    <a:pt x="890564" y="534653"/>
                    <a:pt x="878903" y="541650"/>
                    <a:pt x="871905" y="550980"/>
                  </a:cubicBezTo>
                  <a:cubicBezTo>
                    <a:pt x="818263" y="620948"/>
                    <a:pt x="787944" y="700243"/>
                    <a:pt x="869573" y="765548"/>
                  </a:cubicBezTo>
                  <a:cubicBezTo>
                    <a:pt x="780947" y="802863"/>
                    <a:pt x="689988" y="854175"/>
                    <a:pt x="645676" y="942799"/>
                  </a:cubicBezTo>
                  <a:lnTo>
                    <a:pt x="668999" y="952129"/>
                  </a:lnTo>
                  <a:cubicBezTo>
                    <a:pt x="662001" y="931138"/>
                    <a:pt x="727306" y="861170"/>
                    <a:pt x="741299" y="854175"/>
                  </a:cubicBezTo>
                  <a:cubicBezTo>
                    <a:pt x="769286" y="842513"/>
                    <a:pt x="717976" y="900820"/>
                    <a:pt x="715644" y="903152"/>
                  </a:cubicBezTo>
                  <a:cubicBezTo>
                    <a:pt x="685324" y="952129"/>
                    <a:pt x="680660" y="952129"/>
                    <a:pt x="645676" y="994111"/>
                  </a:cubicBezTo>
                  <a:cubicBezTo>
                    <a:pt x="554717" y="1099063"/>
                    <a:pt x="526730" y="1252992"/>
                    <a:pt x="571043" y="1385930"/>
                  </a:cubicBezTo>
                  <a:cubicBezTo>
                    <a:pt x="596698" y="1460564"/>
                    <a:pt x="645676" y="1488550"/>
                    <a:pt x="687657" y="1544525"/>
                  </a:cubicBezTo>
                  <a:cubicBezTo>
                    <a:pt x="724972" y="1593502"/>
                    <a:pt x="741299" y="1642479"/>
                    <a:pt x="794940" y="1684461"/>
                  </a:cubicBezTo>
                  <a:cubicBezTo>
                    <a:pt x="822928" y="1705452"/>
                    <a:pt x="874238" y="1724109"/>
                    <a:pt x="895228" y="1745100"/>
                  </a:cubicBezTo>
                  <a:cubicBezTo>
                    <a:pt x="909222" y="1759093"/>
                    <a:pt x="911554" y="1782415"/>
                    <a:pt x="920883" y="1798743"/>
                  </a:cubicBezTo>
                  <a:cubicBezTo>
                    <a:pt x="955867" y="1854715"/>
                    <a:pt x="995516" y="1852383"/>
                    <a:pt x="1035164" y="1892034"/>
                  </a:cubicBezTo>
                  <a:cubicBezTo>
                    <a:pt x="1044493" y="1901360"/>
                    <a:pt x="1049158" y="1913022"/>
                    <a:pt x="1058486" y="1920020"/>
                  </a:cubicBezTo>
                  <a:cubicBezTo>
                    <a:pt x="1081809" y="1943342"/>
                    <a:pt x="1177433" y="2027303"/>
                    <a:pt x="1184429" y="2048294"/>
                  </a:cubicBezTo>
                  <a:cubicBezTo>
                    <a:pt x="1189094" y="2064619"/>
                    <a:pt x="1205420" y="2164908"/>
                    <a:pt x="1200756" y="2176569"/>
                  </a:cubicBezTo>
                  <a:cubicBezTo>
                    <a:pt x="1086474" y="2330498"/>
                    <a:pt x="972194" y="2484427"/>
                    <a:pt x="815931" y="2596377"/>
                  </a:cubicBezTo>
                  <a:cubicBezTo>
                    <a:pt x="736634" y="2652352"/>
                    <a:pt x="692322" y="2640691"/>
                    <a:pt x="615356" y="2678007"/>
                  </a:cubicBezTo>
                  <a:cubicBezTo>
                    <a:pt x="575708" y="2696666"/>
                    <a:pt x="540724" y="2729315"/>
                    <a:pt x="505740" y="2750306"/>
                  </a:cubicBezTo>
                  <a:cubicBezTo>
                    <a:pt x="426443" y="2796952"/>
                    <a:pt x="333152" y="2820274"/>
                    <a:pt x="260852" y="2876249"/>
                  </a:cubicBezTo>
                  <a:lnTo>
                    <a:pt x="484749" y="2780627"/>
                  </a:lnTo>
                  <a:cubicBezTo>
                    <a:pt x="531395" y="2759636"/>
                    <a:pt x="571043" y="2717654"/>
                    <a:pt x="617689" y="2696666"/>
                  </a:cubicBezTo>
                  <a:cubicBezTo>
                    <a:pt x="662001" y="2678007"/>
                    <a:pt x="710979" y="2678007"/>
                    <a:pt x="752960" y="2659347"/>
                  </a:cubicBezTo>
                  <a:cubicBezTo>
                    <a:pt x="804270" y="2636025"/>
                    <a:pt x="892896" y="2549732"/>
                    <a:pt x="939541" y="2510084"/>
                  </a:cubicBezTo>
                  <a:cubicBezTo>
                    <a:pt x="993183" y="2463439"/>
                    <a:pt x="1044493" y="2409796"/>
                    <a:pt x="1100468" y="2363151"/>
                  </a:cubicBezTo>
                  <a:cubicBezTo>
                    <a:pt x="1105132" y="2358487"/>
                    <a:pt x="1137784" y="2332830"/>
                    <a:pt x="1140116" y="2337496"/>
                  </a:cubicBezTo>
                  <a:cubicBezTo>
                    <a:pt x="1126123" y="2430787"/>
                    <a:pt x="1130788" y="2526409"/>
                    <a:pt x="1128454" y="2622032"/>
                  </a:cubicBezTo>
                  <a:cubicBezTo>
                    <a:pt x="1121458" y="2948549"/>
                    <a:pt x="1100468" y="3272735"/>
                    <a:pt x="1189094" y="3589922"/>
                  </a:cubicBezTo>
                  <a:cubicBezTo>
                    <a:pt x="1254397" y="3820817"/>
                    <a:pt x="1345356" y="4070369"/>
                    <a:pt x="1433982" y="4291934"/>
                  </a:cubicBezTo>
                  <a:cubicBezTo>
                    <a:pt x="1443310" y="4312925"/>
                    <a:pt x="1475963" y="4408548"/>
                    <a:pt x="1492289" y="4415546"/>
                  </a:cubicBezTo>
                  <a:cubicBezTo>
                    <a:pt x="1503950" y="4422544"/>
                    <a:pt x="1517943" y="4415546"/>
                    <a:pt x="1524940" y="4408548"/>
                  </a:cubicBezTo>
                  <a:cubicBezTo>
                    <a:pt x="1529605" y="4403884"/>
                    <a:pt x="1569253" y="4336248"/>
                    <a:pt x="1576250" y="4322255"/>
                  </a:cubicBezTo>
                  <a:cubicBezTo>
                    <a:pt x="1660212" y="4172989"/>
                    <a:pt x="1746505" y="3993406"/>
                    <a:pt x="1821138" y="3837142"/>
                  </a:cubicBezTo>
                  <a:cubicBezTo>
                    <a:pt x="1872448" y="3732190"/>
                    <a:pt x="1905100" y="3610913"/>
                    <a:pt x="1944748" y="3501298"/>
                  </a:cubicBezTo>
                  <a:lnTo>
                    <a:pt x="1963407" y="3545609"/>
                  </a:lnTo>
                  <a:cubicBezTo>
                    <a:pt x="2061361" y="3648229"/>
                    <a:pt x="2070691" y="3785833"/>
                    <a:pt x="2126666" y="3911776"/>
                  </a:cubicBezTo>
                  <a:cubicBezTo>
                    <a:pt x="2161650" y="3988740"/>
                    <a:pt x="2203630" y="4063374"/>
                    <a:pt x="2238614" y="4145003"/>
                  </a:cubicBezTo>
                  <a:cubicBezTo>
                    <a:pt x="2275930" y="4231296"/>
                    <a:pt x="2299253" y="4324587"/>
                    <a:pt x="2334237" y="4408548"/>
                  </a:cubicBezTo>
                  <a:cubicBezTo>
                    <a:pt x="2341233" y="4427207"/>
                    <a:pt x="2385547" y="4518166"/>
                    <a:pt x="2394877" y="4529827"/>
                  </a:cubicBezTo>
                  <a:cubicBezTo>
                    <a:pt x="2408870" y="4546152"/>
                    <a:pt x="2429861" y="4550818"/>
                    <a:pt x="2443854" y="4564811"/>
                  </a:cubicBezTo>
                  <a:cubicBezTo>
                    <a:pt x="2448518" y="4564811"/>
                    <a:pt x="2455515" y="4576473"/>
                    <a:pt x="2464845" y="4576473"/>
                  </a:cubicBezTo>
                  <a:cubicBezTo>
                    <a:pt x="2474173" y="4576473"/>
                    <a:pt x="2478838" y="4564811"/>
                    <a:pt x="2478838" y="4564811"/>
                  </a:cubicBezTo>
                  <a:cubicBezTo>
                    <a:pt x="2474173" y="4555482"/>
                    <a:pt x="2483502" y="4541489"/>
                    <a:pt x="2483502" y="4536822"/>
                  </a:cubicBezTo>
                  <a:cubicBezTo>
                    <a:pt x="2483502" y="4492512"/>
                    <a:pt x="2478838" y="4401553"/>
                    <a:pt x="2471841" y="4354907"/>
                  </a:cubicBezTo>
                  <a:cubicBezTo>
                    <a:pt x="2462512" y="4287271"/>
                    <a:pt x="2457847" y="4289603"/>
                    <a:pt x="2401873" y="4259285"/>
                  </a:cubicBezTo>
                  <a:close/>
                  <a:moveTo>
                    <a:pt x="2177975" y="3244749"/>
                  </a:moveTo>
                  <a:cubicBezTo>
                    <a:pt x="2189636" y="3263405"/>
                    <a:pt x="2198966" y="3284396"/>
                    <a:pt x="2198966" y="3307719"/>
                  </a:cubicBezTo>
                  <a:lnTo>
                    <a:pt x="2147655" y="3209765"/>
                  </a:lnTo>
                  <a:cubicBezTo>
                    <a:pt x="2156985" y="3200435"/>
                    <a:pt x="2175643" y="3237751"/>
                    <a:pt x="2180308" y="3244749"/>
                  </a:cubicBezTo>
                  <a:close/>
                  <a:moveTo>
                    <a:pt x="1830468" y="2962542"/>
                  </a:moveTo>
                  <a:cubicBezTo>
                    <a:pt x="1830468" y="2962542"/>
                    <a:pt x="1830468" y="2969540"/>
                    <a:pt x="1828135" y="2967208"/>
                  </a:cubicBezTo>
                  <a:cubicBezTo>
                    <a:pt x="1790819" y="2960210"/>
                    <a:pt x="1807145" y="2939219"/>
                    <a:pt x="1830468" y="2962542"/>
                  </a:cubicBezTo>
                  <a:close/>
                  <a:moveTo>
                    <a:pt x="2152320" y="844845"/>
                  </a:moveTo>
                  <a:cubicBezTo>
                    <a:pt x="2152320" y="844845"/>
                    <a:pt x="2156985" y="879829"/>
                    <a:pt x="2154652" y="884493"/>
                  </a:cubicBezTo>
                  <a:lnTo>
                    <a:pt x="2101010" y="837847"/>
                  </a:lnTo>
                  <a:cubicBezTo>
                    <a:pt x="2110340" y="844845"/>
                    <a:pt x="2149989" y="842513"/>
                    <a:pt x="2152320" y="842513"/>
                  </a:cubicBezTo>
                  <a:close/>
                  <a:moveTo>
                    <a:pt x="2145324" y="683918"/>
                  </a:moveTo>
                  <a:cubicBezTo>
                    <a:pt x="2145324" y="714239"/>
                    <a:pt x="2135994" y="730564"/>
                    <a:pt x="2105675" y="723566"/>
                  </a:cubicBezTo>
                  <a:cubicBezTo>
                    <a:pt x="2098678" y="716570"/>
                    <a:pt x="2140659" y="676920"/>
                    <a:pt x="2145324" y="683918"/>
                  </a:cubicBezTo>
                  <a:close/>
                  <a:moveTo>
                    <a:pt x="1681202" y="695580"/>
                  </a:moveTo>
                  <a:lnTo>
                    <a:pt x="1842129" y="620948"/>
                  </a:lnTo>
                  <a:cubicBezTo>
                    <a:pt x="1804812" y="665259"/>
                    <a:pt x="1739509" y="693248"/>
                    <a:pt x="1681202" y="695580"/>
                  </a:cubicBezTo>
                  <a:close/>
                  <a:moveTo>
                    <a:pt x="1893439" y="511330"/>
                  </a:moveTo>
                  <a:cubicBezTo>
                    <a:pt x="1898103" y="557975"/>
                    <a:pt x="1716186" y="676920"/>
                    <a:pt x="1697528" y="665259"/>
                  </a:cubicBezTo>
                  <a:lnTo>
                    <a:pt x="1697528" y="653598"/>
                  </a:lnTo>
                  <a:cubicBezTo>
                    <a:pt x="1676537" y="665259"/>
                    <a:pt x="1655548" y="669925"/>
                    <a:pt x="1634557" y="674589"/>
                  </a:cubicBezTo>
                  <a:cubicBezTo>
                    <a:pt x="1627560" y="674589"/>
                    <a:pt x="1615899" y="681586"/>
                    <a:pt x="1618231" y="672257"/>
                  </a:cubicBezTo>
                  <a:cubicBezTo>
                    <a:pt x="1730180" y="648934"/>
                    <a:pt x="1802480" y="569637"/>
                    <a:pt x="1893439" y="511330"/>
                  </a:cubicBezTo>
                  <a:close/>
                  <a:moveTo>
                    <a:pt x="620020" y="1378935"/>
                  </a:moveTo>
                  <a:cubicBezTo>
                    <a:pt x="608359" y="1348614"/>
                    <a:pt x="603694" y="1318294"/>
                    <a:pt x="606027" y="1285644"/>
                  </a:cubicBezTo>
                  <a:lnTo>
                    <a:pt x="629350" y="1395260"/>
                  </a:lnTo>
                  <a:cubicBezTo>
                    <a:pt x="622354" y="1395260"/>
                    <a:pt x="622354" y="1385930"/>
                    <a:pt x="620020" y="1378935"/>
                  </a:cubicBezTo>
                  <a:close/>
                  <a:moveTo>
                    <a:pt x="1193759" y="1047751"/>
                  </a:moveTo>
                  <a:lnTo>
                    <a:pt x="1182098" y="1073406"/>
                  </a:lnTo>
                  <a:cubicBezTo>
                    <a:pt x="1191426" y="1075740"/>
                    <a:pt x="1186761" y="1050083"/>
                    <a:pt x="1198422" y="1061744"/>
                  </a:cubicBezTo>
                  <a:cubicBezTo>
                    <a:pt x="1198422" y="1061744"/>
                    <a:pt x="1214749" y="1110724"/>
                    <a:pt x="1214749" y="1120051"/>
                  </a:cubicBezTo>
                  <a:lnTo>
                    <a:pt x="1186761" y="1082735"/>
                  </a:lnTo>
                  <a:cubicBezTo>
                    <a:pt x="1191426" y="1096728"/>
                    <a:pt x="1226410" y="1164365"/>
                    <a:pt x="1221745" y="1171363"/>
                  </a:cubicBezTo>
                  <a:cubicBezTo>
                    <a:pt x="1207752" y="1187687"/>
                    <a:pt x="1196091" y="1134047"/>
                    <a:pt x="1196091" y="1131712"/>
                  </a:cubicBezTo>
                  <a:cubicBezTo>
                    <a:pt x="1184429" y="1103726"/>
                    <a:pt x="1156442" y="1045420"/>
                    <a:pt x="1154110" y="1019765"/>
                  </a:cubicBezTo>
                  <a:cubicBezTo>
                    <a:pt x="1154110" y="1008104"/>
                    <a:pt x="1158775" y="1008104"/>
                    <a:pt x="1165772" y="1012767"/>
                  </a:cubicBezTo>
                  <a:cubicBezTo>
                    <a:pt x="1177433" y="1022097"/>
                    <a:pt x="1170436" y="1036090"/>
                    <a:pt x="1172768" y="1038422"/>
                  </a:cubicBezTo>
                  <a:cubicBezTo>
                    <a:pt x="1177433" y="1040756"/>
                    <a:pt x="1189094" y="1038422"/>
                    <a:pt x="1196091" y="1047751"/>
                  </a:cubicBezTo>
                  <a:close/>
                  <a:moveTo>
                    <a:pt x="1256729" y="511330"/>
                  </a:moveTo>
                  <a:cubicBezTo>
                    <a:pt x="1226410" y="534653"/>
                    <a:pt x="1191426" y="548646"/>
                    <a:pt x="1158775" y="571968"/>
                  </a:cubicBezTo>
                  <a:cubicBezTo>
                    <a:pt x="1126123" y="597625"/>
                    <a:pt x="1107465" y="620948"/>
                    <a:pt x="1079477" y="648934"/>
                  </a:cubicBezTo>
                  <a:cubicBezTo>
                    <a:pt x="1072481" y="655932"/>
                    <a:pt x="1070148" y="662927"/>
                    <a:pt x="1060820" y="660595"/>
                  </a:cubicBezTo>
                  <a:cubicBezTo>
                    <a:pt x="1091139" y="585964"/>
                    <a:pt x="1179765" y="527657"/>
                    <a:pt x="1256729" y="511330"/>
                  </a:cubicBezTo>
                  <a:close/>
                  <a:moveTo>
                    <a:pt x="1009509" y="844845"/>
                  </a:moveTo>
                  <a:cubicBezTo>
                    <a:pt x="1014174" y="863502"/>
                    <a:pt x="993183" y="854175"/>
                    <a:pt x="979190" y="856506"/>
                  </a:cubicBezTo>
                  <a:cubicBezTo>
                    <a:pt x="911554" y="879829"/>
                    <a:pt x="834589" y="954461"/>
                    <a:pt x="785612" y="1008104"/>
                  </a:cubicBezTo>
                  <a:cubicBezTo>
                    <a:pt x="769286" y="1026760"/>
                    <a:pt x="752960" y="1057081"/>
                    <a:pt x="736634" y="1073406"/>
                  </a:cubicBezTo>
                  <a:cubicBezTo>
                    <a:pt x="715644" y="1094397"/>
                    <a:pt x="715644" y="1078072"/>
                    <a:pt x="724972" y="1057081"/>
                  </a:cubicBezTo>
                  <a:cubicBezTo>
                    <a:pt x="757625" y="989445"/>
                    <a:pt x="867242" y="896154"/>
                    <a:pt x="934877" y="863502"/>
                  </a:cubicBezTo>
                  <a:cubicBezTo>
                    <a:pt x="958199" y="851840"/>
                    <a:pt x="983855" y="842513"/>
                    <a:pt x="1011841" y="844845"/>
                  </a:cubicBezTo>
                  <a:close/>
                  <a:moveTo>
                    <a:pt x="876570" y="781872"/>
                  </a:moveTo>
                  <a:cubicBezTo>
                    <a:pt x="876570" y="809861"/>
                    <a:pt x="848582" y="800532"/>
                    <a:pt x="829925" y="807529"/>
                  </a:cubicBezTo>
                  <a:cubicBezTo>
                    <a:pt x="801937" y="819191"/>
                    <a:pt x="778614" y="844845"/>
                    <a:pt x="748295" y="849509"/>
                  </a:cubicBezTo>
                  <a:cubicBezTo>
                    <a:pt x="757625" y="828518"/>
                    <a:pt x="860244" y="767879"/>
                    <a:pt x="874238" y="779541"/>
                  </a:cubicBezTo>
                  <a:close/>
                  <a:moveTo>
                    <a:pt x="771618" y="947465"/>
                  </a:moveTo>
                  <a:cubicBezTo>
                    <a:pt x="813598" y="903152"/>
                    <a:pt x="881235" y="849509"/>
                    <a:pt x="941873" y="837847"/>
                  </a:cubicBezTo>
                  <a:lnTo>
                    <a:pt x="855580" y="893822"/>
                  </a:lnTo>
                  <a:cubicBezTo>
                    <a:pt x="820596" y="919477"/>
                    <a:pt x="792609" y="954461"/>
                    <a:pt x="759956" y="982449"/>
                  </a:cubicBezTo>
                  <a:cubicBezTo>
                    <a:pt x="752960" y="987113"/>
                    <a:pt x="750628" y="996443"/>
                    <a:pt x="738967" y="994111"/>
                  </a:cubicBezTo>
                  <a:cubicBezTo>
                    <a:pt x="734302" y="989445"/>
                    <a:pt x="766953" y="952129"/>
                    <a:pt x="771618" y="947465"/>
                  </a:cubicBezTo>
                  <a:close/>
                  <a:moveTo>
                    <a:pt x="736634" y="998774"/>
                  </a:moveTo>
                  <a:lnTo>
                    <a:pt x="722641" y="1026760"/>
                  </a:lnTo>
                  <a:cubicBezTo>
                    <a:pt x="706315" y="1019765"/>
                    <a:pt x="729637" y="1001106"/>
                    <a:pt x="736634" y="998774"/>
                  </a:cubicBezTo>
                  <a:close/>
                  <a:moveTo>
                    <a:pt x="648008" y="1448903"/>
                  </a:moveTo>
                  <a:cubicBezTo>
                    <a:pt x="643343" y="1439573"/>
                    <a:pt x="655004" y="1437242"/>
                    <a:pt x="659669" y="1441905"/>
                  </a:cubicBezTo>
                  <a:cubicBezTo>
                    <a:pt x="668999" y="1448903"/>
                    <a:pt x="692322" y="1518871"/>
                    <a:pt x="694653" y="1532864"/>
                  </a:cubicBezTo>
                  <a:lnTo>
                    <a:pt x="650340" y="1448903"/>
                  </a:lnTo>
                  <a:close/>
                  <a:moveTo>
                    <a:pt x="703983" y="1490882"/>
                  </a:moveTo>
                  <a:lnTo>
                    <a:pt x="692322" y="1474557"/>
                  </a:lnTo>
                  <a:cubicBezTo>
                    <a:pt x="638678" y="1276315"/>
                    <a:pt x="724972" y="1099063"/>
                    <a:pt x="876570" y="973120"/>
                  </a:cubicBezTo>
                  <a:cubicBezTo>
                    <a:pt x="885899" y="966122"/>
                    <a:pt x="906889" y="954461"/>
                    <a:pt x="916219" y="949797"/>
                  </a:cubicBezTo>
                  <a:cubicBezTo>
                    <a:pt x="827593" y="1026760"/>
                    <a:pt x="766953" y="1131712"/>
                    <a:pt x="731969" y="1243662"/>
                  </a:cubicBezTo>
                  <a:cubicBezTo>
                    <a:pt x="722641" y="1271648"/>
                    <a:pt x="703983" y="1336953"/>
                    <a:pt x="703983" y="1364939"/>
                  </a:cubicBezTo>
                  <a:lnTo>
                    <a:pt x="703983" y="1490882"/>
                  </a:lnTo>
                  <a:close/>
                  <a:moveTo>
                    <a:pt x="811267" y="1544525"/>
                  </a:moveTo>
                  <a:cubicBezTo>
                    <a:pt x="792609" y="1544525"/>
                    <a:pt x="797274" y="1453566"/>
                    <a:pt x="801937" y="1437242"/>
                  </a:cubicBezTo>
                  <a:cubicBezTo>
                    <a:pt x="804270" y="1427912"/>
                    <a:pt x="797274" y="1420914"/>
                    <a:pt x="813598" y="1423246"/>
                  </a:cubicBezTo>
                  <a:cubicBezTo>
                    <a:pt x="799605" y="1455898"/>
                    <a:pt x="813598" y="1490882"/>
                    <a:pt x="813598" y="1523534"/>
                  </a:cubicBezTo>
                  <a:cubicBezTo>
                    <a:pt x="813598" y="1528198"/>
                    <a:pt x="820596" y="1544525"/>
                    <a:pt x="808935" y="1544525"/>
                  </a:cubicBezTo>
                  <a:close/>
                  <a:moveTo>
                    <a:pt x="792609" y="1343951"/>
                  </a:moveTo>
                  <a:cubicBezTo>
                    <a:pt x="773951" y="1411584"/>
                    <a:pt x="762290" y="1479221"/>
                    <a:pt x="766953" y="1549189"/>
                  </a:cubicBezTo>
                  <a:cubicBezTo>
                    <a:pt x="766953" y="1565516"/>
                    <a:pt x="778614" y="1581841"/>
                    <a:pt x="776283" y="1598166"/>
                  </a:cubicBezTo>
                  <a:cubicBezTo>
                    <a:pt x="755292" y="1574843"/>
                    <a:pt x="736634" y="1546857"/>
                    <a:pt x="731969" y="1514205"/>
                  </a:cubicBezTo>
                  <a:cubicBezTo>
                    <a:pt x="724972" y="1439573"/>
                    <a:pt x="731969" y="1334621"/>
                    <a:pt x="755292" y="1262322"/>
                  </a:cubicBezTo>
                  <a:cubicBezTo>
                    <a:pt x="797274" y="1129381"/>
                    <a:pt x="927880" y="1026760"/>
                    <a:pt x="1046825" y="966122"/>
                  </a:cubicBezTo>
                  <a:lnTo>
                    <a:pt x="913887" y="1066411"/>
                  </a:lnTo>
                  <a:cubicBezTo>
                    <a:pt x="883566" y="1092065"/>
                    <a:pt x="811267" y="1164365"/>
                    <a:pt x="799605" y="1199349"/>
                  </a:cubicBezTo>
                  <a:cubicBezTo>
                    <a:pt x="787944" y="1234333"/>
                    <a:pt x="815931" y="1222671"/>
                    <a:pt x="820596" y="1229669"/>
                  </a:cubicBezTo>
                  <a:cubicBezTo>
                    <a:pt x="827593" y="1238999"/>
                    <a:pt x="792609" y="1322960"/>
                    <a:pt x="787944" y="1341616"/>
                  </a:cubicBezTo>
                  <a:close/>
                  <a:moveTo>
                    <a:pt x="1790819" y="2929893"/>
                  </a:moveTo>
                  <a:cubicBezTo>
                    <a:pt x="1790819" y="2929893"/>
                    <a:pt x="1804812" y="2950881"/>
                    <a:pt x="1802480" y="2953215"/>
                  </a:cubicBezTo>
                  <a:cubicBezTo>
                    <a:pt x="1800148" y="2955547"/>
                    <a:pt x="1783822" y="2936888"/>
                    <a:pt x="1779158" y="2932224"/>
                  </a:cubicBezTo>
                  <a:cubicBezTo>
                    <a:pt x="1779158" y="2927558"/>
                    <a:pt x="1788487" y="2927558"/>
                    <a:pt x="1790819" y="2929893"/>
                  </a:cubicBezTo>
                  <a:close/>
                  <a:moveTo>
                    <a:pt x="1692863" y="2883247"/>
                  </a:moveTo>
                  <a:lnTo>
                    <a:pt x="1506282" y="2981201"/>
                  </a:lnTo>
                  <a:cubicBezTo>
                    <a:pt x="1492289" y="2981201"/>
                    <a:pt x="1485292" y="2953215"/>
                    <a:pt x="1478294" y="2941554"/>
                  </a:cubicBezTo>
                  <a:cubicBezTo>
                    <a:pt x="1475963" y="2936888"/>
                    <a:pt x="1464301" y="2936888"/>
                    <a:pt x="1464301" y="2932224"/>
                  </a:cubicBezTo>
                  <a:cubicBezTo>
                    <a:pt x="1464301" y="2908902"/>
                    <a:pt x="1552927" y="2841265"/>
                    <a:pt x="1566922" y="2815611"/>
                  </a:cubicBezTo>
                  <a:cubicBezTo>
                    <a:pt x="1615899" y="2801618"/>
                    <a:pt x="1662544" y="2852927"/>
                    <a:pt x="1695196" y="2885579"/>
                  </a:cubicBezTo>
                  <a:close/>
                  <a:moveTo>
                    <a:pt x="1557592" y="3240082"/>
                  </a:moveTo>
                  <a:cubicBezTo>
                    <a:pt x="1550596" y="3240082"/>
                    <a:pt x="1552927" y="3221426"/>
                    <a:pt x="1543599" y="3221426"/>
                  </a:cubicBezTo>
                  <a:lnTo>
                    <a:pt x="1531938" y="3237751"/>
                  </a:lnTo>
                  <a:lnTo>
                    <a:pt x="1405995" y="3053501"/>
                  </a:lnTo>
                  <a:cubicBezTo>
                    <a:pt x="1468966" y="3039508"/>
                    <a:pt x="1536601" y="3023183"/>
                    <a:pt x="1592576" y="2997526"/>
                  </a:cubicBezTo>
                  <a:cubicBezTo>
                    <a:pt x="1601906" y="2992863"/>
                    <a:pt x="1641553" y="2964877"/>
                    <a:pt x="1646218" y="2967208"/>
                  </a:cubicBezTo>
                  <a:cubicBezTo>
                    <a:pt x="1653215" y="2974203"/>
                    <a:pt x="1618231" y="3027847"/>
                    <a:pt x="1613567" y="3039508"/>
                  </a:cubicBezTo>
                  <a:cubicBezTo>
                    <a:pt x="1599573" y="3079155"/>
                    <a:pt x="1583247" y="3135130"/>
                    <a:pt x="1578583" y="3177112"/>
                  </a:cubicBezTo>
                  <a:cubicBezTo>
                    <a:pt x="1576250" y="3195769"/>
                    <a:pt x="1590244" y="3240082"/>
                    <a:pt x="1559924" y="3237751"/>
                  </a:cubicBezTo>
                  <a:close/>
                  <a:moveTo>
                    <a:pt x="1207752" y="2290851"/>
                  </a:moveTo>
                  <a:cubicBezTo>
                    <a:pt x="1228743" y="2372480"/>
                    <a:pt x="1242736" y="2454110"/>
                    <a:pt x="1287050" y="2528741"/>
                  </a:cubicBezTo>
                  <a:cubicBezTo>
                    <a:pt x="1336027" y="2608039"/>
                    <a:pt x="1457305" y="2733982"/>
                    <a:pt x="1531938" y="2789957"/>
                  </a:cubicBezTo>
                  <a:cubicBezTo>
                    <a:pt x="1536601" y="2794620"/>
                    <a:pt x="1543599" y="2794620"/>
                    <a:pt x="1550596" y="2796952"/>
                  </a:cubicBezTo>
                  <a:cubicBezTo>
                    <a:pt x="1552927" y="2806281"/>
                    <a:pt x="1550596" y="2806281"/>
                    <a:pt x="1545931" y="2810945"/>
                  </a:cubicBezTo>
                  <a:cubicBezTo>
                    <a:pt x="1529605" y="2834267"/>
                    <a:pt x="1494621" y="2859925"/>
                    <a:pt x="1473631" y="2883247"/>
                  </a:cubicBezTo>
                  <a:cubicBezTo>
                    <a:pt x="1412991" y="2953215"/>
                    <a:pt x="1340692" y="3060499"/>
                    <a:pt x="1270724" y="3116474"/>
                  </a:cubicBezTo>
                  <a:cubicBezTo>
                    <a:pt x="1266059" y="3121137"/>
                    <a:pt x="1263727" y="3128135"/>
                    <a:pt x="1254397" y="3125801"/>
                  </a:cubicBezTo>
                  <a:cubicBezTo>
                    <a:pt x="1252066" y="3083822"/>
                    <a:pt x="1228743" y="3037176"/>
                    <a:pt x="1226410" y="2997526"/>
                  </a:cubicBezTo>
                  <a:cubicBezTo>
                    <a:pt x="1217082" y="2897240"/>
                    <a:pt x="1249733" y="2780627"/>
                    <a:pt x="1242736" y="2675675"/>
                  </a:cubicBezTo>
                  <a:cubicBezTo>
                    <a:pt x="1235740" y="2566057"/>
                    <a:pt x="1193759" y="2440116"/>
                    <a:pt x="1196091" y="2330498"/>
                  </a:cubicBezTo>
                  <a:cubicBezTo>
                    <a:pt x="1196091" y="2318837"/>
                    <a:pt x="1200756" y="2302512"/>
                    <a:pt x="1210084" y="2293183"/>
                  </a:cubicBezTo>
                  <a:close/>
                  <a:moveTo>
                    <a:pt x="1319701" y="3811488"/>
                  </a:moveTo>
                  <a:cubicBezTo>
                    <a:pt x="1315036" y="3820817"/>
                    <a:pt x="1315036" y="3827815"/>
                    <a:pt x="1301043" y="3825481"/>
                  </a:cubicBezTo>
                  <a:cubicBezTo>
                    <a:pt x="1275388" y="3708867"/>
                    <a:pt x="1219413" y="3599252"/>
                    <a:pt x="1184429" y="3484970"/>
                  </a:cubicBezTo>
                  <a:cubicBezTo>
                    <a:pt x="1175100" y="3449986"/>
                    <a:pt x="1156442" y="3384685"/>
                    <a:pt x="1151777" y="3352032"/>
                  </a:cubicBezTo>
                  <a:cubicBezTo>
                    <a:pt x="1151777" y="3340371"/>
                    <a:pt x="1158775" y="3340371"/>
                    <a:pt x="1163438" y="3342703"/>
                  </a:cubicBezTo>
                  <a:cubicBezTo>
                    <a:pt x="1165772" y="3345034"/>
                    <a:pt x="1175100" y="3398678"/>
                    <a:pt x="1179765" y="3410339"/>
                  </a:cubicBezTo>
                  <a:cubicBezTo>
                    <a:pt x="1184429" y="3424332"/>
                    <a:pt x="1186761" y="3422000"/>
                    <a:pt x="1186761" y="3410339"/>
                  </a:cubicBezTo>
                  <a:cubicBezTo>
                    <a:pt x="1184429" y="3356696"/>
                    <a:pt x="1156442" y="3296057"/>
                    <a:pt x="1147114" y="3242414"/>
                  </a:cubicBezTo>
                  <a:cubicBezTo>
                    <a:pt x="1123791" y="3095483"/>
                    <a:pt x="1149445" y="2920563"/>
                    <a:pt x="1140116" y="2768966"/>
                  </a:cubicBezTo>
                  <a:lnTo>
                    <a:pt x="1200756" y="3027847"/>
                  </a:lnTo>
                  <a:cubicBezTo>
                    <a:pt x="1207752" y="3051169"/>
                    <a:pt x="1233406" y="3146792"/>
                    <a:pt x="1249733" y="3156121"/>
                  </a:cubicBezTo>
                  <a:cubicBezTo>
                    <a:pt x="1263727" y="3165451"/>
                    <a:pt x="1287050" y="3125801"/>
                    <a:pt x="1296378" y="3116474"/>
                  </a:cubicBezTo>
                  <a:cubicBezTo>
                    <a:pt x="1317369" y="3093151"/>
                    <a:pt x="1340692" y="3069829"/>
                    <a:pt x="1366346" y="3051169"/>
                  </a:cubicBezTo>
                  <a:cubicBezTo>
                    <a:pt x="1368679" y="3097815"/>
                    <a:pt x="1510947" y="3240082"/>
                    <a:pt x="1510947" y="3265737"/>
                  </a:cubicBezTo>
                  <a:cubicBezTo>
                    <a:pt x="1510947" y="3275066"/>
                    <a:pt x="1489956" y="3296057"/>
                    <a:pt x="1485292" y="3310050"/>
                  </a:cubicBezTo>
                  <a:cubicBezTo>
                    <a:pt x="1440979" y="3408007"/>
                    <a:pt x="1403663" y="3529284"/>
                    <a:pt x="1371011" y="3631904"/>
                  </a:cubicBezTo>
                  <a:cubicBezTo>
                    <a:pt x="1357018" y="3680881"/>
                    <a:pt x="1340692" y="3774172"/>
                    <a:pt x="1322034" y="3811488"/>
                  </a:cubicBezTo>
                  <a:close/>
                  <a:moveTo>
                    <a:pt x="1508615" y="3303055"/>
                  </a:moveTo>
                  <a:lnTo>
                    <a:pt x="1480628" y="3382350"/>
                  </a:lnTo>
                  <a:lnTo>
                    <a:pt x="1433982" y="3484970"/>
                  </a:lnTo>
                  <a:cubicBezTo>
                    <a:pt x="1440979" y="3445323"/>
                    <a:pt x="1459637" y="3412671"/>
                    <a:pt x="1473631" y="3375355"/>
                  </a:cubicBezTo>
                  <a:cubicBezTo>
                    <a:pt x="1482959" y="3352032"/>
                    <a:pt x="1485292" y="3317048"/>
                    <a:pt x="1508615" y="3300721"/>
                  </a:cubicBezTo>
                  <a:close/>
                  <a:moveTo>
                    <a:pt x="1457305" y="4151998"/>
                  </a:moveTo>
                  <a:cubicBezTo>
                    <a:pt x="1450308" y="4151998"/>
                    <a:pt x="1447975" y="4126344"/>
                    <a:pt x="1445644" y="4119349"/>
                  </a:cubicBezTo>
                  <a:cubicBezTo>
                    <a:pt x="1433982" y="4016728"/>
                    <a:pt x="1431649" y="3907110"/>
                    <a:pt x="1459637" y="3806824"/>
                  </a:cubicBezTo>
                  <a:lnTo>
                    <a:pt x="1508615" y="3736856"/>
                  </a:lnTo>
                  <a:cubicBezTo>
                    <a:pt x="1473631" y="3872126"/>
                    <a:pt x="1466633" y="4012062"/>
                    <a:pt x="1457305" y="4149667"/>
                  </a:cubicBezTo>
                  <a:close/>
                  <a:moveTo>
                    <a:pt x="1513278" y="3900115"/>
                  </a:moveTo>
                  <a:cubicBezTo>
                    <a:pt x="1506282" y="3909445"/>
                    <a:pt x="1503950" y="3900115"/>
                    <a:pt x="1501617" y="3890785"/>
                  </a:cubicBezTo>
                  <a:cubicBezTo>
                    <a:pt x="1492289" y="3827815"/>
                    <a:pt x="1527273" y="3748518"/>
                    <a:pt x="1538934" y="3687879"/>
                  </a:cubicBezTo>
                  <a:lnTo>
                    <a:pt x="1576250" y="3589922"/>
                  </a:lnTo>
                  <a:lnTo>
                    <a:pt x="1513278" y="3900115"/>
                  </a:lnTo>
                  <a:close/>
                  <a:moveTo>
                    <a:pt x="1608902" y="3405673"/>
                  </a:moveTo>
                  <a:cubicBezTo>
                    <a:pt x="1604237" y="3419669"/>
                    <a:pt x="1594908" y="3431330"/>
                    <a:pt x="1590244" y="3442991"/>
                  </a:cubicBezTo>
                  <a:cubicBezTo>
                    <a:pt x="1566922" y="3510625"/>
                    <a:pt x="1543599" y="3582927"/>
                    <a:pt x="1510947" y="3645897"/>
                  </a:cubicBezTo>
                  <a:cubicBezTo>
                    <a:pt x="1506282" y="3631904"/>
                    <a:pt x="1510947" y="3622575"/>
                    <a:pt x="1489956" y="3631904"/>
                  </a:cubicBezTo>
                  <a:cubicBezTo>
                    <a:pt x="1471298" y="3641234"/>
                    <a:pt x="1464301" y="3692543"/>
                    <a:pt x="1454972" y="3713534"/>
                  </a:cubicBezTo>
                  <a:cubicBezTo>
                    <a:pt x="1452640" y="3722863"/>
                    <a:pt x="1459637" y="3729858"/>
                    <a:pt x="1443310" y="3727527"/>
                  </a:cubicBezTo>
                  <a:cubicBezTo>
                    <a:pt x="1452640" y="3706536"/>
                    <a:pt x="1447975" y="3685545"/>
                    <a:pt x="1450308" y="3662222"/>
                  </a:cubicBezTo>
                  <a:cubicBezTo>
                    <a:pt x="1452640" y="3643566"/>
                    <a:pt x="1478294" y="3561936"/>
                    <a:pt x="1475963" y="3554938"/>
                  </a:cubicBezTo>
                  <a:cubicBezTo>
                    <a:pt x="1471298" y="3547943"/>
                    <a:pt x="1457305" y="3538614"/>
                    <a:pt x="1450308" y="3543277"/>
                  </a:cubicBezTo>
                  <a:cubicBezTo>
                    <a:pt x="1443310" y="3547943"/>
                    <a:pt x="1419988" y="3662222"/>
                    <a:pt x="1405995" y="3669220"/>
                  </a:cubicBezTo>
                  <a:cubicBezTo>
                    <a:pt x="1396665" y="3669220"/>
                    <a:pt x="1396665" y="3669220"/>
                    <a:pt x="1396665" y="3659890"/>
                  </a:cubicBezTo>
                  <a:cubicBezTo>
                    <a:pt x="1419988" y="3568931"/>
                    <a:pt x="1464301" y="3445323"/>
                    <a:pt x="1503950" y="3359027"/>
                  </a:cubicBezTo>
                  <a:cubicBezTo>
                    <a:pt x="1510947" y="3345034"/>
                    <a:pt x="1531938" y="3293726"/>
                    <a:pt x="1541266" y="3286728"/>
                  </a:cubicBezTo>
                  <a:cubicBezTo>
                    <a:pt x="1550596" y="3279733"/>
                    <a:pt x="1622895" y="3263405"/>
                    <a:pt x="1627560" y="3265737"/>
                  </a:cubicBezTo>
                  <a:cubicBezTo>
                    <a:pt x="1632225" y="3270403"/>
                    <a:pt x="1611234" y="3389348"/>
                    <a:pt x="1608902" y="3403341"/>
                  </a:cubicBezTo>
                  <a:close/>
                  <a:moveTo>
                    <a:pt x="1611234" y="3223758"/>
                  </a:moveTo>
                  <a:cubicBezTo>
                    <a:pt x="1611234" y="3233087"/>
                    <a:pt x="1615899" y="3233087"/>
                    <a:pt x="1599573" y="3233087"/>
                  </a:cubicBezTo>
                  <a:cubicBezTo>
                    <a:pt x="1587911" y="3118806"/>
                    <a:pt x="1641553" y="3032510"/>
                    <a:pt x="1702193" y="2943886"/>
                  </a:cubicBezTo>
                  <a:cubicBezTo>
                    <a:pt x="1709189" y="2934556"/>
                    <a:pt x="1716186" y="2911233"/>
                    <a:pt x="1730180" y="2913565"/>
                  </a:cubicBezTo>
                  <a:cubicBezTo>
                    <a:pt x="1713854" y="2976538"/>
                    <a:pt x="1671874" y="3027847"/>
                    <a:pt x="1646218" y="3086153"/>
                  </a:cubicBezTo>
                  <a:cubicBezTo>
                    <a:pt x="1625228" y="3137462"/>
                    <a:pt x="1618231" y="3172446"/>
                    <a:pt x="1608902" y="3226089"/>
                  </a:cubicBezTo>
                  <a:close/>
                  <a:moveTo>
                    <a:pt x="2038039" y="3083822"/>
                  </a:moveTo>
                  <a:cubicBezTo>
                    <a:pt x="2049700" y="3088485"/>
                    <a:pt x="2054365" y="3107144"/>
                    <a:pt x="2056698" y="3118806"/>
                  </a:cubicBezTo>
                  <a:cubicBezTo>
                    <a:pt x="2066026" y="3142128"/>
                    <a:pt x="2101010" y="3247080"/>
                    <a:pt x="2098678" y="3263405"/>
                  </a:cubicBezTo>
                  <a:cubicBezTo>
                    <a:pt x="2096345" y="3270403"/>
                    <a:pt x="2091682" y="3277398"/>
                    <a:pt x="2087017" y="3282064"/>
                  </a:cubicBezTo>
                  <a:cubicBezTo>
                    <a:pt x="2068359" y="3303055"/>
                    <a:pt x="2031042" y="3326378"/>
                    <a:pt x="2012384" y="3352032"/>
                  </a:cubicBezTo>
                  <a:lnTo>
                    <a:pt x="1970404" y="3410339"/>
                  </a:lnTo>
                  <a:lnTo>
                    <a:pt x="2040372" y="3083822"/>
                  </a:lnTo>
                  <a:close/>
                  <a:moveTo>
                    <a:pt x="2814685" y="739893"/>
                  </a:moveTo>
                  <a:cubicBezTo>
                    <a:pt x="2796025" y="770211"/>
                    <a:pt x="2772703" y="826186"/>
                    <a:pt x="2777368" y="861170"/>
                  </a:cubicBezTo>
                  <a:cubicBezTo>
                    <a:pt x="2779701" y="882161"/>
                    <a:pt x="2786697" y="886824"/>
                    <a:pt x="2789029" y="896154"/>
                  </a:cubicBezTo>
                  <a:cubicBezTo>
                    <a:pt x="2800690" y="940468"/>
                    <a:pt x="2810020" y="989445"/>
                    <a:pt x="2817016" y="1033758"/>
                  </a:cubicBezTo>
                  <a:cubicBezTo>
                    <a:pt x="2819348" y="1047751"/>
                    <a:pt x="2826346" y="1087402"/>
                    <a:pt x="2805355" y="1092065"/>
                  </a:cubicBezTo>
                  <a:cubicBezTo>
                    <a:pt x="2798359" y="1047751"/>
                    <a:pt x="2796025" y="994111"/>
                    <a:pt x="2770371" y="954461"/>
                  </a:cubicBezTo>
                  <a:cubicBezTo>
                    <a:pt x="2770371" y="945131"/>
                    <a:pt x="2768039" y="931138"/>
                    <a:pt x="2765706" y="921808"/>
                  </a:cubicBezTo>
                  <a:cubicBezTo>
                    <a:pt x="2763375" y="912481"/>
                    <a:pt x="2770371" y="905484"/>
                    <a:pt x="2754045" y="907815"/>
                  </a:cubicBezTo>
                  <a:lnTo>
                    <a:pt x="2742384" y="1059413"/>
                  </a:lnTo>
                  <a:cubicBezTo>
                    <a:pt x="2742384" y="1073406"/>
                    <a:pt x="2733055" y="1078072"/>
                    <a:pt x="2719061" y="1080404"/>
                  </a:cubicBezTo>
                  <a:cubicBezTo>
                    <a:pt x="2719061" y="1052418"/>
                    <a:pt x="2719061" y="1024429"/>
                    <a:pt x="2719061" y="996443"/>
                  </a:cubicBezTo>
                  <a:cubicBezTo>
                    <a:pt x="2721394" y="956792"/>
                    <a:pt x="2744717" y="884493"/>
                    <a:pt x="2742384" y="851840"/>
                  </a:cubicBezTo>
                  <a:cubicBezTo>
                    <a:pt x="2742384" y="819191"/>
                    <a:pt x="2670084" y="683918"/>
                    <a:pt x="2691073" y="660595"/>
                  </a:cubicBezTo>
                  <a:cubicBezTo>
                    <a:pt x="2691073" y="660595"/>
                    <a:pt x="2702735" y="660595"/>
                    <a:pt x="2707400" y="660595"/>
                  </a:cubicBezTo>
                  <a:lnTo>
                    <a:pt x="2707400" y="665259"/>
                  </a:lnTo>
                  <a:cubicBezTo>
                    <a:pt x="2716729" y="711904"/>
                    <a:pt x="2735387" y="758550"/>
                    <a:pt x="2754045" y="802863"/>
                  </a:cubicBezTo>
                  <a:cubicBezTo>
                    <a:pt x="2758710" y="807529"/>
                    <a:pt x="2784364" y="742225"/>
                    <a:pt x="2789029" y="732895"/>
                  </a:cubicBezTo>
                  <a:cubicBezTo>
                    <a:pt x="2803023" y="709573"/>
                    <a:pt x="2831009" y="674589"/>
                    <a:pt x="2861330" y="672257"/>
                  </a:cubicBezTo>
                  <a:cubicBezTo>
                    <a:pt x="2870658" y="672257"/>
                    <a:pt x="2872991" y="681586"/>
                    <a:pt x="2875323" y="681586"/>
                  </a:cubicBezTo>
                  <a:cubicBezTo>
                    <a:pt x="2877655" y="716570"/>
                    <a:pt x="2870658" y="700243"/>
                    <a:pt x="2858997" y="704909"/>
                  </a:cubicBezTo>
                  <a:cubicBezTo>
                    <a:pt x="2840339" y="686250"/>
                    <a:pt x="2821681" y="728232"/>
                    <a:pt x="2814685" y="739893"/>
                  </a:cubicBezTo>
                  <a:close/>
                </a:path>
              </a:pathLst>
            </a:custGeom>
            <a:solidFill>
              <a:schemeClr val="tx1"/>
            </a:solidFill>
            <a:ln w="23318"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8A18F062-DC2B-B1CD-E403-39A28965B06B}"/>
                </a:ext>
              </a:extLst>
            </p:cNvPr>
            <p:cNvSpPr/>
            <p:nvPr/>
          </p:nvSpPr>
          <p:spPr>
            <a:xfrm>
              <a:off x="-41277476" y="16913615"/>
              <a:ext cx="3584023" cy="4618173"/>
            </a:xfrm>
            <a:custGeom>
              <a:avLst/>
              <a:gdLst>
                <a:gd name="connsiteX0" fmla="*/ 2809710 w 3584023"/>
                <a:gd name="connsiteY0" fmla="*/ 600290 h 4618173"/>
                <a:gd name="connsiteX1" fmla="*/ 2833033 w 3584023"/>
                <a:gd name="connsiteY1" fmla="*/ 740226 h 4618173"/>
                <a:gd name="connsiteX2" fmla="*/ 3084918 w 3584023"/>
                <a:gd name="connsiteY2" fmla="*/ 849844 h 4618173"/>
                <a:gd name="connsiteX3" fmla="*/ 3103576 w 3584023"/>
                <a:gd name="connsiteY3" fmla="*/ 847510 h 4618173"/>
                <a:gd name="connsiteX4" fmla="*/ 3075589 w 3584023"/>
                <a:gd name="connsiteY4" fmla="*/ 770546 h 4618173"/>
                <a:gd name="connsiteX5" fmla="*/ 3096579 w 3584023"/>
                <a:gd name="connsiteY5" fmla="*/ 749555 h 4618173"/>
                <a:gd name="connsiteX6" fmla="*/ 3091914 w 3584023"/>
                <a:gd name="connsiteY6" fmla="*/ 723901 h 4618173"/>
                <a:gd name="connsiteX7" fmla="*/ 3056930 w 3584023"/>
                <a:gd name="connsiteY7" fmla="*/ 747224 h 4618173"/>
                <a:gd name="connsiteX8" fmla="*/ 3098912 w 3584023"/>
                <a:gd name="connsiteY8" fmla="*/ 583965 h 4618173"/>
                <a:gd name="connsiteX9" fmla="*/ 3229518 w 3584023"/>
                <a:gd name="connsiteY9" fmla="*/ 388054 h 4618173"/>
                <a:gd name="connsiteX10" fmla="*/ 3229518 w 3584023"/>
                <a:gd name="connsiteY10" fmla="*/ 245786 h 4618173"/>
                <a:gd name="connsiteX11" fmla="*/ 3040605 w 3584023"/>
                <a:gd name="connsiteY11" fmla="*/ 21889 h 4618173"/>
                <a:gd name="connsiteX12" fmla="*/ 2662778 w 3584023"/>
                <a:gd name="connsiteY12" fmla="*/ 371729 h 4618173"/>
                <a:gd name="connsiteX13" fmla="*/ 2814375 w 3584023"/>
                <a:gd name="connsiteY13" fmla="*/ 600290 h 4618173"/>
                <a:gd name="connsiteX14" fmla="*/ 3131563 w 3584023"/>
                <a:gd name="connsiteY14" fmla="*/ 481345 h 4618173"/>
                <a:gd name="connsiteX15" fmla="*/ 3070925 w 3584023"/>
                <a:gd name="connsiteY15" fmla="*/ 544315 h 4618173"/>
                <a:gd name="connsiteX16" fmla="*/ 3166547 w 3584023"/>
                <a:gd name="connsiteY16" fmla="*/ 434699 h 4618173"/>
                <a:gd name="connsiteX17" fmla="*/ 3213192 w 3584023"/>
                <a:gd name="connsiteY17" fmla="*/ 341409 h 4618173"/>
                <a:gd name="connsiteX18" fmla="*/ 3129231 w 3584023"/>
                <a:gd name="connsiteY18" fmla="*/ 481345 h 4618173"/>
                <a:gd name="connsiteX19" fmla="*/ 2807379 w 3584023"/>
                <a:gd name="connsiteY19" fmla="*/ 59205 h 4618173"/>
                <a:gd name="connsiteX20" fmla="*/ 2737411 w 3584023"/>
                <a:gd name="connsiteY20" fmla="*/ 122175 h 4618173"/>
                <a:gd name="connsiteX21" fmla="*/ 2807379 w 3584023"/>
                <a:gd name="connsiteY21" fmla="*/ 59205 h 4618173"/>
                <a:gd name="connsiteX22" fmla="*/ 3164215 w 3584023"/>
                <a:gd name="connsiteY22" fmla="*/ 189811 h 4618173"/>
                <a:gd name="connsiteX23" fmla="*/ 2998623 w 3584023"/>
                <a:gd name="connsiteY23" fmla="*/ 656265 h 4618173"/>
                <a:gd name="connsiteX24" fmla="*/ 2986962 w 3584023"/>
                <a:gd name="connsiteY24" fmla="*/ 714571 h 4618173"/>
                <a:gd name="connsiteX25" fmla="*/ 2940317 w 3584023"/>
                <a:gd name="connsiteY25" fmla="*/ 702910 h 4618173"/>
                <a:gd name="connsiteX26" fmla="*/ 2951978 w 3584023"/>
                <a:gd name="connsiteY26" fmla="*/ 576967 h 4618173"/>
                <a:gd name="connsiteX27" fmla="*/ 2947315 w 3584023"/>
                <a:gd name="connsiteY27" fmla="*/ 544315 h 4618173"/>
                <a:gd name="connsiteX28" fmla="*/ 2935653 w 3584023"/>
                <a:gd name="connsiteY28" fmla="*/ 530322 h 4618173"/>
                <a:gd name="connsiteX29" fmla="*/ 2923992 w 3584023"/>
                <a:gd name="connsiteY29" fmla="*/ 681919 h 4618173"/>
                <a:gd name="connsiteX30" fmla="*/ 2900669 w 3584023"/>
                <a:gd name="connsiteY30" fmla="*/ 702910 h 4618173"/>
                <a:gd name="connsiteX31" fmla="*/ 2851691 w 3584023"/>
                <a:gd name="connsiteY31" fmla="*/ 600290 h 4618173"/>
                <a:gd name="connsiteX32" fmla="*/ 2702427 w 3584023"/>
                <a:gd name="connsiteY32" fmla="*/ 369395 h 4618173"/>
                <a:gd name="connsiteX33" fmla="*/ 3164215 w 3584023"/>
                <a:gd name="connsiteY33" fmla="*/ 189811 h 4618173"/>
                <a:gd name="connsiteX34" fmla="*/ 3077921 w 3584023"/>
                <a:gd name="connsiteY34" fmla="*/ 950130 h 4618173"/>
                <a:gd name="connsiteX35" fmla="*/ 2972969 w 3584023"/>
                <a:gd name="connsiteY35" fmla="*/ 908151 h 4618173"/>
                <a:gd name="connsiteX36" fmla="*/ 2835365 w 3584023"/>
                <a:gd name="connsiteY36" fmla="*/ 884828 h 4618173"/>
                <a:gd name="connsiteX37" fmla="*/ 2802714 w 3584023"/>
                <a:gd name="connsiteY37" fmla="*/ 833516 h 4618173"/>
                <a:gd name="connsiteX38" fmla="*/ 2823703 w 3584023"/>
                <a:gd name="connsiteY38" fmla="*/ 833516 h 4618173"/>
                <a:gd name="connsiteX39" fmla="*/ 3038272 w 3584023"/>
                <a:gd name="connsiteY39" fmla="*/ 877830 h 4618173"/>
                <a:gd name="connsiteX40" fmla="*/ 3066260 w 3584023"/>
                <a:gd name="connsiteY40" fmla="*/ 931473 h 4618173"/>
                <a:gd name="connsiteX41" fmla="*/ 3073256 w 3584023"/>
                <a:gd name="connsiteY41" fmla="*/ 870832 h 4618173"/>
                <a:gd name="connsiteX42" fmla="*/ 3056930 w 3584023"/>
                <a:gd name="connsiteY42" fmla="*/ 856839 h 4618173"/>
                <a:gd name="connsiteX43" fmla="*/ 3080253 w 3584023"/>
                <a:gd name="connsiteY43" fmla="*/ 856839 h 4618173"/>
                <a:gd name="connsiteX44" fmla="*/ 3080253 w 3584023"/>
                <a:gd name="connsiteY44" fmla="*/ 947798 h 4618173"/>
                <a:gd name="connsiteX45" fmla="*/ 2779391 w 3584023"/>
                <a:gd name="connsiteY45" fmla="*/ 677256 h 4618173"/>
                <a:gd name="connsiteX46" fmla="*/ 2625461 w 3584023"/>
                <a:gd name="connsiteY46" fmla="*/ 357733 h 4618173"/>
                <a:gd name="connsiteX47" fmla="*/ 2662778 w 3584023"/>
                <a:gd name="connsiteY47" fmla="*/ 444029 h 4618173"/>
                <a:gd name="connsiteX48" fmla="*/ 2781723 w 3584023"/>
                <a:gd name="connsiteY48" fmla="*/ 611951 h 4618173"/>
                <a:gd name="connsiteX49" fmla="*/ 2802714 w 3584023"/>
                <a:gd name="connsiteY49" fmla="*/ 744892 h 4618173"/>
                <a:gd name="connsiteX50" fmla="*/ 2786388 w 3584023"/>
                <a:gd name="connsiteY50" fmla="*/ 744892 h 4618173"/>
                <a:gd name="connsiteX51" fmla="*/ 2779391 w 3584023"/>
                <a:gd name="connsiteY51" fmla="*/ 679587 h 4618173"/>
                <a:gd name="connsiteX52" fmla="*/ 1578274 w 3584023"/>
                <a:gd name="connsiteY52" fmla="*/ 3284729 h 4618173"/>
                <a:gd name="connsiteX53" fmla="*/ 1685557 w 3584023"/>
                <a:gd name="connsiteY53" fmla="*/ 2983869 h 4618173"/>
                <a:gd name="connsiteX54" fmla="*/ 1722874 w 3584023"/>
                <a:gd name="connsiteY54" fmla="*/ 2911566 h 4618173"/>
                <a:gd name="connsiteX55" fmla="*/ 1809167 w 3584023"/>
                <a:gd name="connsiteY55" fmla="*/ 2890578 h 4618173"/>
                <a:gd name="connsiteX56" fmla="*/ 1790509 w 3584023"/>
                <a:gd name="connsiteY56" fmla="*/ 3028179 h 4618173"/>
                <a:gd name="connsiteX57" fmla="*/ 1771852 w 3584023"/>
                <a:gd name="connsiteY57" fmla="*/ 3065498 h 4618173"/>
                <a:gd name="connsiteX58" fmla="*/ 1692554 w 3584023"/>
                <a:gd name="connsiteY58" fmla="*/ 3268404 h 4618173"/>
                <a:gd name="connsiteX59" fmla="*/ 1671564 w 3584023"/>
                <a:gd name="connsiteY59" fmla="*/ 3254411 h 4618173"/>
                <a:gd name="connsiteX60" fmla="*/ 1636580 w 3584023"/>
                <a:gd name="connsiteY60" fmla="*/ 3336040 h 4618173"/>
                <a:gd name="connsiteX61" fmla="*/ 1624919 w 3584023"/>
                <a:gd name="connsiteY61" fmla="*/ 3350033 h 4618173"/>
                <a:gd name="connsiteX62" fmla="*/ 1631916 w 3584023"/>
                <a:gd name="connsiteY62" fmla="*/ 3284729 h 4618173"/>
                <a:gd name="connsiteX63" fmla="*/ 1657570 w 3584023"/>
                <a:gd name="connsiteY63" fmla="*/ 3177445 h 4618173"/>
                <a:gd name="connsiteX64" fmla="*/ 1631916 w 3584023"/>
                <a:gd name="connsiteY64" fmla="*/ 3165784 h 4618173"/>
                <a:gd name="connsiteX65" fmla="*/ 1587602 w 3584023"/>
                <a:gd name="connsiteY65" fmla="*/ 3291727 h 4618173"/>
                <a:gd name="connsiteX66" fmla="*/ 1578274 w 3584023"/>
                <a:gd name="connsiteY66" fmla="*/ 3282397 h 4618173"/>
                <a:gd name="connsiteX67" fmla="*/ 1711213 w 3584023"/>
                <a:gd name="connsiteY67" fmla="*/ 2862589 h 4618173"/>
                <a:gd name="connsiteX68" fmla="*/ 1585270 w 3584023"/>
                <a:gd name="connsiteY68" fmla="*/ 2678339 h 4618173"/>
                <a:gd name="connsiteX69" fmla="*/ 1771852 w 3584023"/>
                <a:gd name="connsiteY69" fmla="*/ 2622367 h 4618173"/>
                <a:gd name="connsiteX70" fmla="*/ 1825493 w 3584023"/>
                <a:gd name="connsiteY70" fmla="*/ 2592047 h 4618173"/>
                <a:gd name="connsiteX71" fmla="*/ 1792843 w 3584023"/>
                <a:gd name="connsiteY71" fmla="*/ 2664346 h 4618173"/>
                <a:gd name="connsiteX72" fmla="*/ 1757858 w 3584023"/>
                <a:gd name="connsiteY72" fmla="*/ 2801951 h 4618173"/>
                <a:gd name="connsiteX73" fmla="*/ 1739199 w 3584023"/>
                <a:gd name="connsiteY73" fmla="*/ 2862589 h 4618173"/>
                <a:gd name="connsiteX74" fmla="*/ 1725206 w 3584023"/>
                <a:gd name="connsiteY74" fmla="*/ 2843932 h 4618173"/>
                <a:gd name="connsiteX75" fmla="*/ 1713545 w 3584023"/>
                <a:gd name="connsiteY75" fmla="*/ 2860257 h 4618173"/>
                <a:gd name="connsiteX76" fmla="*/ 1638912 w 3584023"/>
                <a:gd name="connsiteY76" fmla="*/ 3429331 h 4618173"/>
                <a:gd name="connsiteX77" fmla="*/ 1687890 w 3584023"/>
                <a:gd name="connsiteY77" fmla="*/ 3359363 h 4618173"/>
                <a:gd name="connsiteX78" fmla="*/ 1636580 w 3584023"/>
                <a:gd name="connsiteY78" fmla="*/ 3772173 h 4618173"/>
                <a:gd name="connsiteX79" fmla="*/ 1624919 w 3584023"/>
                <a:gd name="connsiteY79" fmla="*/ 3739521 h 4618173"/>
                <a:gd name="connsiteX80" fmla="*/ 1638912 w 3584023"/>
                <a:gd name="connsiteY80" fmla="*/ 3426999 h 4618173"/>
                <a:gd name="connsiteX81" fmla="*/ 1883800 w 3584023"/>
                <a:gd name="connsiteY81" fmla="*/ 2566392 h 4618173"/>
                <a:gd name="connsiteX82" fmla="*/ 1911788 w 3584023"/>
                <a:gd name="connsiteY82" fmla="*/ 2536072 h 4618173"/>
                <a:gd name="connsiteX83" fmla="*/ 1827827 w 3584023"/>
                <a:gd name="connsiteY83" fmla="*/ 2708660 h 4618173"/>
                <a:gd name="connsiteX84" fmla="*/ 1790509 w 3584023"/>
                <a:gd name="connsiteY84" fmla="*/ 2848596 h 4618173"/>
                <a:gd name="connsiteX85" fmla="*/ 1778848 w 3584023"/>
                <a:gd name="connsiteY85" fmla="*/ 2857926 h 4618173"/>
                <a:gd name="connsiteX86" fmla="*/ 1881468 w 3584023"/>
                <a:gd name="connsiteY86" fmla="*/ 2568724 h 4618173"/>
                <a:gd name="connsiteX87" fmla="*/ 1683226 w 3584023"/>
                <a:gd name="connsiteY87" fmla="*/ 3513292 h 4618173"/>
                <a:gd name="connsiteX88" fmla="*/ 1720541 w 3584023"/>
                <a:gd name="connsiteY88" fmla="*/ 3310386 h 4618173"/>
                <a:gd name="connsiteX89" fmla="*/ 1757858 w 3584023"/>
                <a:gd name="connsiteY89" fmla="*/ 3212429 h 4618173"/>
                <a:gd name="connsiteX90" fmla="*/ 1694887 w 3584023"/>
                <a:gd name="connsiteY90" fmla="*/ 3522622 h 4618173"/>
                <a:gd name="connsiteX91" fmla="*/ 1683226 w 3584023"/>
                <a:gd name="connsiteY91" fmla="*/ 3513292 h 4618173"/>
                <a:gd name="connsiteX92" fmla="*/ 1613258 w 3584023"/>
                <a:gd name="connsiteY92" fmla="*/ 3109809 h 4618173"/>
                <a:gd name="connsiteX93" fmla="*/ 1652906 w 3584023"/>
                <a:gd name="connsiteY93" fmla="*/ 3000193 h 4618173"/>
                <a:gd name="connsiteX94" fmla="*/ 1657570 w 3584023"/>
                <a:gd name="connsiteY94" fmla="*/ 3004857 h 4618173"/>
                <a:gd name="connsiteX95" fmla="*/ 1610925 w 3584023"/>
                <a:gd name="connsiteY95" fmla="*/ 3107477 h 4618173"/>
                <a:gd name="connsiteX96" fmla="*/ 1958433 w 3584023"/>
                <a:gd name="connsiteY96" fmla="*/ 2554731 h 4618173"/>
                <a:gd name="connsiteX97" fmla="*/ 1970094 w 3584023"/>
                <a:gd name="connsiteY97" fmla="*/ 2552399 h 4618173"/>
                <a:gd name="connsiteX98" fmla="*/ 1981756 w 3584023"/>
                <a:gd name="connsiteY98" fmla="*/ 2575722 h 4618173"/>
                <a:gd name="connsiteX99" fmla="*/ 1958433 w 3584023"/>
                <a:gd name="connsiteY99" fmla="*/ 2554731 h 4618173"/>
                <a:gd name="connsiteX100" fmla="*/ 2009743 w 3584023"/>
                <a:gd name="connsiteY100" fmla="*/ 2585049 h 4618173"/>
                <a:gd name="connsiteX101" fmla="*/ 2007410 w 3584023"/>
                <a:gd name="connsiteY101" fmla="*/ 2589715 h 4618173"/>
                <a:gd name="connsiteX102" fmla="*/ 2009743 w 3584023"/>
                <a:gd name="connsiteY102" fmla="*/ 2585049 h 4618173"/>
                <a:gd name="connsiteX103" fmla="*/ 2541500 w 3584023"/>
                <a:gd name="connsiteY103" fmla="*/ 1906359 h 4618173"/>
                <a:gd name="connsiteX104" fmla="*/ 2490190 w 3584023"/>
                <a:gd name="connsiteY104" fmla="*/ 1885368 h 4618173"/>
                <a:gd name="connsiteX105" fmla="*/ 2588145 w 3584023"/>
                <a:gd name="connsiteY105" fmla="*/ 1913357 h 4618173"/>
                <a:gd name="connsiteX106" fmla="*/ 2571819 w 3584023"/>
                <a:gd name="connsiteY106" fmla="*/ 1913357 h 4618173"/>
                <a:gd name="connsiteX107" fmla="*/ 2541500 w 3584023"/>
                <a:gd name="connsiteY107" fmla="*/ 1904028 h 4618173"/>
                <a:gd name="connsiteX108" fmla="*/ 815622 w 3584023"/>
                <a:gd name="connsiteY108" fmla="*/ 2659683 h 4618173"/>
                <a:gd name="connsiteX109" fmla="*/ 831948 w 3584023"/>
                <a:gd name="connsiteY109" fmla="*/ 2683005 h 4618173"/>
                <a:gd name="connsiteX110" fmla="*/ 827283 w 3584023"/>
                <a:gd name="connsiteY110" fmla="*/ 2717989 h 4618173"/>
                <a:gd name="connsiteX111" fmla="*/ 815622 w 3584023"/>
                <a:gd name="connsiteY111" fmla="*/ 2659683 h 4618173"/>
                <a:gd name="connsiteX112" fmla="*/ 2301276 w 3584023"/>
                <a:gd name="connsiteY112" fmla="*/ 3536615 h 4618173"/>
                <a:gd name="connsiteX113" fmla="*/ 2138018 w 3584023"/>
                <a:gd name="connsiteY113" fmla="*/ 3170450 h 4618173"/>
                <a:gd name="connsiteX114" fmla="*/ 2119360 w 3584023"/>
                <a:gd name="connsiteY114" fmla="*/ 3126136 h 4618173"/>
                <a:gd name="connsiteX115" fmla="*/ 1995749 w 3584023"/>
                <a:gd name="connsiteY115" fmla="*/ 3461983 h 4618173"/>
                <a:gd name="connsiteX116" fmla="*/ 1750861 w 3584023"/>
                <a:gd name="connsiteY116" fmla="*/ 3947093 h 4618173"/>
                <a:gd name="connsiteX117" fmla="*/ 1699552 w 3584023"/>
                <a:gd name="connsiteY117" fmla="*/ 4033389 h 4618173"/>
                <a:gd name="connsiteX118" fmla="*/ 1666900 w 3584023"/>
                <a:gd name="connsiteY118" fmla="*/ 4040384 h 4618173"/>
                <a:gd name="connsiteX119" fmla="*/ 1608593 w 3584023"/>
                <a:gd name="connsiteY119" fmla="*/ 3916775 h 4618173"/>
                <a:gd name="connsiteX120" fmla="*/ 1363705 w 3584023"/>
                <a:gd name="connsiteY120" fmla="*/ 3214761 h 4618173"/>
                <a:gd name="connsiteX121" fmla="*/ 1303066 w 3584023"/>
                <a:gd name="connsiteY121" fmla="*/ 2246870 h 4618173"/>
                <a:gd name="connsiteX122" fmla="*/ 1314728 w 3584023"/>
                <a:gd name="connsiteY122" fmla="*/ 1962334 h 4618173"/>
                <a:gd name="connsiteX123" fmla="*/ 1275079 w 3584023"/>
                <a:gd name="connsiteY123" fmla="*/ 1987989 h 4618173"/>
                <a:gd name="connsiteX124" fmla="*/ 1114152 w 3584023"/>
                <a:gd name="connsiteY124" fmla="*/ 2134923 h 4618173"/>
                <a:gd name="connsiteX125" fmla="*/ 1102491 w 3584023"/>
                <a:gd name="connsiteY125" fmla="*/ 2160577 h 4618173"/>
                <a:gd name="connsiteX126" fmla="*/ 925239 w 3584023"/>
                <a:gd name="connsiteY126" fmla="*/ 2307511 h 4618173"/>
                <a:gd name="connsiteX127" fmla="*/ 1027858 w 3584023"/>
                <a:gd name="connsiteY127" fmla="*/ 2419458 h 4618173"/>
                <a:gd name="connsiteX128" fmla="*/ 1032523 w 3584023"/>
                <a:gd name="connsiteY128" fmla="*/ 2445113 h 4618173"/>
                <a:gd name="connsiteX129" fmla="*/ 995207 w 3584023"/>
                <a:gd name="connsiteY129" fmla="*/ 2428788 h 4618173"/>
                <a:gd name="connsiteX130" fmla="*/ 894920 w 3584023"/>
                <a:gd name="connsiteY130" fmla="*/ 2326167 h 4618173"/>
                <a:gd name="connsiteX131" fmla="*/ 796964 w 3584023"/>
                <a:gd name="connsiteY131" fmla="*/ 2347158 h 4618173"/>
                <a:gd name="connsiteX132" fmla="*/ 694344 w 3584023"/>
                <a:gd name="connsiteY132" fmla="*/ 2421790 h 4618173"/>
                <a:gd name="connsiteX133" fmla="*/ 512427 w 3584023"/>
                <a:gd name="connsiteY133" fmla="*/ 2487094 h 4618173"/>
                <a:gd name="connsiteX134" fmla="*/ 237220 w 3584023"/>
                <a:gd name="connsiteY134" fmla="*/ 2585049 h 4618173"/>
                <a:gd name="connsiteX135" fmla="*/ 83290 w 3584023"/>
                <a:gd name="connsiteY135" fmla="*/ 2850928 h 4618173"/>
                <a:gd name="connsiteX136" fmla="*/ 27316 w 3584023"/>
                <a:gd name="connsiteY136" fmla="*/ 3774505 h 4618173"/>
                <a:gd name="connsiteX137" fmla="*/ 146261 w 3584023"/>
                <a:gd name="connsiteY137" fmla="*/ 4453197 h 4618173"/>
                <a:gd name="connsiteX138" fmla="*/ 129935 w 3584023"/>
                <a:gd name="connsiteY138" fmla="*/ 4616456 h 4618173"/>
                <a:gd name="connsiteX139" fmla="*/ 192906 w 3584023"/>
                <a:gd name="connsiteY139" fmla="*/ 4602460 h 4618173"/>
                <a:gd name="connsiteX140" fmla="*/ 1802171 w 3584023"/>
                <a:gd name="connsiteY140" fmla="*/ 4203643 h 4618173"/>
                <a:gd name="connsiteX141" fmla="*/ 2023736 w 3584023"/>
                <a:gd name="connsiteY141" fmla="*/ 3681214 h 4618173"/>
                <a:gd name="connsiteX142" fmla="*/ 2154344 w 3584023"/>
                <a:gd name="connsiteY142" fmla="*/ 3520290 h 4618173"/>
                <a:gd name="connsiteX143" fmla="*/ 2163672 w 3584023"/>
                <a:gd name="connsiteY143" fmla="*/ 3529617 h 4618173"/>
                <a:gd name="connsiteX144" fmla="*/ 2056388 w 3584023"/>
                <a:gd name="connsiteY144" fmla="*/ 3657891 h 4618173"/>
                <a:gd name="connsiteX145" fmla="*/ 2002747 w 3584023"/>
                <a:gd name="connsiteY145" fmla="*/ 3751182 h 4618173"/>
                <a:gd name="connsiteX146" fmla="*/ 2200989 w 3584023"/>
                <a:gd name="connsiteY146" fmla="*/ 3515624 h 4618173"/>
                <a:gd name="connsiteX147" fmla="*/ 2210318 w 3584023"/>
                <a:gd name="connsiteY147" fmla="*/ 3524953 h 4618173"/>
                <a:gd name="connsiteX148" fmla="*/ 2084376 w 3584023"/>
                <a:gd name="connsiteY148" fmla="*/ 3711535 h 4618173"/>
                <a:gd name="connsiteX149" fmla="*/ 2103034 w 3584023"/>
                <a:gd name="connsiteY149" fmla="*/ 3704537 h 4618173"/>
                <a:gd name="connsiteX150" fmla="*/ 2210318 w 3584023"/>
                <a:gd name="connsiteY150" fmla="*/ 3576262 h 4618173"/>
                <a:gd name="connsiteX151" fmla="*/ 2226644 w 3584023"/>
                <a:gd name="connsiteY151" fmla="*/ 3569267 h 4618173"/>
                <a:gd name="connsiteX152" fmla="*/ 1925781 w 3584023"/>
                <a:gd name="connsiteY152" fmla="*/ 4014729 h 4618173"/>
                <a:gd name="connsiteX153" fmla="*/ 1876804 w 3584023"/>
                <a:gd name="connsiteY153" fmla="*/ 4180320 h 4618173"/>
                <a:gd name="connsiteX154" fmla="*/ 1909456 w 3584023"/>
                <a:gd name="connsiteY154" fmla="*/ 4175656 h 4618173"/>
                <a:gd name="connsiteX155" fmla="*/ 2343257 w 3584023"/>
                <a:gd name="connsiteY155" fmla="*/ 4070704 h 4618173"/>
                <a:gd name="connsiteX156" fmla="*/ 2420222 w 3584023"/>
                <a:gd name="connsiteY156" fmla="*/ 4031054 h 4618173"/>
                <a:gd name="connsiteX157" fmla="*/ 2508847 w 3584023"/>
                <a:gd name="connsiteY157" fmla="*/ 4035720 h 4618173"/>
                <a:gd name="connsiteX158" fmla="*/ 2413225 w 3584023"/>
                <a:gd name="connsiteY158" fmla="*/ 3772173 h 4618173"/>
                <a:gd name="connsiteX159" fmla="*/ 2301276 w 3584023"/>
                <a:gd name="connsiteY159" fmla="*/ 3538946 h 4618173"/>
                <a:gd name="connsiteX160" fmla="*/ 1072171 w 3584023"/>
                <a:gd name="connsiteY160" fmla="*/ 2442781 h 4618173"/>
                <a:gd name="connsiteX161" fmla="*/ 1034856 w 3584023"/>
                <a:gd name="connsiteY161" fmla="*/ 2487094 h 4618173"/>
                <a:gd name="connsiteX162" fmla="*/ 843610 w 3584023"/>
                <a:gd name="connsiteY162" fmla="*/ 2606040 h 4618173"/>
                <a:gd name="connsiteX163" fmla="*/ 848274 w 3584023"/>
                <a:gd name="connsiteY163" fmla="*/ 2659683 h 4618173"/>
                <a:gd name="connsiteX164" fmla="*/ 843610 w 3584023"/>
                <a:gd name="connsiteY164" fmla="*/ 2678339 h 4618173"/>
                <a:gd name="connsiteX165" fmla="*/ 822619 w 3584023"/>
                <a:gd name="connsiteY165" fmla="*/ 2599044 h 4618173"/>
                <a:gd name="connsiteX166" fmla="*/ 1072171 w 3584023"/>
                <a:gd name="connsiteY166" fmla="*/ 2445113 h 4618173"/>
                <a:gd name="connsiteX167" fmla="*/ 731661 w 3584023"/>
                <a:gd name="connsiteY167" fmla="*/ 4273611 h 4618173"/>
                <a:gd name="connsiteX168" fmla="*/ 491436 w 3584023"/>
                <a:gd name="connsiteY168" fmla="*/ 4163995 h 4618173"/>
                <a:gd name="connsiteX169" fmla="*/ 367826 w 3584023"/>
                <a:gd name="connsiteY169" fmla="*/ 4084697 h 4618173"/>
                <a:gd name="connsiteX170" fmla="*/ 374823 w 3584023"/>
                <a:gd name="connsiteY170" fmla="*/ 4073036 h 4618173"/>
                <a:gd name="connsiteX171" fmla="*/ 547411 w 3584023"/>
                <a:gd name="connsiteY171" fmla="*/ 4163995 h 4618173"/>
                <a:gd name="connsiteX172" fmla="*/ 640702 w 3584023"/>
                <a:gd name="connsiteY172" fmla="*/ 4203643 h 4618173"/>
                <a:gd name="connsiteX173" fmla="*/ 659360 w 3584023"/>
                <a:gd name="connsiteY173" fmla="*/ 4198979 h 4618173"/>
                <a:gd name="connsiteX174" fmla="*/ 363162 w 3584023"/>
                <a:gd name="connsiteY174" fmla="*/ 3975082 h 4618173"/>
                <a:gd name="connsiteX175" fmla="*/ 199903 w 3584023"/>
                <a:gd name="connsiteY175" fmla="*/ 3793164 h 4618173"/>
                <a:gd name="connsiteX176" fmla="*/ 232555 w 3584023"/>
                <a:gd name="connsiteY176" fmla="*/ 3788501 h 4618173"/>
                <a:gd name="connsiteX177" fmla="*/ 316516 w 3584023"/>
                <a:gd name="connsiteY177" fmla="*/ 3886455 h 4618173"/>
                <a:gd name="connsiteX178" fmla="*/ 554408 w 3584023"/>
                <a:gd name="connsiteY178" fmla="*/ 4101022 h 4618173"/>
                <a:gd name="connsiteX179" fmla="*/ 736324 w 3584023"/>
                <a:gd name="connsiteY179" fmla="*/ 4233963 h 4618173"/>
                <a:gd name="connsiteX180" fmla="*/ 729328 w 3584023"/>
                <a:gd name="connsiteY180" fmla="*/ 4271279 h 4618173"/>
                <a:gd name="connsiteX181" fmla="*/ 871597 w 3584023"/>
                <a:gd name="connsiteY181" fmla="*/ 4191981 h 4618173"/>
                <a:gd name="connsiteX182" fmla="*/ 255878 w 3584023"/>
                <a:gd name="connsiteY182" fmla="*/ 3755848 h 4618173"/>
                <a:gd name="connsiteX183" fmla="*/ 246548 w 3584023"/>
                <a:gd name="connsiteY183" fmla="*/ 3732526 h 4618173"/>
                <a:gd name="connsiteX184" fmla="*/ 274536 w 3584023"/>
                <a:gd name="connsiteY184" fmla="*/ 3734857 h 4618173"/>
                <a:gd name="connsiteX185" fmla="*/ 421468 w 3584023"/>
                <a:gd name="connsiteY185" fmla="*/ 3832811 h 4618173"/>
                <a:gd name="connsiteX186" fmla="*/ 852938 w 3584023"/>
                <a:gd name="connsiteY186" fmla="*/ 4145336 h 4618173"/>
                <a:gd name="connsiteX187" fmla="*/ 731661 w 3584023"/>
                <a:gd name="connsiteY187" fmla="*/ 3907446 h 4618173"/>
                <a:gd name="connsiteX188" fmla="*/ 759647 w 3584023"/>
                <a:gd name="connsiteY188" fmla="*/ 3902779 h 4618173"/>
                <a:gd name="connsiteX189" fmla="*/ 876260 w 3584023"/>
                <a:gd name="connsiteY189" fmla="*/ 4136006 h 4618173"/>
                <a:gd name="connsiteX190" fmla="*/ 866932 w 3584023"/>
                <a:gd name="connsiteY190" fmla="*/ 4191981 h 4618173"/>
                <a:gd name="connsiteX191" fmla="*/ 1006868 w 3584023"/>
                <a:gd name="connsiteY191" fmla="*/ 4285272 h 4618173"/>
                <a:gd name="connsiteX192" fmla="*/ 904248 w 3584023"/>
                <a:gd name="connsiteY192" fmla="*/ 4129011 h 4618173"/>
                <a:gd name="connsiteX193" fmla="*/ 701340 w 3584023"/>
                <a:gd name="connsiteY193" fmla="*/ 3718533 h 4618173"/>
                <a:gd name="connsiteX194" fmla="*/ 640702 w 3584023"/>
                <a:gd name="connsiteY194" fmla="*/ 3548276 h 4618173"/>
                <a:gd name="connsiteX195" fmla="*/ 526420 w 3584023"/>
                <a:gd name="connsiteY195" fmla="*/ 3359363 h 4618173"/>
                <a:gd name="connsiteX196" fmla="*/ 202236 w 3584023"/>
                <a:gd name="connsiteY196" fmla="*/ 2724985 h 4618173"/>
                <a:gd name="connsiteX197" fmla="*/ 185910 w 3584023"/>
                <a:gd name="connsiteY197" fmla="*/ 2683005 h 4618173"/>
                <a:gd name="connsiteX198" fmla="*/ 223226 w 3584023"/>
                <a:gd name="connsiteY198" fmla="*/ 2720321 h 4618173"/>
                <a:gd name="connsiteX199" fmla="*/ 531085 w 3584023"/>
                <a:gd name="connsiteY199" fmla="*/ 3296390 h 4618173"/>
                <a:gd name="connsiteX200" fmla="*/ 587060 w 3584023"/>
                <a:gd name="connsiteY200" fmla="*/ 3359363 h 4618173"/>
                <a:gd name="connsiteX201" fmla="*/ 612714 w 3584023"/>
                <a:gd name="connsiteY201" fmla="*/ 3336040 h 4618173"/>
                <a:gd name="connsiteX202" fmla="*/ 619711 w 3584023"/>
                <a:gd name="connsiteY202" fmla="*/ 3387349 h 4618173"/>
                <a:gd name="connsiteX203" fmla="*/ 624376 w 3584023"/>
                <a:gd name="connsiteY203" fmla="*/ 3373356 h 4618173"/>
                <a:gd name="connsiteX204" fmla="*/ 591725 w 3584023"/>
                <a:gd name="connsiteY204" fmla="*/ 3154122 h 4618173"/>
                <a:gd name="connsiteX205" fmla="*/ 533418 w 3584023"/>
                <a:gd name="connsiteY205" fmla="*/ 3018853 h 4618173"/>
                <a:gd name="connsiteX206" fmla="*/ 563737 w 3584023"/>
                <a:gd name="connsiteY206" fmla="*/ 3042175 h 4618173"/>
                <a:gd name="connsiteX207" fmla="*/ 610383 w 3584023"/>
                <a:gd name="connsiteY207" fmla="*/ 3156454 h 4618173"/>
                <a:gd name="connsiteX208" fmla="*/ 647699 w 3584023"/>
                <a:gd name="connsiteY208" fmla="*/ 3426999 h 4618173"/>
                <a:gd name="connsiteX209" fmla="*/ 659360 w 3584023"/>
                <a:gd name="connsiteY209" fmla="*/ 3417670 h 4618173"/>
                <a:gd name="connsiteX210" fmla="*/ 596388 w 3584023"/>
                <a:gd name="connsiteY210" fmla="*/ 3060832 h 4618173"/>
                <a:gd name="connsiteX211" fmla="*/ 645367 w 3584023"/>
                <a:gd name="connsiteY211" fmla="*/ 3109809 h 4618173"/>
                <a:gd name="connsiteX212" fmla="*/ 682683 w 3584023"/>
                <a:gd name="connsiteY212" fmla="*/ 3317381 h 4618173"/>
                <a:gd name="connsiteX213" fmla="*/ 692012 w 3584023"/>
                <a:gd name="connsiteY213" fmla="*/ 3296390 h 4618173"/>
                <a:gd name="connsiteX214" fmla="*/ 675686 w 3584023"/>
                <a:gd name="connsiteY214" fmla="*/ 3177445 h 4618173"/>
                <a:gd name="connsiteX215" fmla="*/ 692012 w 3584023"/>
                <a:gd name="connsiteY215" fmla="*/ 3177445 h 4618173"/>
                <a:gd name="connsiteX216" fmla="*/ 708338 w 3584023"/>
                <a:gd name="connsiteY216" fmla="*/ 3336040 h 4618173"/>
                <a:gd name="connsiteX217" fmla="*/ 715335 w 3584023"/>
                <a:gd name="connsiteY217" fmla="*/ 3552939 h 4618173"/>
                <a:gd name="connsiteX218" fmla="*/ 785303 w 3584023"/>
                <a:gd name="connsiteY218" fmla="*/ 3734857 h 4618173"/>
                <a:gd name="connsiteX219" fmla="*/ 948562 w 3584023"/>
                <a:gd name="connsiteY219" fmla="*/ 4115018 h 4618173"/>
                <a:gd name="connsiteX220" fmla="*/ 1025526 w 3584023"/>
                <a:gd name="connsiteY220" fmla="*/ 4261949 h 4618173"/>
                <a:gd name="connsiteX221" fmla="*/ 1002203 w 3584023"/>
                <a:gd name="connsiteY221" fmla="*/ 4280609 h 4618173"/>
                <a:gd name="connsiteX222" fmla="*/ 1403354 w 3584023"/>
                <a:gd name="connsiteY222" fmla="*/ 4143004 h 4618173"/>
                <a:gd name="connsiteX223" fmla="*/ 1331052 w 3584023"/>
                <a:gd name="connsiteY223" fmla="*/ 4122013 h 4618173"/>
                <a:gd name="connsiteX224" fmla="*/ 1058178 w 3584023"/>
                <a:gd name="connsiteY224" fmla="*/ 3580928 h 4618173"/>
                <a:gd name="connsiteX225" fmla="*/ 747986 w 3584023"/>
                <a:gd name="connsiteY225" fmla="*/ 2587383 h 4618173"/>
                <a:gd name="connsiteX226" fmla="*/ 766645 w 3584023"/>
                <a:gd name="connsiteY226" fmla="*/ 2550065 h 4618173"/>
                <a:gd name="connsiteX227" fmla="*/ 1018530 w 3584023"/>
                <a:gd name="connsiteY227" fmla="*/ 2454442 h 4618173"/>
                <a:gd name="connsiteX228" fmla="*/ 960223 w 3584023"/>
                <a:gd name="connsiteY228" fmla="*/ 2503419 h 4618173"/>
                <a:gd name="connsiteX229" fmla="*/ 810957 w 3584023"/>
                <a:gd name="connsiteY229" fmla="*/ 2589715 h 4618173"/>
                <a:gd name="connsiteX230" fmla="*/ 824952 w 3584023"/>
                <a:gd name="connsiteY230" fmla="*/ 2650353 h 4618173"/>
                <a:gd name="connsiteX231" fmla="*/ 834280 w 3584023"/>
                <a:gd name="connsiteY231" fmla="*/ 2685337 h 4618173"/>
                <a:gd name="connsiteX232" fmla="*/ 899583 w 3584023"/>
                <a:gd name="connsiteY232" fmla="*/ 2841598 h 4618173"/>
                <a:gd name="connsiteX233" fmla="*/ 1072171 w 3584023"/>
                <a:gd name="connsiteY233" fmla="*/ 3443324 h 4618173"/>
                <a:gd name="connsiteX234" fmla="*/ 1405685 w 3584023"/>
                <a:gd name="connsiteY234" fmla="*/ 4131343 h 4618173"/>
                <a:gd name="connsiteX235" fmla="*/ 1405685 w 3584023"/>
                <a:gd name="connsiteY235" fmla="*/ 4143004 h 4618173"/>
                <a:gd name="connsiteX236" fmla="*/ 3563032 w 3584023"/>
                <a:gd name="connsiteY236" fmla="*/ 3797827 h 4618173"/>
                <a:gd name="connsiteX237" fmla="*/ 3472075 w 3584023"/>
                <a:gd name="connsiteY237" fmla="*/ 3634569 h 4618173"/>
                <a:gd name="connsiteX238" fmla="*/ 3460413 w 3584023"/>
                <a:gd name="connsiteY238" fmla="*/ 3625242 h 4618173"/>
                <a:gd name="connsiteX239" fmla="*/ 3455749 w 3584023"/>
                <a:gd name="connsiteY239" fmla="*/ 3636903 h 4618173"/>
                <a:gd name="connsiteX240" fmla="*/ 3455749 w 3584023"/>
                <a:gd name="connsiteY240" fmla="*/ 3601919 h 4618173"/>
                <a:gd name="connsiteX241" fmla="*/ 3441754 w 3584023"/>
                <a:gd name="connsiteY241" fmla="*/ 3573930 h 4618173"/>
                <a:gd name="connsiteX242" fmla="*/ 3427761 w 3584023"/>
                <a:gd name="connsiteY242" fmla="*/ 3186775 h 4618173"/>
                <a:gd name="connsiteX243" fmla="*/ 3406770 w 3584023"/>
                <a:gd name="connsiteY243" fmla="*/ 3137798 h 4618173"/>
                <a:gd name="connsiteX244" fmla="*/ 3374119 w 3584023"/>
                <a:gd name="connsiteY244" fmla="*/ 2906903 h 4618173"/>
                <a:gd name="connsiteX245" fmla="*/ 3189870 w 3584023"/>
                <a:gd name="connsiteY245" fmla="*/ 2552399 h 4618173"/>
                <a:gd name="connsiteX246" fmla="*/ 3010285 w 3584023"/>
                <a:gd name="connsiteY246" fmla="*/ 2438117 h 4618173"/>
                <a:gd name="connsiteX247" fmla="*/ 2877347 w 3584023"/>
                <a:gd name="connsiteY247" fmla="*/ 2344827 h 4618173"/>
                <a:gd name="connsiteX248" fmla="*/ 2732746 w 3584023"/>
                <a:gd name="connsiteY248" fmla="*/ 2286520 h 4618173"/>
                <a:gd name="connsiteX249" fmla="*/ 2634790 w 3584023"/>
                <a:gd name="connsiteY249" fmla="*/ 2638692 h 4618173"/>
                <a:gd name="connsiteX250" fmla="*/ 2639455 w 3584023"/>
                <a:gd name="connsiteY250" fmla="*/ 2722653 h 4618173"/>
                <a:gd name="connsiteX251" fmla="*/ 2679104 w 3584023"/>
                <a:gd name="connsiteY251" fmla="*/ 2846264 h 4618173"/>
                <a:gd name="connsiteX252" fmla="*/ 2665110 w 3584023"/>
                <a:gd name="connsiteY252" fmla="*/ 2855594 h 4618173"/>
                <a:gd name="connsiteX253" fmla="*/ 2497186 w 3584023"/>
                <a:gd name="connsiteY253" fmla="*/ 2974539 h 4618173"/>
                <a:gd name="connsiteX254" fmla="*/ 2501851 w 3584023"/>
                <a:gd name="connsiteY254" fmla="*/ 2988532 h 4618173"/>
                <a:gd name="connsiteX255" fmla="*/ 2387571 w 3584023"/>
                <a:gd name="connsiteY255" fmla="*/ 3051502 h 4618173"/>
                <a:gd name="connsiteX256" fmla="*/ 2343257 w 3584023"/>
                <a:gd name="connsiteY256" fmla="*/ 3105145 h 4618173"/>
                <a:gd name="connsiteX257" fmla="*/ 2231308 w 3584023"/>
                <a:gd name="connsiteY257" fmla="*/ 3147127 h 4618173"/>
                <a:gd name="connsiteX258" fmla="*/ 2242970 w 3584023"/>
                <a:gd name="connsiteY258" fmla="*/ 3133131 h 4618173"/>
                <a:gd name="connsiteX259" fmla="*/ 2340925 w 3584023"/>
                <a:gd name="connsiteY259" fmla="*/ 3070161 h 4618173"/>
                <a:gd name="connsiteX260" fmla="*/ 2338592 w 3584023"/>
                <a:gd name="connsiteY260" fmla="*/ 3056168 h 4618173"/>
                <a:gd name="connsiteX261" fmla="*/ 2275621 w 3584023"/>
                <a:gd name="connsiteY261" fmla="*/ 3098147 h 4618173"/>
                <a:gd name="connsiteX262" fmla="*/ 2226644 w 3584023"/>
                <a:gd name="connsiteY262" fmla="*/ 3154122 h 4618173"/>
                <a:gd name="connsiteX263" fmla="*/ 2191660 w 3584023"/>
                <a:gd name="connsiteY263" fmla="*/ 3158789 h 4618173"/>
                <a:gd name="connsiteX264" fmla="*/ 2247635 w 3584023"/>
                <a:gd name="connsiteY264" fmla="*/ 3039841 h 4618173"/>
                <a:gd name="connsiteX265" fmla="*/ 2317603 w 3584023"/>
                <a:gd name="connsiteY265" fmla="*/ 2972207 h 4618173"/>
                <a:gd name="connsiteX266" fmla="*/ 2296612 w 3584023"/>
                <a:gd name="connsiteY266" fmla="*/ 2920896 h 4618173"/>
                <a:gd name="connsiteX267" fmla="*/ 2287282 w 3584023"/>
                <a:gd name="connsiteY267" fmla="*/ 2913900 h 4618173"/>
                <a:gd name="connsiteX268" fmla="*/ 2161340 w 3584023"/>
                <a:gd name="connsiteY268" fmla="*/ 3149459 h 4618173"/>
                <a:gd name="connsiteX269" fmla="*/ 2340925 w 3584023"/>
                <a:gd name="connsiteY269" fmla="*/ 3191438 h 4618173"/>
                <a:gd name="connsiteX270" fmla="*/ 2574152 w 3584023"/>
                <a:gd name="connsiteY270" fmla="*/ 3718533 h 4618173"/>
                <a:gd name="connsiteX271" fmla="*/ 2555493 w 3584023"/>
                <a:gd name="connsiteY271" fmla="*/ 3723196 h 4618173"/>
                <a:gd name="connsiteX272" fmla="*/ 2485525 w 3584023"/>
                <a:gd name="connsiteY272" fmla="*/ 3594921 h 4618173"/>
                <a:gd name="connsiteX273" fmla="*/ 2322266 w 3584023"/>
                <a:gd name="connsiteY273" fmla="*/ 3217095 h 4618173"/>
                <a:gd name="connsiteX274" fmla="*/ 2224312 w 3584023"/>
                <a:gd name="connsiteY274" fmla="*/ 3217095 h 4618173"/>
                <a:gd name="connsiteX275" fmla="*/ 2210318 w 3584023"/>
                <a:gd name="connsiteY275" fmla="*/ 3219427 h 4618173"/>
                <a:gd name="connsiteX276" fmla="*/ 2240637 w 3584023"/>
                <a:gd name="connsiteY276" fmla="*/ 3270736 h 4618173"/>
                <a:gd name="connsiteX277" fmla="*/ 2420222 w 3584023"/>
                <a:gd name="connsiteY277" fmla="*/ 3660226 h 4618173"/>
                <a:gd name="connsiteX278" fmla="*/ 2532170 w 3584023"/>
                <a:gd name="connsiteY278" fmla="*/ 3737189 h 4618173"/>
                <a:gd name="connsiteX279" fmla="*/ 2583480 w 3584023"/>
                <a:gd name="connsiteY279" fmla="*/ 3783834 h 4618173"/>
                <a:gd name="connsiteX280" fmla="*/ 2581149 w 3584023"/>
                <a:gd name="connsiteY280" fmla="*/ 3793164 h 4618173"/>
                <a:gd name="connsiteX281" fmla="*/ 2518177 w 3584023"/>
                <a:gd name="connsiteY281" fmla="*/ 3753517 h 4618173"/>
                <a:gd name="connsiteX282" fmla="*/ 2506516 w 3584023"/>
                <a:gd name="connsiteY282" fmla="*/ 3769841 h 4618173"/>
                <a:gd name="connsiteX283" fmla="*/ 2476197 w 3584023"/>
                <a:gd name="connsiteY283" fmla="*/ 3767510 h 4618173"/>
                <a:gd name="connsiteX284" fmla="*/ 2511181 w 3584023"/>
                <a:gd name="connsiteY284" fmla="*/ 3856134 h 4618173"/>
                <a:gd name="connsiteX285" fmla="*/ 2576484 w 3584023"/>
                <a:gd name="connsiteY285" fmla="*/ 3884123 h 4618173"/>
                <a:gd name="connsiteX286" fmla="*/ 2646452 w 3584023"/>
                <a:gd name="connsiteY286" fmla="*/ 3979745 h 4618173"/>
                <a:gd name="connsiteX287" fmla="*/ 2658113 w 3584023"/>
                <a:gd name="connsiteY287" fmla="*/ 4161663 h 4618173"/>
                <a:gd name="connsiteX288" fmla="*/ 2903001 w 3584023"/>
                <a:gd name="connsiteY288" fmla="*/ 4047382 h 4618173"/>
                <a:gd name="connsiteX289" fmla="*/ 3448752 w 3584023"/>
                <a:gd name="connsiteY289" fmla="*/ 3870130 h 4618173"/>
                <a:gd name="connsiteX290" fmla="*/ 3584023 w 3584023"/>
                <a:gd name="connsiteY290" fmla="*/ 3849139 h 4618173"/>
                <a:gd name="connsiteX291" fmla="*/ 3563032 w 3584023"/>
                <a:gd name="connsiteY291" fmla="*/ 3800162 h 4618173"/>
                <a:gd name="connsiteX292" fmla="*/ 2375909 w 3584023"/>
                <a:gd name="connsiteY292" fmla="*/ 3193773 h 4618173"/>
                <a:gd name="connsiteX293" fmla="*/ 2508847 w 3584023"/>
                <a:gd name="connsiteY293" fmla="*/ 3056168 h 4618173"/>
                <a:gd name="connsiteX294" fmla="*/ 2497186 w 3584023"/>
                <a:gd name="connsiteY294" fmla="*/ 3077159 h 4618173"/>
                <a:gd name="connsiteX295" fmla="*/ 2417890 w 3584023"/>
                <a:gd name="connsiteY295" fmla="*/ 3163452 h 4618173"/>
                <a:gd name="connsiteX296" fmla="*/ 2378241 w 3584023"/>
                <a:gd name="connsiteY296" fmla="*/ 3193773 h 4618173"/>
                <a:gd name="connsiteX297" fmla="*/ 2578815 w 3584023"/>
                <a:gd name="connsiteY297" fmla="*/ 3620576 h 4618173"/>
                <a:gd name="connsiteX298" fmla="*/ 2562491 w 3584023"/>
                <a:gd name="connsiteY298" fmla="*/ 3615912 h 4618173"/>
                <a:gd name="connsiteX299" fmla="*/ 2490190 w 3584023"/>
                <a:gd name="connsiteY299" fmla="*/ 3471310 h 4618173"/>
                <a:gd name="connsiteX300" fmla="*/ 2406229 w 3584023"/>
                <a:gd name="connsiteY300" fmla="*/ 3273067 h 4618173"/>
                <a:gd name="connsiteX301" fmla="*/ 2420222 w 3584023"/>
                <a:gd name="connsiteY301" fmla="*/ 3259074 h 4618173"/>
                <a:gd name="connsiteX302" fmla="*/ 2487858 w 3584023"/>
                <a:gd name="connsiteY302" fmla="*/ 3422333 h 4618173"/>
                <a:gd name="connsiteX303" fmla="*/ 2576484 w 3584023"/>
                <a:gd name="connsiteY303" fmla="*/ 3597253 h 4618173"/>
                <a:gd name="connsiteX304" fmla="*/ 2578815 w 3584023"/>
                <a:gd name="connsiteY304" fmla="*/ 3620576 h 4618173"/>
                <a:gd name="connsiteX305" fmla="*/ 2518177 w 3584023"/>
                <a:gd name="connsiteY305" fmla="*/ 3464315 h 4618173"/>
                <a:gd name="connsiteX306" fmla="*/ 2513512 w 3584023"/>
                <a:gd name="connsiteY306" fmla="*/ 3417670 h 4618173"/>
                <a:gd name="connsiteX307" fmla="*/ 2499519 w 3584023"/>
                <a:gd name="connsiteY307" fmla="*/ 3406008 h 4618173"/>
                <a:gd name="connsiteX308" fmla="*/ 2504184 w 3584023"/>
                <a:gd name="connsiteY308" fmla="*/ 3338372 h 4618173"/>
                <a:gd name="connsiteX309" fmla="*/ 2471532 w 3584023"/>
                <a:gd name="connsiteY309" fmla="*/ 3322047 h 4618173"/>
                <a:gd name="connsiteX310" fmla="*/ 2485525 w 3584023"/>
                <a:gd name="connsiteY310" fmla="*/ 3212429 h 4618173"/>
                <a:gd name="connsiteX311" fmla="*/ 2532170 w 3584023"/>
                <a:gd name="connsiteY311" fmla="*/ 3259074 h 4618173"/>
                <a:gd name="connsiteX312" fmla="*/ 2536835 w 3584023"/>
                <a:gd name="connsiteY312" fmla="*/ 3322047 h 4618173"/>
                <a:gd name="connsiteX313" fmla="*/ 2567154 w 3584023"/>
                <a:gd name="connsiteY313" fmla="*/ 3343035 h 4618173"/>
                <a:gd name="connsiteX314" fmla="*/ 2571819 w 3584023"/>
                <a:gd name="connsiteY314" fmla="*/ 3392015 h 4618173"/>
                <a:gd name="connsiteX315" fmla="*/ 2592810 w 3584023"/>
                <a:gd name="connsiteY315" fmla="*/ 3410672 h 4618173"/>
                <a:gd name="connsiteX316" fmla="*/ 2518177 w 3584023"/>
                <a:gd name="connsiteY316" fmla="*/ 3461983 h 4618173"/>
                <a:gd name="connsiteX317" fmla="*/ 2564822 w 3584023"/>
                <a:gd name="connsiteY317" fmla="*/ 3807157 h 4618173"/>
                <a:gd name="connsiteX318" fmla="*/ 2553161 w 3584023"/>
                <a:gd name="connsiteY318" fmla="*/ 3793164 h 4618173"/>
                <a:gd name="connsiteX319" fmla="*/ 2616133 w 3584023"/>
                <a:gd name="connsiteY319" fmla="*/ 3828148 h 4618173"/>
                <a:gd name="connsiteX320" fmla="*/ 2564822 w 3584023"/>
                <a:gd name="connsiteY320" fmla="*/ 3809489 h 4618173"/>
                <a:gd name="connsiteX321" fmla="*/ 2833033 w 3584023"/>
                <a:gd name="connsiteY321" fmla="*/ 2638692 h 4618173"/>
                <a:gd name="connsiteX322" fmla="*/ 2912331 w 3584023"/>
                <a:gd name="connsiteY322" fmla="*/ 2510417 h 4618173"/>
                <a:gd name="connsiteX323" fmla="*/ 2933320 w 3584023"/>
                <a:gd name="connsiteY323" fmla="*/ 2473101 h 4618173"/>
                <a:gd name="connsiteX324" fmla="*/ 2858687 w 3584023"/>
                <a:gd name="connsiteY324" fmla="*/ 2669012 h 4618173"/>
                <a:gd name="connsiteX325" fmla="*/ 2896005 w 3584023"/>
                <a:gd name="connsiteY325" fmla="*/ 2617701 h 4618173"/>
                <a:gd name="connsiteX326" fmla="*/ 2970637 w 3584023"/>
                <a:gd name="connsiteY326" fmla="*/ 2501088 h 4618173"/>
                <a:gd name="connsiteX327" fmla="*/ 2984630 w 3584023"/>
                <a:gd name="connsiteY327" fmla="*/ 2489426 h 4618173"/>
                <a:gd name="connsiteX328" fmla="*/ 2937985 w 3584023"/>
                <a:gd name="connsiteY328" fmla="*/ 2589715 h 4618173"/>
                <a:gd name="connsiteX329" fmla="*/ 2930989 w 3584023"/>
                <a:gd name="connsiteY329" fmla="*/ 2627031 h 4618173"/>
                <a:gd name="connsiteX330" fmla="*/ 2914662 w 3584023"/>
                <a:gd name="connsiteY330" fmla="*/ 2631694 h 4618173"/>
                <a:gd name="connsiteX331" fmla="*/ 2872682 w 3584023"/>
                <a:gd name="connsiteY331" fmla="*/ 2708660 h 4618173"/>
                <a:gd name="connsiteX332" fmla="*/ 2828368 w 3584023"/>
                <a:gd name="connsiteY332" fmla="*/ 2703996 h 4618173"/>
                <a:gd name="connsiteX333" fmla="*/ 2830701 w 3584023"/>
                <a:gd name="connsiteY333" fmla="*/ 2641024 h 4618173"/>
                <a:gd name="connsiteX334" fmla="*/ 3220189 w 3584023"/>
                <a:gd name="connsiteY334" fmla="*/ 3580928 h 4618173"/>
                <a:gd name="connsiteX335" fmla="*/ 3157219 w 3584023"/>
                <a:gd name="connsiteY335" fmla="*/ 3594921 h 4618173"/>
                <a:gd name="connsiteX336" fmla="*/ 3185205 w 3584023"/>
                <a:gd name="connsiteY336" fmla="*/ 3548276 h 4618173"/>
                <a:gd name="connsiteX337" fmla="*/ 3070925 w 3584023"/>
                <a:gd name="connsiteY337" fmla="*/ 3457317 h 4618173"/>
                <a:gd name="connsiteX338" fmla="*/ 2972969 w 3584023"/>
                <a:gd name="connsiteY338" fmla="*/ 3252079 h 4618173"/>
                <a:gd name="connsiteX339" fmla="*/ 2958976 w 3584023"/>
                <a:gd name="connsiteY339" fmla="*/ 3242750 h 4618173"/>
                <a:gd name="connsiteX340" fmla="*/ 2944982 w 3584023"/>
                <a:gd name="connsiteY340" fmla="*/ 3259074 h 4618173"/>
                <a:gd name="connsiteX341" fmla="*/ 2872682 w 3584023"/>
                <a:gd name="connsiteY341" fmla="*/ 3098147 h 4618173"/>
                <a:gd name="connsiteX342" fmla="*/ 2697762 w 3584023"/>
                <a:gd name="connsiteY342" fmla="*/ 2815944 h 4618173"/>
                <a:gd name="connsiteX343" fmla="*/ 2679104 w 3584023"/>
                <a:gd name="connsiteY343" fmla="*/ 2790289 h 4618173"/>
                <a:gd name="connsiteX344" fmla="*/ 2658113 w 3584023"/>
                <a:gd name="connsiteY344" fmla="*/ 2694667 h 4618173"/>
                <a:gd name="connsiteX345" fmla="*/ 2681436 w 3584023"/>
                <a:gd name="connsiteY345" fmla="*/ 2706328 h 4618173"/>
                <a:gd name="connsiteX346" fmla="*/ 2697762 w 3584023"/>
                <a:gd name="connsiteY346" fmla="*/ 2715658 h 4618173"/>
                <a:gd name="connsiteX347" fmla="*/ 2819040 w 3584023"/>
                <a:gd name="connsiteY347" fmla="*/ 2953548 h 4618173"/>
                <a:gd name="connsiteX348" fmla="*/ 2921659 w 3584023"/>
                <a:gd name="connsiteY348" fmla="*/ 2706328 h 4618173"/>
                <a:gd name="connsiteX349" fmla="*/ 2926324 w 3584023"/>
                <a:gd name="connsiteY349" fmla="*/ 2724985 h 4618173"/>
                <a:gd name="connsiteX350" fmla="*/ 2854024 w 3584023"/>
                <a:gd name="connsiteY350" fmla="*/ 2909234 h 4618173"/>
                <a:gd name="connsiteX351" fmla="*/ 2856356 w 3584023"/>
                <a:gd name="connsiteY351" fmla="*/ 2918564 h 4618173"/>
                <a:gd name="connsiteX352" fmla="*/ 2872682 w 3584023"/>
                <a:gd name="connsiteY352" fmla="*/ 2899905 h 4618173"/>
                <a:gd name="connsiteX353" fmla="*/ 2951978 w 3584023"/>
                <a:gd name="connsiteY353" fmla="*/ 2680674 h 4618173"/>
                <a:gd name="connsiteX354" fmla="*/ 2958976 w 3584023"/>
                <a:gd name="connsiteY354" fmla="*/ 2624699 h 4618173"/>
                <a:gd name="connsiteX355" fmla="*/ 2986962 w 3584023"/>
                <a:gd name="connsiteY355" fmla="*/ 2568724 h 4618173"/>
                <a:gd name="connsiteX356" fmla="*/ 2965973 w 3584023"/>
                <a:gd name="connsiteY356" fmla="*/ 2683005 h 4618173"/>
                <a:gd name="connsiteX357" fmla="*/ 2928655 w 3584023"/>
                <a:gd name="connsiteY357" fmla="*/ 2799619 h 4618173"/>
                <a:gd name="connsiteX358" fmla="*/ 2940317 w 3584023"/>
                <a:gd name="connsiteY358" fmla="*/ 2808948 h 4618173"/>
                <a:gd name="connsiteX359" fmla="*/ 2991627 w 3584023"/>
                <a:gd name="connsiteY359" fmla="*/ 2676008 h 4618173"/>
                <a:gd name="connsiteX360" fmla="*/ 2993960 w 3584023"/>
                <a:gd name="connsiteY360" fmla="*/ 2692335 h 4618173"/>
                <a:gd name="connsiteX361" fmla="*/ 2842363 w 3584023"/>
                <a:gd name="connsiteY361" fmla="*/ 2981534 h 4618173"/>
                <a:gd name="connsiteX362" fmla="*/ 2970637 w 3584023"/>
                <a:gd name="connsiteY362" fmla="*/ 3203099 h 4618173"/>
                <a:gd name="connsiteX363" fmla="*/ 3122235 w 3584023"/>
                <a:gd name="connsiteY363" fmla="*/ 2738980 h 4618173"/>
                <a:gd name="connsiteX364" fmla="*/ 3175877 w 3584023"/>
                <a:gd name="connsiteY364" fmla="*/ 2820610 h 4618173"/>
                <a:gd name="connsiteX365" fmla="*/ 3105909 w 3584023"/>
                <a:gd name="connsiteY365" fmla="*/ 3177445 h 4618173"/>
                <a:gd name="connsiteX366" fmla="*/ 3213192 w 3584023"/>
                <a:gd name="connsiteY366" fmla="*/ 3482971 h 4618173"/>
                <a:gd name="connsiteX367" fmla="*/ 3220189 w 3584023"/>
                <a:gd name="connsiteY367" fmla="*/ 3578597 h 4618173"/>
                <a:gd name="connsiteX368" fmla="*/ 2189328 w 3584023"/>
                <a:gd name="connsiteY368" fmla="*/ 2976871 h 4618173"/>
                <a:gd name="connsiteX369" fmla="*/ 2147346 w 3584023"/>
                <a:gd name="connsiteY369" fmla="*/ 3035177 h 4618173"/>
                <a:gd name="connsiteX370" fmla="*/ 2217314 w 3584023"/>
                <a:gd name="connsiteY370" fmla="*/ 2708660 h 4618173"/>
                <a:gd name="connsiteX371" fmla="*/ 2235973 w 3584023"/>
                <a:gd name="connsiteY371" fmla="*/ 2743644 h 4618173"/>
                <a:gd name="connsiteX372" fmla="*/ 2277954 w 3584023"/>
                <a:gd name="connsiteY372" fmla="*/ 2888243 h 4618173"/>
                <a:gd name="connsiteX373" fmla="*/ 2266292 w 3584023"/>
                <a:gd name="connsiteY373" fmla="*/ 2906903 h 4618173"/>
                <a:gd name="connsiteX374" fmla="*/ 2191660 w 3584023"/>
                <a:gd name="connsiteY374" fmla="*/ 2976871 h 4618173"/>
                <a:gd name="connsiteX375" fmla="*/ 885590 w 3584023"/>
                <a:gd name="connsiteY375" fmla="*/ 2839266 h 4618173"/>
                <a:gd name="connsiteX376" fmla="*/ 890255 w 3584023"/>
                <a:gd name="connsiteY376" fmla="*/ 2867255 h 4618173"/>
                <a:gd name="connsiteX377" fmla="*/ 869264 w 3584023"/>
                <a:gd name="connsiteY377" fmla="*/ 2822942 h 4618173"/>
                <a:gd name="connsiteX378" fmla="*/ 862267 w 3584023"/>
                <a:gd name="connsiteY378" fmla="*/ 2780960 h 4618173"/>
                <a:gd name="connsiteX379" fmla="*/ 887922 w 3584023"/>
                <a:gd name="connsiteY379" fmla="*/ 2839266 h 4618173"/>
                <a:gd name="connsiteX380" fmla="*/ 3117570 w 3584023"/>
                <a:gd name="connsiteY380" fmla="*/ 2855594 h 4618173"/>
                <a:gd name="connsiteX381" fmla="*/ 3066260 w 3584023"/>
                <a:gd name="connsiteY381" fmla="*/ 3067830 h 4618173"/>
                <a:gd name="connsiteX382" fmla="*/ 3059263 w 3584023"/>
                <a:gd name="connsiteY382" fmla="*/ 3067830 h 4618173"/>
                <a:gd name="connsiteX383" fmla="*/ 3115237 w 3584023"/>
                <a:gd name="connsiteY383" fmla="*/ 2834603 h 4618173"/>
                <a:gd name="connsiteX384" fmla="*/ 3147889 w 3584023"/>
                <a:gd name="connsiteY384" fmla="*/ 2736646 h 4618173"/>
                <a:gd name="connsiteX385" fmla="*/ 3147889 w 3584023"/>
                <a:gd name="connsiteY385" fmla="*/ 2888243 h 4618173"/>
                <a:gd name="connsiteX386" fmla="*/ 3140893 w 3584023"/>
                <a:gd name="connsiteY386" fmla="*/ 2976871 h 4618173"/>
                <a:gd name="connsiteX387" fmla="*/ 3117570 w 3584023"/>
                <a:gd name="connsiteY387" fmla="*/ 2962878 h 4618173"/>
                <a:gd name="connsiteX388" fmla="*/ 3133896 w 3584023"/>
                <a:gd name="connsiteY388" fmla="*/ 2855594 h 4618173"/>
                <a:gd name="connsiteX389" fmla="*/ 3117570 w 3584023"/>
                <a:gd name="connsiteY389" fmla="*/ 2855594 h 4618173"/>
                <a:gd name="connsiteX390" fmla="*/ 3124566 w 3584023"/>
                <a:gd name="connsiteY390" fmla="*/ 3289395 h 4618173"/>
                <a:gd name="connsiteX391" fmla="*/ 3180541 w 3584023"/>
                <a:gd name="connsiteY391" fmla="*/ 3436326 h 4618173"/>
                <a:gd name="connsiteX392" fmla="*/ 3105909 w 3584023"/>
                <a:gd name="connsiteY392" fmla="*/ 3275402 h 4618173"/>
                <a:gd name="connsiteX393" fmla="*/ 3124566 w 3584023"/>
                <a:gd name="connsiteY393" fmla="*/ 3289395 h 4618173"/>
                <a:gd name="connsiteX394" fmla="*/ 2506516 w 3584023"/>
                <a:gd name="connsiteY394" fmla="*/ 3324379 h 4618173"/>
                <a:gd name="connsiteX395" fmla="*/ 2501851 w 3584023"/>
                <a:gd name="connsiteY395" fmla="*/ 3247413 h 4618173"/>
                <a:gd name="connsiteX396" fmla="*/ 2506516 w 3584023"/>
                <a:gd name="connsiteY396" fmla="*/ 3324379 h 4618173"/>
                <a:gd name="connsiteX397" fmla="*/ 2567154 w 3584023"/>
                <a:gd name="connsiteY397" fmla="*/ 3461983 h 4618173"/>
                <a:gd name="connsiteX398" fmla="*/ 2534503 w 3584023"/>
                <a:gd name="connsiteY398" fmla="*/ 3408340 h 4618173"/>
                <a:gd name="connsiteX399" fmla="*/ 2567154 w 3584023"/>
                <a:gd name="connsiteY399" fmla="*/ 3461983 h 4618173"/>
                <a:gd name="connsiteX400" fmla="*/ 2555493 w 3584023"/>
                <a:gd name="connsiteY400" fmla="*/ 3389681 h 4618173"/>
                <a:gd name="connsiteX401" fmla="*/ 2515845 w 3584023"/>
                <a:gd name="connsiteY401" fmla="*/ 3394347 h 4618173"/>
                <a:gd name="connsiteX402" fmla="*/ 2550829 w 3584023"/>
                <a:gd name="connsiteY402" fmla="*/ 3347702 h 4618173"/>
                <a:gd name="connsiteX403" fmla="*/ 2555493 w 3584023"/>
                <a:gd name="connsiteY403" fmla="*/ 3389681 h 4618173"/>
                <a:gd name="connsiteX404" fmla="*/ 2802714 w 3584023"/>
                <a:gd name="connsiteY404" fmla="*/ 747224 h 4618173"/>
                <a:gd name="connsiteX405" fmla="*/ 3054598 w 3584023"/>
                <a:gd name="connsiteY405" fmla="*/ 803199 h 4618173"/>
                <a:gd name="connsiteX406" fmla="*/ 2965973 w 3584023"/>
                <a:gd name="connsiteY406" fmla="*/ 828853 h 4618173"/>
                <a:gd name="connsiteX407" fmla="*/ 2805046 w 3584023"/>
                <a:gd name="connsiteY407" fmla="*/ 747224 h 4618173"/>
                <a:gd name="connsiteX408" fmla="*/ 2996292 w 3584023"/>
                <a:gd name="connsiteY408" fmla="*/ 999107 h 4618173"/>
                <a:gd name="connsiteX409" fmla="*/ 2972969 w 3584023"/>
                <a:gd name="connsiteY409" fmla="*/ 982782 h 4618173"/>
                <a:gd name="connsiteX410" fmla="*/ 2907666 w 3584023"/>
                <a:gd name="connsiteY410" fmla="*/ 982782 h 4618173"/>
                <a:gd name="connsiteX411" fmla="*/ 2809710 w 3584023"/>
                <a:gd name="connsiteY411" fmla="*/ 947798 h 4618173"/>
                <a:gd name="connsiteX412" fmla="*/ 2823703 w 3584023"/>
                <a:gd name="connsiteY412" fmla="*/ 908151 h 4618173"/>
                <a:gd name="connsiteX413" fmla="*/ 2947315 w 3584023"/>
                <a:gd name="connsiteY413" fmla="*/ 924475 h 4618173"/>
                <a:gd name="connsiteX414" fmla="*/ 3054598 w 3584023"/>
                <a:gd name="connsiteY414" fmla="*/ 996775 h 4618173"/>
                <a:gd name="connsiteX415" fmla="*/ 2996292 w 3584023"/>
                <a:gd name="connsiteY415" fmla="*/ 996775 h 4618173"/>
                <a:gd name="connsiteX416" fmla="*/ 2979966 w 3584023"/>
                <a:gd name="connsiteY416" fmla="*/ 1013103 h 4618173"/>
                <a:gd name="connsiteX417" fmla="*/ 2989295 w 3584023"/>
                <a:gd name="connsiteY417" fmla="*/ 1048087 h 4618173"/>
                <a:gd name="connsiteX418" fmla="*/ 2944982 w 3584023"/>
                <a:gd name="connsiteY418" fmla="*/ 1062080 h 4618173"/>
                <a:gd name="connsiteX419" fmla="*/ 2921659 w 3584023"/>
                <a:gd name="connsiteY419" fmla="*/ 1013103 h 4618173"/>
                <a:gd name="connsiteX420" fmla="*/ 2977634 w 3584023"/>
                <a:gd name="connsiteY420" fmla="*/ 1013103 h 4618173"/>
                <a:gd name="connsiteX421" fmla="*/ 2968304 w 3584023"/>
                <a:gd name="connsiteY421" fmla="*/ 518660 h 4618173"/>
                <a:gd name="connsiteX422" fmla="*/ 2956643 w 3584023"/>
                <a:gd name="connsiteY422" fmla="*/ 483676 h 4618173"/>
                <a:gd name="connsiteX423" fmla="*/ 3035941 w 3584023"/>
                <a:gd name="connsiteY423" fmla="*/ 329747 h 4618173"/>
                <a:gd name="connsiteX424" fmla="*/ 3052267 w 3584023"/>
                <a:gd name="connsiteY424" fmla="*/ 306425 h 4618173"/>
                <a:gd name="connsiteX425" fmla="*/ 3068591 w 3584023"/>
                <a:gd name="connsiteY425" fmla="*/ 308756 h 4618173"/>
                <a:gd name="connsiteX426" fmla="*/ 3040605 w 3584023"/>
                <a:gd name="connsiteY426" fmla="*/ 392717 h 4618173"/>
                <a:gd name="connsiteX427" fmla="*/ 3068591 w 3584023"/>
                <a:gd name="connsiteY427" fmla="*/ 339077 h 4618173"/>
                <a:gd name="connsiteX428" fmla="*/ 3047602 w 3584023"/>
                <a:gd name="connsiteY428" fmla="*/ 341409 h 4618173"/>
                <a:gd name="connsiteX429" fmla="*/ 2991627 w 3584023"/>
                <a:gd name="connsiteY429" fmla="*/ 434699 h 4618173"/>
                <a:gd name="connsiteX430" fmla="*/ 2963639 w 3584023"/>
                <a:gd name="connsiteY430" fmla="*/ 518660 h 4618173"/>
                <a:gd name="connsiteX431" fmla="*/ 2889008 w 3584023"/>
                <a:gd name="connsiteY431" fmla="*/ 287765 h 4618173"/>
                <a:gd name="connsiteX432" fmla="*/ 2889008 w 3584023"/>
                <a:gd name="connsiteY432" fmla="*/ 283102 h 4618173"/>
                <a:gd name="connsiteX433" fmla="*/ 2900669 w 3584023"/>
                <a:gd name="connsiteY433" fmla="*/ 278439 h 4618173"/>
                <a:gd name="connsiteX434" fmla="*/ 2940317 w 3584023"/>
                <a:gd name="connsiteY434" fmla="*/ 383391 h 4618173"/>
                <a:gd name="connsiteX435" fmla="*/ 2928655 w 3584023"/>
                <a:gd name="connsiteY435" fmla="*/ 383391 h 4618173"/>
                <a:gd name="connsiteX436" fmla="*/ 2889008 w 3584023"/>
                <a:gd name="connsiteY436" fmla="*/ 287765 h 4618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3584023" h="4618173">
                  <a:moveTo>
                    <a:pt x="2809710" y="600290"/>
                  </a:moveTo>
                  <a:cubicBezTo>
                    <a:pt x="2823703" y="644603"/>
                    <a:pt x="2821372" y="695912"/>
                    <a:pt x="2833033" y="740226"/>
                  </a:cubicBezTo>
                  <a:cubicBezTo>
                    <a:pt x="2912331" y="770546"/>
                    <a:pt x="3110573" y="709908"/>
                    <a:pt x="3084918" y="849844"/>
                  </a:cubicBezTo>
                  <a:cubicBezTo>
                    <a:pt x="3089582" y="849844"/>
                    <a:pt x="3101244" y="854507"/>
                    <a:pt x="3103576" y="847510"/>
                  </a:cubicBezTo>
                  <a:cubicBezTo>
                    <a:pt x="3103576" y="817192"/>
                    <a:pt x="3108240" y="782208"/>
                    <a:pt x="3075589" y="770546"/>
                  </a:cubicBezTo>
                  <a:cubicBezTo>
                    <a:pt x="3070925" y="765880"/>
                    <a:pt x="3094247" y="763548"/>
                    <a:pt x="3096579" y="749555"/>
                  </a:cubicBezTo>
                  <a:cubicBezTo>
                    <a:pt x="3101244" y="735562"/>
                    <a:pt x="3091914" y="728564"/>
                    <a:pt x="3091914" y="723901"/>
                  </a:cubicBezTo>
                  <a:lnTo>
                    <a:pt x="3056930" y="747224"/>
                  </a:lnTo>
                  <a:cubicBezTo>
                    <a:pt x="3066260" y="688917"/>
                    <a:pt x="3070925" y="637605"/>
                    <a:pt x="3098912" y="583965"/>
                  </a:cubicBezTo>
                  <a:cubicBezTo>
                    <a:pt x="3129231" y="527990"/>
                    <a:pt x="3220189" y="446361"/>
                    <a:pt x="3229518" y="388054"/>
                  </a:cubicBezTo>
                  <a:cubicBezTo>
                    <a:pt x="3234183" y="353070"/>
                    <a:pt x="3236515" y="278439"/>
                    <a:pt x="3229518" y="245786"/>
                  </a:cubicBezTo>
                  <a:cubicBezTo>
                    <a:pt x="3206196" y="161825"/>
                    <a:pt x="3117570" y="54539"/>
                    <a:pt x="3040605" y="21889"/>
                  </a:cubicBezTo>
                  <a:cubicBezTo>
                    <a:pt x="2823703" y="-71401"/>
                    <a:pt x="2597475" y="150164"/>
                    <a:pt x="2662778" y="371729"/>
                  </a:cubicBezTo>
                  <a:cubicBezTo>
                    <a:pt x="2690765" y="465020"/>
                    <a:pt x="2788719" y="518660"/>
                    <a:pt x="2814375" y="600290"/>
                  </a:cubicBezTo>
                  <a:close/>
                  <a:moveTo>
                    <a:pt x="3131563" y="481345"/>
                  </a:moveTo>
                  <a:lnTo>
                    <a:pt x="3070925" y="544315"/>
                  </a:lnTo>
                  <a:cubicBezTo>
                    <a:pt x="3094247" y="497669"/>
                    <a:pt x="3140893" y="476681"/>
                    <a:pt x="3166547" y="434699"/>
                  </a:cubicBezTo>
                  <a:lnTo>
                    <a:pt x="3213192" y="341409"/>
                  </a:lnTo>
                  <a:cubicBezTo>
                    <a:pt x="3210861" y="399715"/>
                    <a:pt x="3175877" y="448692"/>
                    <a:pt x="3129231" y="481345"/>
                  </a:cubicBezTo>
                  <a:close/>
                  <a:moveTo>
                    <a:pt x="2807379" y="59205"/>
                  </a:moveTo>
                  <a:cubicBezTo>
                    <a:pt x="2791053" y="87191"/>
                    <a:pt x="2758400" y="96521"/>
                    <a:pt x="2737411" y="122175"/>
                  </a:cubicBezTo>
                  <a:cubicBezTo>
                    <a:pt x="2746739" y="94189"/>
                    <a:pt x="2779391" y="66200"/>
                    <a:pt x="2807379" y="59205"/>
                  </a:cubicBezTo>
                  <a:close/>
                  <a:moveTo>
                    <a:pt x="3164215" y="189811"/>
                  </a:moveTo>
                  <a:cubicBezTo>
                    <a:pt x="3262171" y="392717"/>
                    <a:pt x="3040605" y="481345"/>
                    <a:pt x="2998623" y="656265"/>
                  </a:cubicBezTo>
                  <a:cubicBezTo>
                    <a:pt x="3000957" y="670258"/>
                    <a:pt x="3007953" y="709908"/>
                    <a:pt x="2986962" y="714571"/>
                  </a:cubicBezTo>
                  <a:cubicBezTo>
                    <a:pt x="2975301" y="716903"/>
                    <a:pt x="2954311" y="705242"/>
                    <a:pt x="2940317" y="702910"/>
                  </a:cubicBezTo>
                  <a:cubicBezTo>
                    <a:pt x="2942650" y="663263"/>
                    <a:pt x="2951978" y="616617"/>
                    <a:pt x="2951978" y="576967"/>
                  </a:cubicBezTo>
                  <a:cubicBezTo>
                    <a:pt x="2951978" y="567637"/>
                    <a:pt x="2949646" y="553644"/>
                    <a:pt x="2947315" y="544315"/>
                  </a:cubicBezTo>
                  <a:cubicBezTo>
                    <a:pt x="2944982" y="534988"/>
                    <a:pt x="2951978" y="527990"/>
                    <a:pt x="2935653" y="530322"/>
                  </a:cubicBezTo>
                  <a:lnTo>
                    <a:pt x="2923992" y="681919"/>
                  </a:lnTo>
                  <a:cubicBezTo>
                    <a:pt x="2923992" y="695912"/>
                    <a:pt x="2914662" y="700578"/>
                    <a:pt x="2900669" y="702910"/>
                  </a:cubicBezTo>
                  <a:cubicBezTo>
                    <a:pt x="2854024" y="707574"/>
                    <a:pt x="2863352" y="637605"/>
                    <a:pt x="2851691" y="600290"/>
                  </a:cubicBezTo>
                  <a:cubicBezTo>
                    <a:pt x="2823703" y="504667"/>
                    <a:pt x="2732746" y="469683"/>
                    <a:pt x="2702427" y="369395"/>
                  </a:cubicBezTo>
                  <a:cubicBezTo>
                    <a:pt x="2613799" y="68535"/>
                    <a:pt x="3042937" y="-64406"/>
                    <a:pt x="3164215" y="189811"/>
                  </a:cubicBezTo>
                  <a:close/>
                  <a:moveTo>
                    <a:pt x="3077921" y="950130"/>
                  </a:moveTo>
                  <a:cubicBezTo>
                    <a:pt x="3040605" y="936137"/>
                    <a:pt x="3014950" y="917478"/>
                    <a:pt x="2972969" y="908151"/>
                  </a:cubicBezTo>
                  <a:cubicBezTo>
                    <a:pt x="2928655" y="898821"/>
                    <a:pt x="2877347" y="901153"/>
                    <a:pt x="2835365" y="884828"/>
                  </a:cubicBezTo>
                  <a:cubicBezTo>
                    <a:pt x="2807379" y="875498"/>
                    <a:pt x="2795717" y="866169"/>
                    <a:pt x="2802714" y="833516"/>
                  </a:cubicBezTo>
                  <a:cubicBezTo>
                    <a:pt x="2809710" y="833516"/>
                    <a:pt x="2816707" y="833516"/>
                    <a:pt x="2823703" y="833516"/>
                  </a:cubicBezTo>
                  <a:cubicBezTo>
                    <a:pt x="2861021" y="833516"/>
                    <a:pt x="3007953" y="861505"/>
                    <a:pt x="3038272" y="877830"/>
                  </a:cubicBezTo>
                  <a:cubicBezTo>
                    <a:pt x="3063928" y="894155"/>
                    <a:pt x="3061595" y="901153"/>
                    <a:pt x="3066260" y="931473"/>
                  </a:cubicBezTo>
                  <a:cubicBezTo>
                    <a:pt x="3094247" y="917478"/>
                    <a:pt x="3089582" y="896489"/>
                    <a:pt x="3073256" y="870832"/>
                  </a:cubicBezTo>
                  <a:cubicBezTo>
                    <a:pt x="3068591" y="861505"/>
                    <a:pt x="3056930" y="863837"/>
                    <a:pt x="3056930" y="856839"/>
                  </a:cubicBezTo>
                  <a:cubicBezTo>
                    <a:pt x="3063928" y="856839"/>
                    <a:pt x="3073256" y="856839"/>
                    <a:pt x="3080253" y="856839"/>
                  </a:cubicBezTo>
                  <a:cubicBezTo>
                    <a:pt x="3098912" y="891823"/>
                    <a:pt x="3105909" y="917478"/>
                    <a:pt x="3080253" y="947798"/>
                  </a:cubicBezTo>
                  <a:close/>
                  <a:moveTo>
                    <a:pt x="2779391" y="677256"/>
                  </a:moveTo>
                  <a:cubicBezTo>
                    <a:pt x="2760733" y="544315"/>
                    <a:pt x="2644120" y="495338"/>
                    <a:pt x="2625461" y="357733"/>
                  </a:cubicBezTo>
                  <a:cubicBezTo>
                    <a:pt x="2639455" y="388054"/>
                    <a:pt x="2646452" y="413708"/>
                    <a:pt x="2662778" y="444029"/>
                  </a:cubicBezTo>
                  <a:cubicBezTo>
                    <a:pt x="2695429" y="500004"/>
                    <a:pt x="2763065" y="555976"/>
                    <a:pt x="2781723" y="611951"/>
                  </a:cubicBezTo>
                  <a:cubicBezTo>
                    <a:pt x="2786388" y="625944"/>
                    <a:pt x="2807379" y="737894"/>
                    <a:pt x="2802714" y="744892"/>
                  </a:cubicBezTo>
                  <a:cubicBezTo>
                    <a:pt x="2802714" y="744892"/>
                    <a:pt x="2788719" y="744892"/>
                    <a:pt x="2786388" y="744892"/>
                  </a:cubicBezTo>
                  <a:cubicBezTo>
                    <a:pt x="2781723" y="723901"/>
                    <a:pt x="2781723" y="700578"/>
                    <a:pt x="2779391" y="679587"/>
                  </a:cubicBezTo>
                  <a:close/>
                  <a:moveTo>
                    <a:pt x="1578274" y="3284729"/>
                  </a:moveTo>
                  <a:cubicBezTo>
                    <a:pt x="1601596" y="3193773"/>
                    <a:pt x="1645909" y="3070161"/>
                    <a:pt x="1685557" y="2983869"/>
                  </a:cubicBezTo>
                  <a:cubicBezTo>
                    <a:pt x="1692554" y="2969873"/>
                    <a:pt x="1713545" y="2918564"/>
                    <a:pt x="1722874" y="2911566"/>
                  </a:cubicBezTo>
                  <a:cubicBezTo>
                    <a:pt x="1732203" y="2904571"/>
                    <a:pt x="1804504" y="2888243"/>
                    <a:pt x="1809167" y="2890578"/>
                  </a:cubicBezTo>
                  <a:cubicBezTo>
                    <a:pt x="1813832" y="2895241"/>
                    <a:pt x="1792843" y="3014186"/>
                    <a:pt x="1790509" y="3028179"/>
                  </a:cubicBezTo>
                  <a:cubicBezTo>
                    <a:pt x="1785845" y="3042175"/>
                    <a:pt x="1776516" y="3053837"/>
                    <a:pt x="1771852" y="3065498"/>
                  </a:cubicBezTo>
                  <a:cubicBezTo>
                    <a:pt x="1748529" y="3133131"/>
                    <a:pt x="1725206" y="3205434"/>
                    <a:pt x="1692554" y="3268404"/>
                  </a:cubicBezTo>
                  <a:cubicBezTo>
                    <a:pt x="1687890" y="3254411"/>
                    <a:pt x="1692554" y="3245081"/>
                    <a:pt x="1671564" y="3254411"/>
                  </a:cubicBezTo>
                  <a:cubicBezTo>
                    <a:pt x="1652906" y="3263741"/>
                    <a:pt x="1645909" y="3315049"/>
                    <a:pt x="1636580" y="3336040"/>
                  </a:cubicBezTo>
                  <a:cubicBezTo>
                    <a:pt x="1634247" y="3345370"/>
                    <a:pt x="1641245" y="3352365"/>
                    <a:pt x="1624919" y="3350033"/>
                  </a:cubicBezTo>
                  <a:cubicBezTo>
                    <a:pt x="1634247" y="3329042"/>
                    <a:pt x="1629584" y="3308051"/>
                    <a:pt x="1631916" y="3284729"/>
                  </a:cubicBezTo>
                  <a:cubicBezTo>
                    <a:pt x="1634247" y="3266072"/>
                    <a:pt x="1659903" y="3184443"/>
                    <a:pt x="1657570" y="3177445"/>
                  </a:cubicBezTo>
                  <a:cubicBezTo>
                    <a:pt x="1652906" y="3170450"/>
                    <a:pt x="1638912" y="3161120"/>
                    <a:pt x="1631916" y="3165784"/>
                  </a:cubicBezTo>
                  <a:cubicBezTo>
                    <a:pt x="1624919" y="3170450"/>
                    <a:pt x="1601596" y="3284729"/>
                    <a:pt x="1587602" y="3291727"/>
                  </a:cubicBezTo>
                  <a:cubicBezTo>
                    <a:pt x="1578274" y="3291727"/>
                    <a:pt x="1578274" y="3291727"/>
                    <a:pt x="1578274" y="3282397"/>
                  </a:cubicBezTo>
                  <a:close/>
                  <a:moveTo>
                    <a:pt x="1711213" y="2862589"/>
                  </a:moveTo>
                  <a:lnTo>
                    <a:pt x="1585270" y="2678339"/>
                  </a:lnTo>
                  <a:cubicBezTo>
                    <a:pt x="1648242" y="2664346"/>
                    <a:pt x="1715877" y="2648021"/>
                    <a:pt x="1771852" y="2622367"/>
                  </a:cubicBezTo>
                  <a:cubicBezTo>
                    <a:pt x="1781181" y="2617701"/>
                    <a:pt x="1820829" y="2589715"/>
                    <a:pt x="1825493" y="2592047"/>
                  </a:cubicBezTo>
                  <a:cubicBezTo>
                    <a:pt x="1832490" y="2599044"/>
                    <a:pt x="1797506" y="2652685"/>
                    <a:pt x="1792843" y="2664346"/>
                  </a:cubicBezTo>
                  <a:cubicBezTo>
                    <a:pt x="1778848" y="2703996"/>
                    <a:pt x="1762522" y="2759969"/>
                    <a:pt x="1757858" y="2801951"/>
                  </a:cubicBezTo>
                  <a:cubicBezTo>
                    <a:pt x="1755525" y="2820610"/>
                    <a:pt x="1769520" y="2864921"/>
                    <a:pt x="1739199" y="2862589"/>
                  </a:cubicBezTo>
                  <a:cubicBezTo>
                    <a:pt x="1732203" y="2862589"/>
                    <a:pt x="1734536" y="2843932"/>
                    <a:pt x="1725206" y="2843932"/>
                  </a:cubicBezTo>
                  <a:lnTo>
                    <a:pt x="1713545" y="2860257"/>
                  </a:lnTo>
                  <a:close/>
                  <a:moveTo>
                    <a:pt x="1638912" y="3429331"/>
                  </a:moveTo>
                  <a:lnTo>
                    <a:pt x="1687890" y="3359363"/>
                  </a:lnTo>
                  <a:cubicBezTo>
                    <a:pt x="1652906" y="3494633"/>
                    <a:pt x="1645909" y="3634569"/>
                    <a:pt x="1636580" y="3772173"/>
                  </a:cubicBezTo>
                  <a:cubicBezTo>
                    <a:pt x="1629584" y="3772173"/>
                    <a:pt x="1627251" y="3746519"/>
                    <a:pt x="1624919" y="3739521"/>
                  </a:cubicBezTo>
                  <a:cubicBezTo>
                    <a:pt x="1613258" y="3636903"/>
                    <a:pt x="1610925" y="3527285"/>
                    <a:pt x="1638912" y="3426999"/>
                  </a:cubicBezTo>
                  <a:close/>
                  <a:moveTo>
                    <a:pt x="1883800" y="2566392"/>
                  </a:moveTo>
                  <a:cubicBezTo>
                    <a:pt x="1890797" y="2557062"/>
                    <a:pt x="1897795" y="2533740"/>
                    <a:pt x="1911788" y="2536072"/>
                  </a:cubicBezTo>
                  <a:cubicBezTo>
                    <a:pt x="1895461" y="2599044"/>
                    <a:pt x="1853481" y="2650353"/>
                    <a:pt x="1827827" y="2708660"/>
                  </a:cubicBezTo>
                  <a:cubicBezTo>
                    <a:pt x="1806836" y="2759969"/>
                    <a:pt x="1799839" y="2794953"/>
                    <a:pt x="1790509" y="2848596"/>
                  </a:cubicBezTo>
                  <a:cubicBezTo>
                    <a:pt x="1790509" y="2857926"/>
                    <a:pt x="1795174" y="2857926"/>
                    <a:pt x="1778848" y="2857926"/>
                  </a:cubicBezTo>
                  <a:cubicBezTo>
                    <a:pt x="1767187" y="2743644"/>
                    <a:pt x="1820829" y="2657351"/>
                    <a:pt x="1881468" y="2568724"/>
                  </a:cubicBezTo>
                  <a:close/>
                  <a:moveTo>
                    <a:pt x="1683226" y="3513292"/>
                  </a:moveTo>
                  <a:cubicBezTo>
                    <a:pt x="1673896" y="3450322"/>
                    <a:pt x="1708880" y="3371024"/>
                    <a:pt x="1720541" y="3310386"/>
                  </a:cubicBezTo>
                  <a:lnTo>
                    <a:pt x="1757858" y="3212429"/>
                  </a:lnTo>
                  <a:lnTo>
                    <a:pt x="1694887" y="3522622"/>
                  </a:lnTo>
                  <a:cubicBezTo>
                    <a:pt x="1687890" y="3531951"/>
                    <a:pt x="1685557" y="3522622"/>
                    <a:pt x="1683226" y="3513292"/>
                  </a:cubicBezTo>
                  <a:close/>
                  <a:moveTo>
                    <a:pt x="1613258" y="3109809"/>
                  </a:moveTo>
                  <a:cubicBezTo>
                    <a:pt x="1620254" y="3070161"/>
                    <a:pt x="1638912" y="3037509"/>
                    <a:pt x="1652906" y="3000193"/>
                  </a:cubicBezTo>
                  <a:lnTo>
                    <a:pt x="1657570" y="3004857"/>
                  </a:lnTo>
                  <a:lnTo>
                    <a:pt x="1610925" y="3107477"/>
                  </a:lnTo>
                  <a:close/>
                  <a:moveTo>
                    <a:pt x="1958433" y="2554731"/>
                  </a:moveTo>
                  <a:cubicBezTo>
                    <a:pt x="1958433" y="2550065"/>
                    <a:pt x="1967763" y="2550065"/>
                    <a:pt x="1970094" y="2552399"/>
                  </a:cubicBezTo>
                  <a:cubicBezTo>
                    <a:pt x="1970094" y="2552399"/>
                    <a:pt x="1984087" y="2573387"/>
                    <a:pt x="1981756" y="2575722"/>
                  </a:cubicBezTo>
                  <a:cubicBezTo>
                    <a:pt x="1979424" y="2578053"/>
                    <a:pt x="1963098" y="2559394"/>
                    <a:pt x="1958433" y="2554731"/>
                  </a:cubicBezTo>
                  <a:close/>
                  <a:moveTo>
                    <a:pt x="2009743" y="2585049"/>
                  </a:moveTo>
                  <a:cubicBezTo>
                    <a:pt x="2009743" y="2585049"/>
                    <a:pt x="2009743" y="2592047"/>
                    <a:pt x="2007410" y="2589715"/>
                  </a:cubicBezTo>
                  <a:cubicBezTo>
                    <a:pt x="1970094" y="2582717"/>
                    <a:pt x="1986420" y="2561726"/>
                    <a:pt x="2009743" y="2585049"/>
                  </a:cubicBezTo>
                  <a:close/>
                  <a:moveTo>
                    <a:pt x="2541500" y="1906359"/>
                  </a:moveTo>
                  <a:lnTo>
                    <a:pt x="2490190" y="1885368"/>
                  </a:lnTo>
                  <a:lnTo>
                    <a:pt x="2588145" y="1913357"/>
                  </a:lnTo>
                  <a:cubicBezTo>
                    <a:pt x="2588145" y="1925019"/>
                    <a:pt x="2578815" y="1915689"/>
                    <a:pt x="2571819" y="1913357"/>
                  </a:cubicBezTo>
                  <a:cubicBezTo>
                    <a:pt x="2562491" y="1911026"/>
                    <a:pt x="2550829" y="1906359"/>
                    <a:pt x="2541500" y="1904028"/>
                  </a:cubicBezTo>
                  <a:close/>
                  <a:moveTo>
                    <a:pt x="815622" y="2659683"/>
                  </a:moveTo>
                  <a:lnTo>
                    <a:pt x="831948" y="2683005"/>
                  </a:lnTo>
                  <a:cubicBezTo>
                    <a:pt x="831948" y="2690001"/>
                    <a:pt x="836613" y="2717989"/>
                    <a:pt x="827283" y="2717989"/>
                  </a:cubicBezTo>
                  <a:lnTo>
                    <a:pt x="815622" y="2659683"/>
                  </a:lnTo>
                  <a:close/>
                  <a:moveTo>
                    <a:pt x="2301276" y="3536615"/>
                  </a:moveTo>
                  <a:cubicBezTo>
                    <a:pt x="2245302" y="3410672"/>
                    <a:pt x="2235973" y="3275402"/>
                    <a:pt x="2138018" y="3170450"/>
                  </a:cubicBezTo>
                  <a:lnTo>
                    <a:pt x="2119360" y="3126136"/>
                  </a:lnTo>
                  <a:cubicBezTo>
                    <a:pt x="2077378" y="3235752"/>
                    <a:pt x="2044727" y="3357031"/>
                    <a:pt x="1995749" y="3461983"/>
                  </a:cubicBezTo>
                  <a:cubicBezTo>
                    <a:pt x="1921117" y="3615912"/>
                    <a:pt x="1834823" y="3797827"/>
                    <a:pt x="1750861" y="3947093"/>
                  </a:cubicBezTo>
                  <a:cubicBezTo>
                    <a:pt x="1743864" y="3961086"/>
                    <a:pt x="1704215" y="4028722"/>
                    <a:pt x="1699552" y="4033389"/>
                  </a:cubicBezTo>
                  <a:cubicBezTo>
                    <a:pt x="1690222" y="4040384"/>
                    <a:pt x="1676229" y="4047382"/>
                    <a:pt x="1666900" y="4040384"/>
                  </a:cubicBezTo>
                  <a:cubicBezTo>
                    <a:pt x="1652906" y="4031054"/>
                    <a:pt x="1617922" y="3937763"/>
                    <a:pt x="1608593" y="3916775"/>
                  </a:cubicBezTo>
                  <a:cubicBezTo>
                    <a:pt x="1519967" y="3695210"/>
                    <a:pt x="1426676" y="3445656"/>
                    <a:pt x="1363705" y="3214761"/>
                  </a:cubicBezTo>
                  <a:cubicBezTo>
                    <a:pt x="1275079" y="2897573"/>
                    <a:pt x="1296068" y="2573387"/>
                    <a:pt x="1303066" y="2246870"/>
                  </a:cubicBezTo>
                  <a:cubicBezTo>
                    <a:pt x="1305398" y="2151247"/>
                    <a:pt x="1300733" y="2055625"/>
                    <a:pt x="1314728" y="1962334"/>
                  </a:cubicBezTo>
                  <a:cubicBezTo>
                    <a:pt x="1310063" y="1957671"/>
                    <a:pt x="1279744" y="1983325"/>
                    <a:pt x="1275079" y="1987989"/>
                  </a:cubicBezTo>
                  <a:cubicBezTo>
                    <a:pt x="1219104" y="2034634"/>
                    <a:pt x="1170127" y="2088277"/>
                    <a:pt x="1114152" y="2134923"/>
                  </a:cubicBezTo>
                  <a:cubicBezTo>
                    <a:pt x="1114152" y="2144252"/>
                    <a:pt x="1107155" y="2151247"/>
                    <a:pt x="1102491" y="2160577"/>
                  </a:cubicBezTo>
                  <a:cubicBezTo>
                    <a:pt x="1076836" y="2193229"/>
                    <a:pt x="962555" y="2286520"/>
                    <a:pt x="925239" y="2307511"/>
                  </a:cubicBezTo>
                  <a:cubicBezTo>
                    <a:pt x="950893" y="2344827"/>
                    <a:pt x="1006868" y="2379811"/>
                    <a:pt x="1027858" y="2419458"/>
                  </a:cubicBezTo>
                  <a:cubicBezTo>
                    <a:pt x="1032523" y="2428788"/>
                    <a:pt x="1034856" y="2435786"/>
                    <a:pt x="1032523" y="2445113"/>
                  </a:cubicBezTo>
                  <a:cubicBezTo>
                    <a:pt x="1002203" y="2452110"/>
                    <a:pt x="1006868" y="2438117"/>
                    <a:pt x="995207" y="2428788"/>
                  </a:cubicBezTo>
                  <a:cubicBezTo>
                    <a:pt x="960223" y="2400802"/>
                    <a:pt x="918242" y="2365818"/>
                    <a:pt x="894920" y="2326167"/>
                  </a:cubicBezTo>
                  <a:cubicBezTo>
                    <a:pt x="878594" y="2335497"/>
                    <a:pt x="827283" y="2333165"/>
                    <a:pt x="796964" y="2347158"/>
                  </a:cubicBezTo>
                  <a:cubicBezTo>
                    <a:pt x="759647" y="2363483"/>
                    <a:pt x="726996" y="2400802"/>
                    <a:pt x="694344" y="2421790"/>
                  </a:cubicBezTo>
                  <a:cubicBezTo>
                    <a:pt x="643034" y="2452110"/>
                    <a:pt x="570734" y="2466104"/>
                    <a:pt x="512427" y="2487094"/>
                  </a:cubicBezTo>
                  <a:cubicBezTo>
                    <a:pt x="447124" y="2510417"/>
                    <a:pt x="286197" y="2554731"/>
                    <a:pt x="237220" y="2585049"/>
                  </a:cubicBezTo>
                  <a:cubicBezTo>
                    <a:pt x="174249" y="2624699"/>
                    <a:pt x="106612" y="2780960"/>
                    <a:pt x="83290" y="2850928"/>
                  </a:cubicBezTo>
                  <a:cubicBezTo>
                    <a:pt x="-16998" y="3151791"/>
                    <a:pt x="-14665" y="3464315"/>
                    <a:pt x="27316" y="3774505"/>
                  </a:cubicBezTo>
                  <a:cubicBezTo>
                    <a:pt x="57635" y="3991407"/>
                    <a:pt x="134600" y="4243293"/>
                    <a:pt x="146261" y="4453197"/>
                  </a:cubicBezTo>
                  <a:cubicBezTo>
                    <a:pt x="150926" y="4513835"/>
                    <a:pt x="139265" y="4560481"/>
                    <a:pt x="129935" y="4616456"/>
                  </a:cubicBezTo>
                  <a:cubicBezTo>
                    <a:pt x="155591" y="4623451"/>
                    <a:pt x="171917" y="4607126"/>
                    <a:pt x="192906" y="4602460"/>
                  </a:cubicBezTo>
                  <a:cubicBezTo>
                    <a:pt x="729328" y="4483515"/>
                    <a:pt x="1268082" y="4336584"/>
                    <a:pt x="1802171" y="4203643"/>
                  </a:cubicBezTo>
                  <a:cubicBezTo>
                    <a:pt x="1832490" y="4017061"/>
                    <a:pt x="1918784" y="3837478"/>
                    <a:pt x="2023736" y="3681214"/>
                  </a:cubicBezTo>
                  <a:cubicBezTo>
                    <a:pt x="2042394" y="3653228"/>
                    <a:pt x="2131021" y="3529617"/>
                    <a:pt x="2154344" y="3520290"/>
                  </a:cubicBezTo>
                  <a:cubicBezTo>
                    <a:pt x="2161340" y="3517955"/>
                    <a:pt x="2166005" y="3520290"/>
                    <a:pt x="2163672" y="3529617"/>
                  </a:cubicBezTo>
                  <a:cubicBezTo>
                    <a:pt x="2124023" y="3569267"/>
                    <a:pt x="2089039" y="3611246"/>
                    <a:pt x="2056388" y="3657891"/>
                  </a:cubicBezTo>
                  <a:cubicBezTo>
                    <a:pt x="2037731" y="3685880"/>
                    <a:pt x="2009743" y="3718533"/>
                    <a:pt x="2002747" y="3751182"/>
                  </a:cubicBezTo>
                  <a:cubicBezTo>
                    <a:pt x="2044727" y="3713866"/>
                    <a:pt x="2154344" y="3524953"/>
                    <a:pt x="2200989" y="3515624"/>
                  </a:cubicBezTo>
                  <a:cubicBezTo>
                    <a:pt x="2210318" y="3515624"/>
                    <a:pt x="2210318" y="3515624"/>
                    <a:pt x="2210318" y="3524953"/>
                  </a:cubicBezTo>
                  <a:cubicBezTo>
                    <a:pt x="2203321" y="3541278"/>
                    <a:pt x="2075046" y="3704537"/>
                    <a:pt x="2084376" y="3711535"/>
                  </a:cubicBezTo>
                  <a:cubicBezTo>
                    <a:pt x="2093704" y="3718533"/>
                    <a:pt x="2098369" y="3709203"/>
                    <a:pt x="2103034" y="3704537"/>
                  </a:cubicBezTo>
                  <a:cubicBezTo>
                    <a:pt x="2140350" y="3669553"/>
                    <a:pt x="2173002" y="3615912"/>
                    <a:pt x="2210318" y="3576262"/>
                  </a:cubicBezTo>
                  <a:cubicBezTo>
                    <a:pt x="2214982" y="3571599"/>
                    <a:pt x="2221979" y="3545944"/>
                    <a:pt x="2226644" y="3569267"/>
                  </a:cubicBezTo>
                  <a:cubicBezTo>
                    <a:pt x="2121692" y="3713866"/>
                    <a:pt x="1998082" y="3849139"/>
                    <a:pt x="1925781" y="4014729"/>
                  </a:cubicBezTo>
                  <a:cubicBezTo>
                    <a:pt x="1900126" y="4073036"/>
                    <a:pt x="1893130" y="4122013"/>
                    <a:pt x="1876804" y="4180320"/>
                  </a:cubicBezTo>
                  <a:cubicBezTo>
                    <a:pt x="1888465" y="4180320"/>
                    <a:pt x="1900126" y="4180320"/>
                    <a:pt x="1909456" y="4175656"/>
                  </a:cubicBezTo>
                  <a:cubicBezTo>
                    <a:pt x="2042394" y="4147667"/>
                    <a:pt x="2217314" y="4110352"/>
                    <a:pt x="2343257" y="4070704"/>
                  </a:cubicBezTo>
                  <a:cubicBezTo>
                    <a:pt x="2373576" y="4061375"/>
                    <a:pt x="2389902" y="4038052"/>
                    <a:pt x="2420222" y="4031054"/>
                  </a:cubicBezTo>
                  <a:cubicBezTo>
                    <a:pt x="2445877" y="4026391"/>
                    <a:pt x="2483193" y="4026391"/>
                    <a:pt x="2508847" y="4035720"/>
                  </a:cubicBezTo>
                  <a:cubicBezTo>
                    <a:pt x="2473863" y="3951759"/>
                    <a:pt x="2450541" y="3858469"/>
                    <a:pt x="2413225" y="3772173"/>
                  </a:cubicBezTo>
                  <a:cubicBezTo>
                    <a:pt x="2378241" y="3690544"/>
                    <a:pt x="2336261" y="3618244"/>
                    <a:pt x="2301276" y="3538946"/>
                  </a:cubicBezTo>
                  <a:close/>
                  <a:moveTo>
                    <a:pt x="1072171" y="2442781"/>
                  </a:moveTo>
                  <a:cubicBezTo>
                    <a:pt x="1083833" y="2454442"/>
                    <a:pt x="1041852" y="2482431"/>
                    <a:pt x="1034856" y="2487094"/>
                  </a:cubicBezTo>
                  <a:cubicBezTo>
                    <a:pt x="976549" y="2531408"/>
                    <a:pt x="904248" y="2561726"/>
                    <a:pt x="843610" y="2606040"/>
                  </a:cubicBezTo>
                  <a:cubicBezTo>
                    <a:pt x="831948" y="2622367"/>
                    <a:pt x="843610" y="2641024"/>
                    <a:pt x="848274" y="2659683"/>
                  </a:cubicBezTo>
                  <a:cubicBezTo>
                    <a:pt x="848274" y="2666678"/>
                    <a:pt x="855271" y="2680674"/>
                    <a:pt x="843610" y="2678339"/>
                  </a:cubicBezTo>
                  <a:cubicBezTo>
                    <a:pt x="838945" y="2662015"/>
                    <a:pt x="813290" y="2610706"/>
                    <a:pt x="822619" y="2599044"/>
                  </a:cubicBezTo>
                  <a:lnTo>
                    <a:pt x="1072171" y="2445113"/>
                  </a:lnTo>
                  <a:close/>
                  <a:moveTo>
                    <a:pt x="731661" y="4273611"/>
                  </a:moveTo>
                  <a:cubicBezTo>
                    <a:pt x="675686" y="4273611"/>
                    <a:pt x="542746" y="4194313"/>
                    <a:pt x="491436" y="4163995"/>
                  </a:cubicBezTo>
                  <a:cubicBezTo>
                    <a:pt x="449456" y="4138341"/>
                    <a:pt x="412140" y="4105688"/>
                    <a:pt x="367826" y="4084697"/>
                  </a:cubicBezTo>
                  <a:cubicBezTo>
                    <a:pt x="367826" y="4075368"/>
                    <a:pt x="365495" y="4073036"/>
                    <a:pt x="374823" y="4073036"/>
                  </a:cubicBezTo>
                  <a:cubicBezTo>
                    <a:pt x="433130" y="4080034"/>
                    <a:pt x="493769" y="4138341"/>
                    <a:pt x="547411" y="4163995"/>
                  </a:cubicBezTo>
                  <a:cubicBezTo>
                    <a:pt x="570734" y="4175656"/>
                    <a:pt x="617379" y="4196647"/>
                    <a:pt x="640702" y="4203643"/>
                  </a:cubicBezTo>
                  <a:cubicBezTo>
                    <a:pt x="645367" y="4203643"/>
                    <a:pt x="661693" y="4208309"/>
                    <a:pt x="659360" y="4198979"/>
                  </a:cubicBezTo>
                  <a:cubicBezTo>
                    <a:pt x="556741" y="4138341"/>
                    <a:pt x="451789" y="4056711"/>
                    <a:pt x="363162" y="3975082"/>
                  </a:cubicBezTo>
                  <a:cubicBezTo>
                    <a:pt x="302523" y="3919107"/>
                    <a:pt x="251213" y="3858469"/>
                    <a:pt x="199903" y="3793164"/>
                  </a:cubicBezTo>
                  <a:cubicBezTo>
                    <a:pt x="192906" y="3776839"/>
                    <a:pt x="227890" y="3786166"/>
                    <a:pt x="232555" y="3788501"/>
                  </a:cubicBezTo>
                  <a:cubicBezTo>
                    <a:pt x="255878" y="3797827"/>
                    <a:pt x="295527" y="3865464"/>
                    <a:pt x="316516" y="3886455"/>
                  </a:cubicBezTo>
                  <a:cubicBezTo>
                    <a:pt x="386484" y="3963421"/>
                    <a:pt x="475112" y="4038052"/>
                    <a:pt x="554408" y="4101022"/>
                  </a:cubicBezTo>
                  <a:cubicBezTo>
                    <a:pt x="605718" y="4140672"/>
                    <a:pt x="694344" y="4191981"/>
                    <a:pt x="736324" y="4233963"/>
                  </a:cubicBezTo>
                  <a:cubicBezTo>
                    <a:pt x="752651" y="4250288"/>
                    <a:pt x="759647" y="4271279"/>
                    <a:pt x="729328" y="4271279"/>
                  </a:cubicBezTo>
                  <a:close/>
                  <a:moveTo>
                    <a:pt x="871597" y="4191981"/>
                  </a:moveTo>
                  <a:cubicBezTo>
                    <a:pt x="668689" y="4042715"/>
                    <a:pt x="468114" y="3893453"/>
                    <a:pt x="255878" y="3755848"/>
                  </a:cubicBezTo>
                  <a:lnTo>
                    <a:pt x="246548" y="3732526"/>
                  </a:lnTo>
                  <a:cubicBezTo>
                    <a:pt x="255878" y="3732526"/>
                    <a:pt x="265208" y="3732526"/>
                    <a:pt x="274536" y="3734857"/>
                  </a:cubicBezTo>
                  <a:cubicBezTo>
                    <a:pt x="302523" y="3746519"/>
                    <a:pt x="391149" y="3811823"/>
                    <a:pt x="421468" y="3832811"/>
                  </a:cubicBezTo>
                  <a:cubicBezTo>
                    <a:pt x="568402" y="3933100"/>
                    <a:pt x="708338" y="4042715"/>
                    <a:pt x="852938" y="4145336"/>
                  </a:cubicBezTo>
                  <a:lnTo>
                    <a:pt x="731661" y="3907446"/>
                  </a:lnTo>
                  <a:cubicBezTo>
                    <a:pt x="726996" y="3893453"/>
                    <a:pt x="752651" y="3898116"/>
                    <a:pt x="759647" y="3902779"/>
                  </a:cubicBezTo>
                  <a:cubicBezTo>
                    <a:pt x="771308" y="3909777"/>
                    <a:pt x="869264" y="4112683"/>
                    <a:pt x="876260" y="4136006"/>
                  </a:cubicBezTo>
                  <a:cubicBezTo>
                    <a:pt x="880925" y="4152334"/>
                    <a:pt x="897251" y="4198979"/>
                    <a:pt x="866932" y="4191981"/>
                  </a:cubicBezTo>
                  <a:close/>
                  <a:moveTo>
                    <a:pt x="1006868" y="4285272"/>
                  </a:moveTo>
                  <a:cubicBezTo>
                    <a:pt x="990542" y="4275942"/>
                    <a:pt x="920574" y="4154665"/>
                    <a:pt x="904248" y="4129011"/>
                  </a:cubicBezTo>
                  <a:cubicBezTo>
                    <a:pt x="827283" y="3998405"/>
                    <a:pt x="757315" y="3858469"/>
                    <a:pt x="701340" y="3718533"/>
                  </a:cubicBezTo>
                  <a:cubicBezTo>
                    <a:pt x="680351" y="3664889"/>
                    <a:pt x="666356" y="3599585"/>
                    <a:pt x="640702" y="3548276"/>
                  </a:cubicBezTo>
                  <a:cubicBezTo>
                    <a:pt x="612714" y="3487638"/>
                    <a:pt x="559073" y="3420001"/>
                    <a:pt x="526420" y="3359363"/>
                  </a:cubicBezTo>
                  <a:cubicBezTo>
                    <a:pt x="412140" y="3154122"/>
                    <a:pt x="316516" y="2925562"/>
                    <a:pt x="202236" y="2724985"/>
                  </a:cubicBezTo>
                  <a:cubicBezTo>
                    <a:pt x="192906" y="2708660"/>
                    <a:pt x="167252" y="2696999"/>
                    <a:pt x="185910" y="2683005"/>
                  </a:cubicBezTo>
                  <a:cubicBezTo>
                    <a:pt x="204568" y="2692335"/>
                    <a:pt x="211564" y="2706328"/>
                    <a:pt x="223226" y="2720321"/>
                  </a:cubicBezTo>
                  <a:cubicBezTo>
                    <a:pt x="337507" y="2890578"/>
                    <a:pt x="412140" y="3133131"/>
                    <a:pt x="531085" y="3296390"/>
                  </a:cubicBezTo>
                  <a:cubicBezTo>
                    <a:pt x="547411" y="3317381"/>
                    <a:pt x="573066" y="3336040"/>
                    <a:pt x="587060" y="3359363"/>
                  </a:cubicBezTo>
                  <a:lnTo>
                    <a:pt x="612714" y="3336040"/>
                  </a:lnTo>
                  <a:lnTo>
                    <a:pt x="619711" y="3387349"/>
                  </a:lnTo>
                  <a:cubicBezTo>
                    <a:pt x="629041" y="3387349"/>
                    <a:pt x="626709" y="3380354"/>
                    <a:pt x="624376" y="3373356"/>
                  </a:cubicBezTo>
                  <a:cubicBezTo>
                    <a:pt x="619711" y="3310386"/>
                    <a:pt x="605718" y="3214761"/>
                    <a:pt x="591725" y="3154122"/>
                  </a:cubicBezTo>
                  <a:cubicBezTo>
                    <a:pt x="580064" y="3107477"/>
                    <a:pt x="559073" y="3060832"/>
                    <a:pt x="533418" y="3018853"/>
                  </a:cubicBezTo>
                  <a:cubicBezTo>
                    <a:pt x="540415" y="3011855"/>
                    <a:pt x="561404" y="3037509"/>
                    <a:pt x="563737" y="3042175"/>
                  </a:cubicBezTo>
                  <a:cubicBezTo>
                    <a:pt x="577730" y="3060832"/>
                    <a:pt x="603386" y="3133131"/>
                    <a:pt x="610383" y="3156454"/>
                  </a:cubicBezTo>
                  <a:cubicBezTo>
                    <a:pt x="631372" y="3242750"/>
                    <a:pt x="631372" y="3338372"/>
                    <a:pt x="647699" y="3426999"/>
                  </a:cubicBezTo>
                  <a:cubicBezTo>
                    <a:pt x="657028" y="3426999"/>
                    <a:pt x="659360" y="3429331"/>
                    <a:pt x="659360" y="3417670"/>
                  </a:cubicBezTo>
                  <a:cubicBezTo>
                    <a:pt x="652363" y="3296390"/>
                    <a:pt x="633705" y="3177445"/>
                    <a:pt x="596388" y="3060832"/>
                  </a:cubicBezTo>
                  <a:cubicBezTo>
                    <a:pt x="624376" y="3028179"/>
                    <a:pt x="636037" y="3086486"/>
                    <a:pt x="645367" y="3109809"/>
                  </a:cubicBezTo>
                  <a:cubicBezTo>
                    <a:pt x="666356" y="3175113"/>
                    <a:pt x="678018" y="3247413"/>
                    <a:pt x="682683" y="3317381"/>
                  </a:cubicBezTo>
                  <a:cubicBezTo>
                    <a:pt x="692012" y="3317381"/>
                    <a:pt x="692012" y="3303388"/>
                    <a:pt x="692012" y="3296390"/>
                  </a:cubicBezTo>
                  <a:cubicBezTo>
                    <a:pt x="692012" y="3261406"/>
                    <a:pt x="680351" y="3214761"/>
                    <a:pt x="675686" y="3177445"/>
                  </a:cubicBezTo>
                  <a:cubicBezTo>
                    <a:pt x="680351" y="3177445"/>
                    <a:pt x="692012" y="3177445"/>
                    <a:pt x="692012" y="3177445"/>
                  </a:cubicBezTo>
                  <a:cubicBezTo>
                    <a:pt x="696677" y="3182111"/>
                    <a:pt x="708338" y="3317381"/>
                    <a:pt x="708338" y="3336040"/>
                  </a:cubicBezTo>
                  <a:cubicBezTo>
                    <a:pt x="710670" y="3406008"/>
                    <a:pt x="699009" y="3487638"/>
                    <a:pt x="715335" y="3552939"/>
                  </a:cubicBezTo>
                  <a:cubicBezTo>
                    <a:pt x="729328" y="3608914"/>
                    <a:pt x="764312" y="3681214"/>
                    <a:pt x="785303" y="3734857"/>
                  </a:cubicBezTo>
                  <a:cubicBezTo>
                    <a:pt x="836613" y="3860800"/>
                    <a:pt x="892587" y="3993738"/>
                    <a:pt x="948562" y="4115018"/>
                  </a:cubicBezTo>
                  <a:cubicBezTo>
                    <a:pt x="967219" y="4156997"/>
                    <a:pt x="1013865" y="4224634"/>
                    <a:pt x="1025526" y="4261949"/>
                  </a:cubicBezTo>
                  <a:cubicBezTo>
                    <a:pt x="1034856" y="4287604"/>
                    <a:pt x="1025526" y="4292270"/>
                    <a:pt x="1002203" y="4280609"/>
                  </a:cubicBezTo>
                  <a:close/>
                  <a:moveTo>
                    <a:pt x="1403354" y="4143004"/>
                  </a:moveTo>
                  <a:cubicBezTo>
                    <a:pt x="1373034" y="4170990"/>
                    <a:pt x="1349712" y="4150002"/>
                    <a:pt x="1331052" y="4122013"/>
                  </a:cubicBezTo>
                  <a:cubicBezTo>
                    <a:pt x="1228434" y="3982077"/>
                    <a:pt x="1114152" y="3744187"/>
                    <a:pt x="1058178" y="3580928"/>
                  </a:cubicBezTo>
                  <a:cubicBezTo>
                    <a:pt x="943897" y="3254411"/>
                    <a:pt x="855271" y="2916232"/>
                    <a:pt x="747986" y="2587383"/>
                  </a:cubicBezTo>
                  <a:cubicBezTo>
                    <a:pt x="743322" y="2568724"/>
                    <a:pt x="747986" y="2557062"/>
                    <a:pt x="766645" y="2550065"/>
                  </a:cubicBezTo>
                  <a:cubicBezTo>
                    <a:pt x="852938" y="2524410"/>
                    <a:pt x="929904" y="2473101"/>
                    <a:pt x="1018530" y="2454442"/>
                  </a:cubicBezTo>
                  <a:cubicBezTo>
                    <a:pt x="1004535" y="2475433"/>
                    <a:pt x="981212" y="2489426"/>
                    <a:pt x="960223" y="2503419"/>
                  </a:cubicBezTo>
                  <a:cubicBezTo>
                    <a:pt x="936900" y="2517415"/>
                    <a:pt x="815622" y="2582717"/>
                    <a:pt x="810957" y="2589715"/>
                  </a:cubicBezTo>
                  <a:cubicBezTo>
                    <a:pt x="789968" y="2620033"/>
                    <a:pt x="815622" y="2631694"/>
                    <a:pt x="824952" y="2650353"/>
                  </a:cubicBezTo>
                  <a:cubicBezTo>
                    <a:pt x="831948" y="2664346"/>
                    <a:pt x="831948" y="2671344"/>
                    <a:pt x="834280" y="2685337"/>
                  </a:cubicBezTo>
                  <a:cubicBezTo>
                    <a:pt x="855271" y="2720321"/>
                    <a:pt x="885590" y="2799619"/>
                    <a:pt x="899583" y="2841598"/>
                  </a:cubicBezTo>
                  <a:cubicBezTo>
                    <a:pt x="964888" y="3037509"/>
                    <a:pt x="1009200" y="3247413"/>
                    <a:pt x="1072171" y="3443324"/>
                  </a:cubicBezTo>
                  <a:cubicBezTo>
                    <a:pt x="1151469" y="3688212"/>
                    <a:pt x="1286740" y="3905114"/>
                    <a:pt x="1405685" y="4131343"/>
                  </a:cubicBezTo>
                  <a:lnTo>
                    <a:pt x="1405685" y="4143004"/>
                  </a:lnTo>
                  <a:close/>
                  <a:moveTo>
                    <a:pt x="3563032" y="3797827"/>
                  </a:moveTo>
                  <a:cubicBezTo>
                    <a:pt x="3539710" y="3753517"/>
                    <a:pt x="3500061" y="3674219"/>
                    <a:pt x="3472075" y="3634569"/>
                  </a:cubicBezTo>
                  <a:cubicBezTo>
                    <a:pt x="3472075" y="3632237"/>
                    <a:pt x="3465077" y="3622907"/>
                    <a:pt x="3460413" y="3625242"/>
                  </a:cubicBezTo>
                  <a:lnTo>
                    <a:pt x="3455749" y="3636903"/>
                  </a:lnTo>
                  <a:cubicBezTo>
                    <a:pt x="3448752" y="3625242"/>
                    <a:pt x="3455749" y="3611246"/>
                    <a:pt x="3455749" y="3601919"/>
                  </a:cubicBezTo>
                  <a:cubicBezTo>
                    <a:pt x="3455749" y="3592590"/>
                    <a:pt x="3444087" y="3583260"/>
                    <a:pt x="3441754" y="3573930"/>
                  </a:cubicBezTo>
                  <a:cubicBezTo>
                    <a:pt x="3416100" y="3450322"/>
                    <a:pt x="3448752" y="3308051"/>
                    <a:pt x="3427761" y="3186775"/>
                  </a:cubicBezTo>
                  <a:cubicBezTo>
                    <a:pt x="3427761" y="3175113"/>
                    <a:pt x="3411435" y="3156454"/>
                    <a:pt x="3406770" y="3137798"/>
                  </a:cubicBezTo>
                  <a:cubicBezTo>
                    <a:pt x="3388112" y="3067830"/>
                    <a:pt x="3390445" y="2981534"/>
                    <a:pt x="3374119" y="2906903"/>
                  </a:cubicBezTo>
                  <a:cubicBezTo>
                    <a:pt x="3346132" y="2759969"/>
                    <a:pt x="3290157" y="2659683"/>
                    <a:pt x="3189870" y="2552399"/>
                  </a:cubicBezTo>
                  <a:cubicBezTo>
                    <a:pt x="3115237" y="2473101"/>
                    <a:pt x="3091914" y="2484763"/>
                    <a:pt x="3010285" y="2438117"/>
                  </a:cubicBezTo>
                  <a:cubicBezTo>
                    <a:pt x="2965973" y="2412463"/>
                    <a:pt x="2919327" y="2370481"/>
                    <a:pt x="2877347" y="2344827"/>
                  </a:cubicBezTo>
                  <a:cubicBezTo>
                    <a:pt x="2833033" y="2321504"/>
                    <a:pt x="2779391" y="2312174"/>
                    <a:pt x="2732746" y="2286520"/>
                  </a:cubicBezTo>
                  <a:cubicBezTo>
                    <a:pt x="2709423" y="2400802"/>
                    <a:pt x="2618464" y="2519747"/>
                    <a:pt x="2634790" y="2638692"/>
                  </a:cubicBezTo>
                  <a:cubicBezTo>
                    <a:pt x="2639455" y="2673676"/>
                    <a:pt x="2665110" y="2683005"/>
                    <a:pt x="2639455" y="2722653"/>
                  </a:cubicBezTo>
                  <a:cubicBezTo>
                    <a:pt x="2641787" y="2766967"/>
                    <a:pt x="2660445" y="2806614"/>
                    <a:pt x="2679104" y="2846264"/>
                  </a:cubicBezTo>
                  <a:cubicBezTo>
                    <a:pt x="2679104" y="2850928"/>
                    <a:pt x="2667443" y="2853259"/>
                    <a:pt x="2665110" y="2855594"/>
                  </a:cubicBezTo>
                  <a:cubicBezTo>
                    <a:pt x="2634790" y="2897573"/>
                    <a:pt x="2546165" y="2948884"/>
                    <a:pt x="2497186" y="2974539"/>
                  </a:cubicBezTo>
                  <a:cubicBezTo>
                    <a:pt x="2513512" y="2974539"/>
                    <a:pt x="2511181" y="2976871"/>
                    <a:pt x="2501851" y="2988532"/>
                  </a:cubicBezTo>
                  <a:cubicBezTo>
                    <a:pt x="2476197" y="3023516"/>
                    <a:pt x="2420222" y="3028179"/>
                    <a:pt x="2387571" y="3051502"/>
                  </a:cubicBezTo>
                  <a:cubicBezTo>
                    <a:pt x="2366580" y="3067830"/>
                    <a:pt x="2366580" y="3088821"/>
                    <a:pt x="2343257" y="3105145"/>
                  </a:cubicBezTo>
                  <a:cubicBezTo>
                    <a:pt x="2333927" y="3112143"/>
                    <a:pt x="2235973" y="3149459"/>
                    <a:pt x="2231308" y="3147127"/>
                  </a:cubicBezTo>
                  <a:cubicBezTo>
                    <a:pt x="2219647" y="3137798"/>
                    <a:pt x="2240637" y="3135466"/>
                    <a:pt x="2242970" y="3133131"/>
                  </a:cubicBezTo>
                  <a:cubicBezTo>
                    <a:pt x="2273289" y="3112143"/>
                    <a:pt x="2312938" y="3093484"/>
                    <a:pt x="2340925" y="3070161"/>
                  </a:cubicBezTo>
                  <a:cubicBezTo>
                    <a:pt x="2350254" y="3063163"/>
                    <a:pt x="2340925" y="3056168"/>
                    <a:pt x="2338592" y="3056168"/>
                  </a:cubicBezTo>
                  <a:cubicBezTo>
                    <a:pt x="2333927" y="3056168"/>
                    <a:pt x="2289615" y="3091152"/>
                    <a:pt x="2275621" y="3098147"/>
                  </a:cubicBezTo>
                  <a:cubicBezTo>
                    <a:pt x="2240637" y="3116807"/>
                    <a:pt x="2198656" y="3102814"/>
                    <a:pt x="2226644" y="3154122"/>
                  </a:cubicBezTo>
                  <a:lnTo>
                    <a:pt x="2191660" y="3158789"/>
                  </a:lnTo>
                  <a:cubicBezTo>
                    <a:pt x="2184663" y="3116807"/>
                    <a:pt x="2219647" y="3070161"/>
                    <a:pt x="2247635" y="3039841"/>
                  </a:cubicBezTo>
                  <a:cubicBezTo>
                    <a:pt x="2259296" y="3025848"/>
                    <a:pt x="2315270" y="2983869"/>
                    <a:pt x="2317603" y="2972207"/>
                  </a:cubicBezTo>
                  <a:cubicBezTo>
                    <a:pt x="2317603" y="2967541"/>
                    <a:pt x="2298943" y="2930225"/>
                    <a:pt x="2296612" y="2920896"/>
                  </a:cubicBezTo>
                  <a:cubicBezTo>
                    <a:pt x="2294280" y="2916232"/>
                    <a:pt x="2298943" y="2911566"/>
                    <a:pt x="2287282" y="2913900"/>
                  </a:cubicBezTo>
                  <a:cubicBezTo>
                    <a:pt x="2235973" y="2967541"/>
                    <a:pt x="2112362" y="3065498"/>
                    <a:pt x="2161340" y="3149459"/>
                  </a:cubicBezTo>
                  <a:cubicBezTo>
                    <a:pt x="2200989" y="3219427"/>
                    <a:pt x="2275621" y="3179777"/>
                    <a:pt x="2340925" y="3191438"/>
                  </a:cubicBezTo>
                  <a:lnTo>
                    <a:pt x="2574152" y="3718533"/>
                  </a:lnTo>
                  <a:cubicBezTo>
                    <a:pt x="2569487" y="3725528"/>
                    <a:pt x="2560158" y="3725528"/>
                    <a:pt x="2555493" y="3723196"/>
                  </a:cubicBezTo>
                  <a:cubicBezTo>
                    <a:pt x="2548496" y="3718533"/>
                    <a:pt x="2492523" y="3613581"/>
                    <a:pt x="2485525" y="3594921"/>
                  </a:cubicBezTo>
                  <a:cubicBezTo>
                    <a:pt x="2424886" y="3471310"/>
                    <a:pt x="2385238" y="3338372"/>
                    <a:pt x="2322266" y="3217095"/>
                  </a:cubicBezTo>
                  <a:lnTo>
                    <a:pt x="2224312" y="3217095"/>
                  </a:lnTo>
                  <a:cubicBezTo>
                    <a:pt x="2224312" y="3217095"/>
                    <a:pt x="2203321" y="3203099"/>
                    <a:pt x="2210318" y="3219427"/>
                  </a:cubicBezTo>
                  <a:cubicBezTo>
                    <a:pt x="2214982" y="3233420"/>
                    <a:pt x="2231308" y="3252079"/>
                    <a:pt x="2240637" y="3270736"/>
                  </a:cubicBezTo>
                  <a:cubicBezTo>
                    <a:pt x="2287282" y="3380354"/>
                    <a:pt x="2329264" y="3583260"/>
                    <a:pt x="2420222" y="3660226"/>
                  </a:cubicBezTo>
                  <a:cubicBezTo>
                    <a:pt x="2452874" y="3688212"/>
                    <a:pt x="2497186" y="3711535"/>
                    <a:pt x="2532170" y="3737189"/>
                  </a:cubicBezTo>
                  <a:cubicBezTo>
                    <a:pt x="2539168" y="3744187"/>
                    <a:pt x="2583480" y="3779171"/>
                    <a:pt x="2583480" y="3783834"/>
                  </a:cubicBezTo>
                  <a:cubicBezTo>
                    <a:pt x="2583480" y="3786166"/>
                    <a:pt x="2583480" y="3793164"/>
                    <a:pt x="2581149" y="3793164"/>
                  </a:cubicBezTo>
                  <a:cubicBezTo>
                    <a:pt x="2562491" y="3786166"/>
                    <a:pt x="2534503" y="3758180"/>
                    <a:pt x="2518177" y="3753517"/>
                  </a:cubicBezTo>
                  <a:cubicBezTo>
                    <a:pt x="2513512" y="3753517"/>
                    <a:pt x="2513512" y="3769841"/>
                    <a:pt x="2506516" y="3769841"/>
                  </a:cubicBezTo>
                  <a:cubicBezTo>
                    <a:pt x="2506516" y="3769841"/>
                    <a:pt x="2471532" y="3744187"/>
                    <a:pt x="2476197" y="3767510"/>
                  </a:cubicBezTo>
                  <a:cubicBezTo>
                    <a:pt x="2476197" y="3774505"/>
                    <a:pt x="2508847" y="3851471"/>
                    <a:pt x="2511181" y="3856134"/>
                  </a:cubicBezTo>
                  <a:cubicBezTo>
                    <a:pt x="2513512" y="3858469"/>
                    <a:pt x="2564822" y="3879457"/>
                    <a:pt x="2576484" y="3884123"/>
                  </a:cubicBezTo>
                  <a:cubicBezTo>
                    <a:pt x="2632459" y="3914441"/>
                    <a:pt x="2637122" y="3914441"/>
                    <a:pt x="2646452" y="3979745"/>
                  </a:cubicBezTo>
                  <a:cubicBezTo>
                    <a:pt x="2653448" y="4026391"/>
                    <a:pt x="2660445" y="4115018"/>
                    <a:pt x="2658113" y="4161663"/>
                  </a:cubicBezTo>
                  <a:cubicBezTo>
                    <a:pt x="2749072" y="4147667"/>
                    <a:pt x="2821372" y="4087029"/>
                    <a:pt x="2903001" y="4047382"/>
                  </a:cubicBezTo>
                  <a:cubicBezTo>
                    <a:pt x="3073256" y="3961086"/>
                    <a:pt x="3259838" y="3902779"/>
                    <a:pt x="3448752" y="3870130"/>
                  </a:cubicBezTo>
                  <a:cubicBezTo>
                    <a:pt x="3467410" y="3867795"/>
                    <a:pt x="3581690" y="3856134"/>
                    <a:pt x="3584023" y="3849139"/>
                  </a:cubicBezTo>
                  <a:cubicBezTo>
                    <a:pt x="3581690" y="3832811"/>
                    <a:pt x="3572362" y="3816487"/>
                    <a:pt x="3563032" y="3800162"/>
                  </a:cubicBezTo>
                  <a:close/>
                  <a:moveTo>
                    <a:pt x="2375909" y="3193773"/>
                  </a:moveTo>
                  <a:cubicBezTo>
                    <a:pt x="2380573" y="3175113"/>
                    <a:pt x="2494854" y="3042175"/>
                    <a:pt x="2508847" y="3056168"/>
                  </a:cubicBezTo>
                  <a:cubicBezTo>
                    <a:pt x="2511181" y="3067830"/>
                    <a:pt x="2501851" y="3070161"/>
                    <a:pt x="2497186" y="3077159"/>
                  </a:cubicBezTo>
                  <a:cubicBezTo>
                    <a:pt x="2476197" y="3102814"/>
                    <a:pt x="2441213" y="3137798"/>
                    <a:pt x="2417890" y="3163452"/>
                  </a:cubicBezTo>
                  <a:cubicBezTo>
                    <a:pt x="2413225" y="3168115"/>
                    <a:pt x="2382906" y="3200768"/>
                    <a:pt x="2378241" y="3193773"/>
                  </a:cubicBezTo>
                  <a:close/>
                  <a:moveTo>
                    <a:pt x="2578815" y="3620576"/>
                  </a:moveTo>
                  <a:cubicBezTo>
                    <a:pt x="2578815" y="3620576"/>
                    <a:pt x="2562491" y="3622907"/>
                    <a:pt x="2562491" y="3615912"/>
                  </a:cubicBezTo>
                  <a:cubicBezTo>
                    <a:pt x="2536835" y="3569267"/>
                    <a:pt x="2513512" y="3520290"/>
                    <a:pt x="2490190" y="3471310"/>
                  </a:cubicBezTo>
                  <a:cubicBezTo>
                    <a:pt x="2459870" y="3410672"/>
                    <a:pt x="2427218" y="3340704"/>
                    <a:pt x="2406229" y="3273067"/>
                  </a:cubicBezTo>
                  <a:cubicBezTo>
                    <a:pt x="2399232" y="3247413"/>
                    <a:pt x="2403895" y="3231088"/>
                    <a:pt x="2420222" y="3259074"/>
                  </a:cubicBezTo>
                  <a:cubicBezTo>
                    <a:pt x="2445877" y="3303388"/>
                    <a:pt x="2464535" y="3373356"/>
                    <a:pt x="2487858" y="3422333"/>
                  </a:cubicBezTo>
                  <a:cubicBezTo>
                    <a:pt x="2513512" y="3475976"/>
                    <a:pt x="2557826" y="3545944"/>
                    <a:pt x="2576484" y="3597253"/>
                  </a:cubicBezTo>
                  <a:cubicBezTo>
                    <a:pt x="2576484" y="3601919"/>
                    <a:pt x="2583480" y="3618244"/>
                    <a:pt x="2578815" y="3620576"/>
                  </a:cubicBezTo>
                  <a:close/>
                  <a:moveTo>
                    <a:pt x="2518177" y="3464315"/>
                  </a:moveTo>
                  <a:cubicBezTo>
                    <a:pt x="2501851" y="3438661"/>
                    <a:pt x="2515845" y="3429331"/>
                    <a:pt x="2513512" y="3417670"/>
                  </a:cubicBezTo>
                  <a:cubicBezTo>
                    <a:pt x="2513512" y="3410672"/>
                    <a:pt x="2501851" y="3410672"/>
                    <a:pt x="2499519" y="3406008"/>
                  </a:cubicBezTo>
                  <a:cubicBezTo>
                    <a:pt x="2478528" y="3375688"/>
                    <a:pt x="2506516" y="3343035"/>
                    <a:pt x="2504184" y="3338372"/>
                  </a:cubicBezTo>
                  <a:cubicBezTo>
                    <a:pt x="2504184" y="3338372"/>
                    <a:pt x="2483193" y="3333709"/>
                    <a:pt x="2471532" y="3322047"/>
                  </a:cubicBezTo>
                  <a:cubicBezTo>
                    <a:pt x="2434216" y="3277734"/>
                    <a:pt x="2483193" y="3252079"/>
                    <a:pt x="2485525" y="3212429"/>
                  </a:cubicBezTo>
                  <a:cubicBezTo>
                    <a:pt x="2490190" y="3207766"/>
                    <a:pt x="2529838" y="3254411"/>
                    <a:pt x="2532170" y="3259074"/>
                  </a:cubicBezTo>
                  <a:cubicBezTo>
                    <a:pt x="2541500" y="3282397"/>
                    <a:pt x="2532170" y="3305720"/>
                    <a:pt x="2536835" y="3322047"/>
                  </a:cubicBezTo>
                  <a:cubicBezTo>
                    <a:pt x="2541500" y="3333709"/>
                    <a:pt x="2562491" y="3331374"/>
                    <a:pt x="2567154" y="3343035"/>
                  </a:cubicBezTo>
                  <a:cubicBezTo>
                    <a:pt x="2574152" y="3357031"/>
                    <a:pt x="2567154" y="3378019"/>
                    <a:pt x="2571819" y="3392015"/>
                  </a:cubicBezTo>
                  <a:cubicBezTo>
                    <a:pt x="2574152" y="3401342"/>
                    <a:pt x="2588145" y="3403677"/>
                    <a:pt x="2592810" y="3410672"/>
                  </a:cubicBezTo>
                  <a:cubicBezTo>
                    <a:pt x="2620797" y="3450322"/>
                    <a:pt x="2548496" y="3510960"/>
                    <a:pt x="2518177" y="3461983"/>
                  </a:cubicBezTo>
                  <a:close/>
                  <a:moveTo>
                    <a:pt x="2564822" y="3807157"/>
                  </a:moveTo>
                  <a:cubicBezTo>
                    <a:pt x="2562491" y="3807157"/>
                    <a:pt x="2543831" y="3800162"/>
                    <a:pt x="2553161" y="3793164"/>
                  </a:cubicBezTo>
                  <a:cubicBezTo>
                    <a:pt x="2555493" y="3790832"/>
                    <a:pt x="2620797" y="3814155"/>
                    <a:pt x="2616133" y="3828148"/>
                  </a:cubicBezTo>
                  <a:cubicBezTo>
                    <a:pt x="2595142" y="3830480"/>
                    <a:pt x="2578815" y="3818818"/>
                    <a:pt x="2564822" y="3809489"/>
                  </a:cubicBezTo>
                  <a:close/>
                  <a:moveTo>
                    <a:pt x="2833033" y="2638692"/>
                  </a:moveTo>
                  <a:cubicBezTo>
                    <a:pt x="2840030" y="2610706"/>
                    <a:pt x="2893671" y="2540738"/>
                    <a:pt x="2912331" y="2510417"/>
                  </a:cubicBezTo>
                  <a:cubicBezTo>
                    <a:pt x="2914662" y="2505754"/>
                    <a:pt x="2928655" y="2466104"/>
                    <a:pt x="2933320" y="2473101"/>
                  </a:cubicBezTo>
                  <a:cubicBezTo>
                    <a:pt x="2947315" y="2510417"/>
                    <a:pt x="2835365" y="2645690"/>
                    <a:pt x="2858687" y="2669012"/>
                  </a:cubicBezTo>
                  <a:cubicBezTo>
                    <a:pt x="2875014" y="2685337"/>
                    <a:pt x="2891340" y="2629362"/>
                    <a:pt x="2896005" y="2617701"/>
                  </a:cubicBezTo>
                  <a:cubicBezTo>
                    <a:pt x="2919327" y="2580385"/>
                    <a:pt x="2947315" y="2540738"/>
                    <a:pt x="2970637" y="2501088"/>
                  </a:cubicBezTo>
                  <a:cubicBezTo>
                    <a:pt x="2970637" y="2498756"/>
                    <a:pt x="2975301" y="2477765"/>
                    <a:pt x="2984630" y="2489426"/>
                  </a:cubicBezTo>
                  <a:cubicBezTo>
                    <a:pt x="2989295" y="2494092"/>
                    <a:pt x="2944982" y="2573387"/>
                    <a:pt x="2937985" y="2589715"/>
                  </a:cubicBezTo>
                  <a:cubicBezTo>
                    <a:pt x="2933320" y="2599044"/>
                    <a:pt x="2933320" y="2624699"/>
                    <a:pt x="2930989" y="2627031"/>
                  </a:cubicBezTo>
                  <a:cubicBezTo>
                    <a:pt x="2930989" y="2627031"/>
                    <a:pt x="2919327" y="2627031"/>
                    <a:pt x="2914662" y="2631694"/>
                  </a:cubicBezTo>
                  <a:cubicBezTo>
                    <a:pt x="2903001" y="2645690"/>
                    <a:pt x="2893671" y="2708660"/>
                    <a:pt x="2872682" y="2708660"/>
                  </a:cubicBezTo>
                  <a:cubicBezTo>
                    <a:pt x="2868017" y="2708660"/>
                    <a:pt x="2830701" y="2703996"/>
                    <a:pt x="2828368" y="2703996"/>
                  </a:cubicBezTo>
                  <a:cubicBezTo>
                    <a:pt x="2828368" y="2703996"/>
                    <a:pt x="2828368" y="2650353"/>
                    <a:pt x="2830701" y="2641024"/>
                  </a:cubicBezTo>
                  <a:close/>
                  <a:moveTo>
                    <a:pt x="3220189" y="3580928"/>
                  </a:moveTo>
                  <a:cubicBezTo>
                    <a:pt x="3217857" y="3592590"/>
                    <a:pt x="3154886" y="3639235"/>
                    <a:pt x="3157219" y="3594921"/>
                  </a:cubicBezTo>
                  <a:cubicBezTo>
                    <a:pt x="3157219" y="3569267"/>
                    <a:pt x="3182873" y="3552939"/>
                    <a:pt x="3185205" y="3548276"/>
                  </a:cubicBezTo>
                  <a:cubicBezTo>
                    <a:pt x="3201531" y="3503962"/>
                    <a:pt x="3084918" y="3471310"/>
                    <a:pt x="3070925" y="3457317"/>
                  </a:cubicBezTo>
                  <a:cubicBezTo>
                    <a:pt x="3035941" y="3415338"/>
                    <a:pt x="3010285" y="3303388"/>
                    <a:pt x="2972969" y="3252079"/>
                  </a:cubicBezTo>
                  <a:cubicBezTo>
                    <a:pt x="2970637" y="3247413"/>
                    <a:pt x="2968304" y="3240418"/>
                    <a:pt x="2958976" y="3242750"/>
                  </a:cubicBezTo>
                  <a:lnTo>
                    <a:pt x="2944982" y="3259074"/>
                  </a:lnTo>
                  <a:cubicBezTo>
                    <a:pt x="2944982" y="3205434"/>
                    <a:pt x="2900669" y="3144793"/>
                    <a:pt x="2872682" y="3098147"/>
                  </a:cubicBezTo>
                  <a:cubicBezTo>
                    <a:pt x="2814375" y="3004857"/>
                    <a:pt x="2756069" y="2909234"/>
                    <a:pt x="2697762" y="2815944"/>
                  </a:cubicBezTo>
                  <a:cubicBezTo>
                    <a:pt x="2693097" y="2808948"/>
                    <a:pt x="2686101" y="2804282"/>
                    <a:pt x="2679104" y="2790289"/>
                  </a:cubicBezTo>
                  <a:cubicBezTo>
                    <a:pt x="2672106" y="2773964"/>
                    <a:pt x="2648783" y="2703996"/>
                    <a:pt x="2658113" y="2694667"/>
                  </a:cubicBezTo>
                  <a:cubicBezTo>
                    <a:pt x="2665110" y="2699330"/>
                    <a:pt x="2674439" y="2701662"/>
                    <a:pt x="2681436" y="2706328"/>
                  </a:cubicBezTo>
                  <a:cubicBezTo>
                    <a:pt x="2683767" y="2706328"/>
                    <a:pt x="2695429" y="2706328"/>
                    <a:pt x="2697762" y="2715658"/>
                  </a:cubicBezTo>
                  <a:cubicBezTo>
                    <a:pt x="2730413" y="2797287"/>
                    <a:pt x="2751404" y="2890578"/>
                    <a:pt x="2819040" y="2953548"/>
                  </a:cubicBezTo>
                  <a:lnTo>
                    <a:pt x="2921659" y="2706328"/>
                  </a:lnTo>
                  <a:cubicBezTo>
                    <a:pt x="2930989" y="2706328"/>
                    <a:pt x="2928655" y="2720321"/>
                    <a:pt x="2926324" y="2724985"/>
                  </a:cubicBezTo>
                  <a:cubicBezTo>
                    <a:pt x="2909998" y="2785626"/>
                    <a:pt x="2872682" y="2850928"/>
                    <a:pt x="2854024" y="2909234"/>
                  </a:cubicBezTo>
                  <a:cubicBezTo>
                    <a:pt x="2854024" y="2911566"/>
                    <a:pt x="2854024" y="2918564"/>
                    <a:pt x="2856356" y="2918564"/>
                  </a:cubicBezTo>
                  <a:cubicBezTo>
                    <a:pt x="2863352" y="2913900"/>
                    <a:pt x="2868017" y="2906903"/>
                    <a:pt x="2872682" y="2899905"/>
                  </a:cubicBezTo>
                  <a:cubicBezTo>
                    <a:pt x="2889008" y="2871919"/>
                    <a:pt x="2949646" y="2708660"/>
                    <a:pt x="2951978" y="2680674"/>
                  </a:cubicBezTo>
                  <a:cubicBezTo>
                    <a:pt x="2954311" y="2650353"/>
                    <a:pt x="2951978" y="2659683"/>
                    <a:pt x="2958976" y="2624699"/>
                  </a:cubicBezTo>
                  <a:cubicBezTo>
                    <a:pt x="2963639" y="2608371"/>
                    <a:pt x="2965973" y="2568724"/>
                    <a:pt x="2986962" y="2568724"/>
                  </a:cubicBezTo>
                  <a:cubicBezTo>
                    <a:pt x="2982299" y="2606040"/>
                    <a:pt x="2975301" y="2648021"/>
                    <a:pt x="2965973" y="2683005"/>
                  </a:cubicBezTo>
                  <a:cubicBezTo>
                    <a:pt x="2956643" y="2717989"/>
                    <a:pt x="2930989" y="2766967"/>
                    <a:pt x="2928655" y="2799619"/>
                  </a:cubicBezTo>
                  <a:cubicBezTo>
                    <a:pt x="2928655" y="2808948"/>
                    <a:pt x="2933320" y="2813612"/>
                    <a:pt x="2940317" y="2808948"/>
                  </a:cubicBezTo>
                  <a:cubicBezTo>
                    <a:pt x="2949646" y="2799619"/>
                    <a:pt x="2982299" y="2696999"/>
                    <a:pt x="2991627" y="2676008"/>
                  </a:cubicBezTo>
                  <a:cubicBezTo>
                    <a:pt x="3003288" y="2676008"/>
                    <a:pt x="2996292" y="2687669"/>
                    <a:pt x="2993960" y="2692335"/>
                  </a:cubicBezTo>
                  <a:cubicBezTo>
                    <a:pt x="2968304" y="2797287"/>
                    <a:pt x="2900669" y="2895241"/>
                    <a:pt x="2842363" y="2981534"/>
                  </a:cubicBezTo>
                  <a:lnTo>
                    <a:pt x="2970637" y="3203099"/>
                  </a:lnTo>
                  <a:cubicBezTo>
                    <a:pt x="3068591" y="3070161"/>
                    <a:pt x="3080253" y="2895241"/>
                    <a:pt x="3122235" y="2738980"/>
                  </a:cubicBezTo>
                  <a:cubicBezTo>
                    <a:pt x="3182873" y="2683005"/>
                    <a:pt x="3178208" y="2780960"/>
                    <a:pt x="3175877" y="2820610"/>
                  </a:cubicBezTo>
                  <a:cubicBezTo>
                    <a:pt x="3168880" y="2937223"/>
                    <a:pt x="3140893" y="3065498"/>
                    <a:pt x="3105909" y="3177445"/>
                  </a:cubicBezTo>
                  <a:cubicBezTo>
                    <a:pt x="3150221" y="3270736"/>
                    <a:pt x="3199199" y="3380354"/>
                    <a:pt x="3213192" y="3482971"/>
                  </a:cubicBezTo>
                  <a:cubicBezTo>
                    <a:pt x="3215525" y="3501631"/>
                    <a:pt x="3222522" y="3564601"/>
                    <a:pt x="3220189" y="3578597"/>
                  </a:cubicBezTo>
                  <a:close/>
                  <a:moveTo>
                    <a:pt x="2189328" y="2976871"/>
                  </a:moveTo>
                  <a:lnTo>
                    <a:pt x="2147346" y="3035177"/>
                  </a:lnTo>
                  <a:lnTo>
                    <a:pt x="2217314" y="2708660"/>
                  </a:lnTo>
                  <a:cubicBezTo>
                    <a:pt x="2228975" y="2713323"/>
                    <a:pt x="2233640" y="2731983"/>
                    <a:pt x="2235973" y="2743644"/>
                  </a:cubicBezTo>
                  <a:cubicBezTo>
                    <a:pt x="2245302" y="2766967"/>
                    <a:pt x="2280286" y="2871919"/>
                    <a:pt x="2277954" y="2888243"/>
                  </a:cubicBezTo>
                  <a:cubicBezTo>
                    <a:pt x="2275621" y="2895241"/>
                    <a:pt x="2270957" y="2902239"/>
                    <a:pt x="2266292" y="2906903"/>
                  </a:cubicBezTo>
                  <a:cubicBezTo>
                    <a:pt x="2247635" y="2927894"/>
                    <a:pt x="2210318" y="2951216"/>
                    <a:pt x="2191660" y="2976871"/>
                  </a:cubicBezTo>
                  <a:close/>
                  <a:moveTo>
                    <a:pt x="885590" y="2839266"/>
                  </a:moveTo>
                  <a:lnTo>
                    <a:pt x="890255" y="2867255"/>
                  </a:lnTo>
                  <a:lnTo>
                    <a:pt x="869264" y="2822942"/>
                  </a:lnTo>
                  <a:lnTo>
                    <a:pt x="862267" y="2780960"/>
                  </a:lnTo>
                  <a:lnTo>
                    <a:pt x="887922" y="2839266"/>
                  </a:lnTo>
                  <a:close/>
                  <a:moveTo>
                    <a:pt x="3117570" y="2855594"/>
                  </a:moveTo>
                  <a:cubicBezTo>
                    <a:pt x="3112905" y="2925562"/>
                    <a:pt x="3094247" y="3002525"/>
                    <a:pt x="3066260" y="3067830"/>
                  </a:cubicBezTo>
                  <a:cubicBezTo>
                    <a:pt x="3061595" y="3081823"/>
                    <a:pt x="3059263" y="3079491"/>
                    <a:pt x="3059263" y="3067830"/>
                  </a:cubicBezTo>
                  <a:cubicBezTo>
                    <a:pt x="3061595" y="3009523"/>
                    <a:pt x="3098912" y="2899905"/>
                    <a:pt x="3115237" y="2834603"/>
                  </a:cubicBezTo>
                  <a:cubicBezTo>
                    <a:pt x="3122235" y="2804282"/>
                    <a:pt x="3115237" y="2750642"/>
                    <a:pt x="3147889" y="2736646"/>
                  </a:cubicBezTo>
                  <a:cubicBezTo>
                    <a:pt x="3180541" y="2741312"/>
                    <a:pt x="3147889" y="2864921"/>
                    <a:pt x="3147889" y="2888243"/>
                  </a:cubicBezTo>
                  <a:cubicBezTo>
                    <a:pt x="3147889" y="2902239"/>
                    <a:pt x="3145557" y="2974539"/>
                    <a:pt x="3140893" y="2976871"/>
                  </a:cubicBezTo>
                  <a:cubicBezTo>
                    <a:pt x="3136228" y="2983869"/>
                    <a:pt x="3119902" y="2976871"/>
                    <a:pt x="3117570" y="2962878"/>
                  </a:cubicBezTo>
                  <a:cubicBezTo>
                    <a:pt x="3115237" y="2946550"/>
                    <a:pt x="3145557" y="2867255"/>
                    <a:pt x="3133896" y="2855594"/>
                  </a:cubicBezTo>
                  <a:cubicBezTo>
                    <a:pt x="3133896" y="2855594"/>
                    <a:pt x="3122235" y="2855594"/>
                    <a:pt x="3117570" y="2855594"/>
                  </a:cubicBezTo>
                  <a:close/>
                  <a:moveTo>
                    <a:pt x="3124566" y="3289395"/>
                  </a:moveTo>
                  <a:cubicBezTo>
                    <a:pt x="3157219" y="3329042"/>
                    <a:pt x="3161882" y="3389681"/>
                    <a:pt x="3180541" y="3436326"/>
                  </a:cubicBezTo>
                  <a:cubicBezTo>
                    <a:pt x="3145557" y="3389681"/>
                    <a:pt x="3110573" y="3336040"/>
                    <a:pt x="3105909" y="3275402"/>
                  </a:cubicBezTo>
                  <a:cubicBezTo>
                    <a:pt x="3117570" y="3273067"/>
                    <a:pt x="3119902" y="3282397"/>
                    <a:pt x="3124566" y="3289395"/>
                  </a:cubicBezTo>
                  <a:close/>
                  <a:moveTo>
                    <a:pt x="2506516" y="3324379"/>
                  </a:moveTo>
                  <a:cubicBezTo>
                    <a:pt x="2469200" y="3324379"/>
                    <a:pt x="2464535" y="3254411"/>
                    <a:pt x="2501851" y="3247413"/>
                  </a:cubicBezTo>
                  <a:cubicBezTo>
                    <a:pt x="2520509" y="3242750"/>
                    <a:pt x="2546165" y="3326711"/>
                    <a:pt x="2506516" y="3324379"/>
                  </a:cubicBezTo>
                  <a:close/>
                  <a:moveTo>
                    <a:pt x="2567154" y="3461983"/>
                  </a:moveTo>
                  <a:cubicBezTo>
                    <a:pt x="2529838" y="3480640"/>
                    <a:pt x="2518177" y="3426999"/>
                    <a:pt x="2534503" y="3408340"/>
                  </a:cubicBezTo>
                  <a:cubicBezTo>
                    <a:pt x="2560158" y="3380354"/>
                    <a:pt x="2611468" y="3438661"/>
                    <a:pt x="2567154" y="3461983"/>
                  </a:cubicBezTo>
                  <a:close/>
                  <a:moveTo>
                    <a:pt x="2555493" y="3389681"/>
                  </a:moveTo>
                  <a:cubicBezTo>
                    <a:pt x="2555493" y="3392015"/>
                    <a:pt x="2522842" y="3399010"/>
                    <a:pt x="2515845" y="3394347"/>
                  </a:cubicBezTo>
                  <a:cubicBezTo>
                    <a:pt x="2494854" y="3380354"/>
                    <a:pt x="2520509" y="3329042"/>
                    <a:pt x="2550829" y="3347702"/>
                  </a:cubicBezTo>
                  <a:cubicBezTo>
                    <a:pt x="2557826" y="3352365"/>
                    <a:pt x="2557826" y="3387349"/>
                    <a:pt x="2555493" y="3389681"/>
                  </a:cubicBezTo>
                  <a:close/>
                  <a:moveTo>
                    <a:pt x="2802714" y="747224"/>
                  </a:moveTo>
                  <a:cubicBezTo>
                    <a:pt x="2835365" y="798532"/>
                    <a:pt x="3040605" y="754219"/>
                    <a:pt x="3054598" y="803199"/>
                  </a:cubicBezTo>
                  <a:cubicBezTo>
                    <a:pt x="3075589" y="873167"/>
                    <a:pt x="2998623" y="835848"/>
                    <a:pt x="2965973" y="828853"/>
                  </a:cubicBezTo>
                  <a:cubicBezTo>
                    <a:pt x="2914662" y="821855"/>
                    <a:pt x="2772395" y="826521"/>
                    <a:pt x="2805046" y="747224"/>
                  </a:cubicBezTo>
                  <a:close/>
                  <a:moveTo>
                    <a:pt x="2996292" y="999107"/>
                  </a:moveTo>
                  <a:cubicBezTo>
                    <a:pt x="2979966" y="996775"/>
                    <a:pt x="2984630" y="985114"/>
                    <a:pt x="2972969" y="982782"/>
                  </a:cubicBezTo>
                  <a:cubicBezTo>
                    <a:pt x="2954311" y="982782"/>
                    <a:pt x="2928655" y="982782"/>
                    <a:pt x="2907666" y="982782"/>
                  </a:cubicBezTo>
                  <a:cubicBezTo>
                    <a:pt x="2875014" y="966457"/>
                    <a:pt x="2837698" y="973453"/>
                    <a:pt x="2809710" y="947798"/>
                  </a:cubicBezTo>
                  <a:cubicBezTo>
                    <a:pt x="2809710" y="933805"/>
                    <a:pt x="2809710" y="912814"/>
                    <a:pt x="2823703" y="908151"/>
                  </a:cubicBezTo>
                  <a:cubicBezTo>
                    <a:pt x="2830701" y="908151"/>
                    <a:pt x="2933320" y="922144"/>
                    <a:pt x="2947315" y="924475"/>
                  </a:cubicBezTo>
                  <a:cubicBezTo>
                    <a:pt x="2984630" y="931473"/>
                    <a:pt x="3056930" y="947798"/>
                    <a:pt x="3054598" y="996775"/>
                  </a:cubicBezTo>
                  <a:cubicBezTo>
                    <a:pt x="3035941" y="996775"/>
                    <a:pt x="3014950" y="996775"/>
                    <a:pt x="2996292" y="996775"/>
                  </a:cubicBezTo>
                  <a:close/>
                  <a:moveTo>
                    <a:pt x="2979966" y="1013103"/>
                  </a:moveTo>
                  <a:cubicBezTo>
                    <a:pt x="2979966" y="1013103"/>
                    <a:pt x="2989295" y="1045752"/>
                    <a:pt x="2989295" y="1048087"/>
                  </a:cubicBezTo>
                  <a:cubicBezTo>
                    <a:pt x="2984630" y="1057414"/>
                    <a:pt x="2954311" y="1069075"/>
                    <a:pt x="2944982" y="1062080"/>
                  </a:cubicBezTo>
                  <a:cubicBezTo>
                    <a:pt x="2940317" y="1059748"/>
                    <a:pt x="2919327" y="1015434"/>
                    <a:pt x="2921659" y="1013103"/>
                  </a:cubicBezTo>
                  <a:cubicBezTo>
                    <a:pt x="2930989" y="1013103"/>
                    <a:pt x="2975301" y="1010768"/>
                    <a:pt x="2977634" y="1013103"/>
                  </a:cubicBezTo>
                  <a:close/>
                  <a:moveTo>
                    <a:pt x="2968304" y="518660"/>
                  </a:moveTo>
                  <a:cubicBezTo>
                    <a:pt x="2968304" y="511665"/>
                    <a:pt x="2958976" y="504667"/>
                    <a:pt x="2956643" y="483676"/>
                  </a:cubicBezTo>
                  <a:cubicBezTo>
                    <a:pt x="2972969" y="453359"/>
                    <a:pt x="3003288" y="341409"/>
                    <a:pt x="3035941" y="329747"/>
                  </a:cubicBezTo>
                  <a:cubicBezTo>
                    <a:pt x="3049934" y="325084"/>
                    <a:pt x="3056930" y="341409"/>
                    <a:pt x="3052267" y="306425"/>
                  </a:cubicBezTo>
                  <a:cubicBezTo>
                    <a:pt x="3054598" y="306425"/>
                    <a:pt x="3063928" y="306425"/>
                    <a:pt x="3068591" y="308756"/>
                  </a:cubicBezTo>
                  <a:cubicBezTo>
                    <a:pt x="3105909" y="329747"/>
                    <a:pt x="3052267" y="404379"/>
                    <a:pt x="3040605" y="392717"/>
                  </a:cubicBezTo>
                  <a:cubicBezTo>
                    <a:pt x="3035941" y="388054"/>
                    <a:pt x="3068591" y="348407"/>
                    <a:pt x="3068591" y="339077"/>
                  </a:cubicBezTo>
                  <a:cubicBezTo>
                    <a:pt x="3063928" y="332079"/>
                    <a:pt x="3054598" y="339077"/>
                    <a:pt x="3047602" y="341409"/>
                  </a:cubicBezTo>
                  <a:cubicBezTo>
                    <a:pt x="3035941" y="353070"/>
                    <a:pt x="3000957" y="416040"/>
                    <a:pt x="2991627" y="434699"/>
                  </a:cubicBezTo>
                  <a:cubicBezTo>
                    <a:pt x="2979966" y="460354"/>
                    <a:pt x="2970637" y="490674"/>
                    <a:pt x="2963639" y="518660"/>
                  </a:cubicBezTo>
                  <a:close/>
                  <a:moveTo>
                    <a:pt x="2889008" y="287765"/>
                  </a:moveTo>
                  <a:lnTo>
                    <a:pt x="2889008" y="283102"/>
                  </a:lnTo>
                  <a:cubicBezTo>
                    <a:pt x="2889008" y="283102"/>
                    <a:pt x="2893671" y="276104"/>
                    <a:pt x="2900669" y="278439"/>
                  </a:cubicBezTo>
                  <a:cubicBezTo>
                    <a:pt x="2942650" y="285434"/>
                    <a:pt x="2942650" y="353070"/>
                    <a:pt x="2940317" y="383391"/>
                  </a:cubicBezTo>
                  <a:cubicBezTo>
                    <a:pt x="2940317" y="388054"/>
                    <a:pt x="2933320" y="388054"/>
                    <a:pt x="2928655" y="383391"/>
                  </a:cubicBezTo>
                  <a:cubicBezTo>
                    <a:pt x="2912331" y="367063"/>
                    <a:pt x="2940317" y="290100"/>
                    <a:pt x="2889008" y="287765"/>
                  </a:cubicBezTo>
                  <a:close/>
                </a:path>
              </a:pathLst>
            </a:custGeom>
            <a:solidFill>
              <a:schemeClr val="accent2"/>
            </a:solidFill>
            <a:ln w="23318" cap="flat">
              <a:noFill/>
              <a:prstDash val="solid"/>
              <a:miter/>
            </a:ln>
          </p:spPr>
          <p:txBody>
            <a:bodyPr rtlCol="0" anchor="ctr"/>
            <a:lstStyle/>
            <a:p>
              <a:endParaRPr lang="en-US"/>
            </a:p>
          </p:txBody>
        </p:sp>
      </p:grpSp>
      <p:sp>
        <p:nvSpPr>
          <p:cNvPr id="11" name="TextBox 10">
            <a:extLst>
              <a:ext uri="{FF2B5EF4-FFF2-40B4-BE49-F238E27FC236}">
                <a16:creationId xmlns:a16="http://schemas.microsoft.com/office/drawing/2014/main" id="{83071C16-AD27-2345-4E35-13D7194BB583}"/>
              </a:ext>
            </a:extLst>
          </p:cNvPr>
          <p:cNvSpPr txBox="1"/>
          <p:nvPr/>
        </p:nvSpPr>
        <p:spPr>
          <a:xfrm>
            <a:off x="3252920" y="6395555"/>
            <a:ext cx="3412024" cy="369332"/>
          </a:xfrm>
          <a:prstGeom prst="rect">
            <a:avLst/>
          </a:prstGeom>
          <a:noFill/>
        </p:spPr>
        <p:txBody>
          <a:bodyPr wrap="none" rtlCol="0">
            <a:spAutoFit/>
          </a:bodyPr>
          <a:lstStyle/>
          <a:p>
            <a:r>
              <a:rPr lang="en-US" dirty="0"/>
              <a:t>https://</a:t>
            </a:r>
            <a:r>
              <a:rPr lang="en-US" dirty="0" err="1"/>
              <a:t>arxiv.org</a:t>
            </a:r>
            <a:r>
              <a:rPr lang="en-US" dirty="0"/>
              <a:t>/pdf/2404.01869</a:t>
            </a:r>
          </a:p>
        </p:txBody>
      </p:sp>
    </p:spTree>
    <p:extLst>
      <p:ext uri="{BB962C8B-B14F-4D97-AF65-F5344CB8AC3E}">
        <p14:creationId xmlns:p14="http://schemas.microsoft.com/office/powerpoint/2010/main" val="161765513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7FBC10-7ADE-025D-7A50-09C4C77209C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035A81D-1AE5-EB68-1C3C-E9D43CF4EE19}"/>
              </a:ext>
            </a:extLst>
          </p:cNvPr>
          <p:cNvSpPr>
            <a:spLocks noGrp="1"/>
          </p:cNvSpPr>
          <p:nvPr>
            <p:ph type="title"/>
          </p:nvPr>
        </p:nvSpPr>
        <p:spPr/>
        <p:txBody>
          <a:bodyPr/>
          <a:lstStyle/>
          <a:p>
            <a:r>
              <a:rPr lang="en-US" dirty="0"/>
              <a:t>What does this mean for you?</a:t>
            </a:r>
          </a:p>
        </p:txBody>
      </p:sp>
      <p:sp>
        <p:nvSpPr>
          <p:cNvPr id="4" name="Text Placeholder 3">
            <a:extLst>
              <a:ext uri="{FF2B5EF4-FFF2-40B4-BE49-F238E27FC236}">
                <a16:creationId xmlns:a16="http://schemas.microsoft.com/office/drawing/2014/main" id="{7BF532F5-A076-74F1-476F-373551E4D18E}"/>
              </a:ext>
            </a:extLst>
          </p:cNvPr>
          <p:cNvSpPr>
            <a:spLocks noGrp="1"/>
          </p:cNvSpPr>
          <p:nvPr>
            <p:ph type="body" sz="quarter" idx="10"/>
          </p:nvPr>
        </p:nvSpPr>
        <p:spPr/>
        <p:txBody>
          <a:bodyPr/>
          <a:lstStyle/>
          <a:p>
            <a:r>
              <a:rPr lang="en-US" dirty="0"/>
              <a:t>As you build agentic software for business problems consider the strengths and weaknesses of LLM vs LRM.</a:t>
            </a:r>
          </a:p>
          <a:p>
            <a:pPr lvl="1"/>
            <a:r>
              <a:rPr lang="en-US" dirty="0"/>
              <a:t>LLM: great for tasks involving brute compute such as generating documents</a:t>
            </a:r>
          </a:p>
          <a:p>
            <a:pPr lvl="1"/>
            <a:r>
              <a:rPr lang="en-US" dirty="0"/>
              <a:t>LRM: best for mapping entire problem spaces, chains of dependencies, analyzing, and solutioning.</a:t>
            </a:r>
          </a:p>
          <a:p>
            <a:pPr lvl="1"/>
            <a:r>
              <a:rPr lang="en-US" dirty="0"/>
              <a:t>Agentic: Combines both in a schema where Agents are primarily experts in their own craft either via task specific fine tuning (LLM), prompting (LLM), or via strategic reasoning steps (LRM).</a:t>
            </a:r>
            <a:br>
              <a:rPr lang="en-US" dirty="0"/>
            </a:br>
            <a:endParaRPr lang="en-US" dirty="0"/>
          </a:p>
          <a:p>
            <a:r>
              <a:rPr lang="en-US" dirty="0"/>
              <a:t>Just as an LRM begins by mapping entire problem spaces before attempting solutions, organizations must lay out what an AI system should gather, analyze and act upon.</a:t>
            </a:r>
          </a:p>
        </p:txBody>
      </p:sp>
    </p:spTree>
    <p:extLst>
      <p:ext uri="{BB962C8B-B14F-4D97-AF65-F5344CB8AC3E}">
        <p14:creationId xmlns:p14="http://schemas.microsoft.com/office/powerpoint/2010/main" val="106334391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611A3E-0538-48D5-F0B9-827D51F0E0A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2A9321D-3E08-FCD4-DCDB-ECEC52433B79}"/>
              </a:ext>
            </a:extLst>
          </p:cNvPr>
          <p:cNvSpPr>
            <a:spLocks noGrp="1"/>
          </p:cNvSpPr>
          <p:nvPr>
            <p:ph type="title"/>
          </p:nvPr>
        </p:nvSpPr>
        <p:spPr/>
        <p:txBody>
          <a:bodyPr/>
          <a:lstStyle/>
          <a:p>
            <a:r>
              <a:rPr lang="en-US" dirty="0"/>
              <a:t>What does this mean for you?</a:t>
            </a:r>
          </a:p>
        </p:txBody>
      </p:sp>
      <p:sp>
        <p:nvSpPr>
          <p:cNvPr id="4" name="Text Placeholder 3">
            <a:extLst>
              <a:ext uri="{FF2B5EF4-FFF2-40B4-BE49-F238E27FC236}">
                <a16:creationId xmlns:a16="http://schemas.microsoft.com/office/drawing/2014/main" id="{3041A50E-2A57-E093-FA74-5AFC8191EE86}"/>
              </a:ext>
            </a:extLst>
          </p:cNvPr>
          <p:cNvSpPr>
            <a:spLocks noGrp="1"/>
          </p:cNvSpPr>
          <p:nvPr>
            <p:ph type="body" sz="quarter" idx="10"/>
          </p:nvPr>
        </p:nvSpPr>
        <p:spPr/>
        <p:txBody>
          <a:bodyPr/>
          <a:lstStyle/>
          <a:p>
            <a:r>
              <a:rPr lang="en-US" dirty="0"/>
              <a:t>AI systems need structure to understand their operational context.</a:t>
            </a:r>
          </a:p>
          <a:p>
            <a:r>
              <a:rPr lang="en-US" dirty="0"/>
              <a:t>For your business, this means investing in data infrastructure. </a:t>
            </a:r>
          </a:p>
          <a:p>
            <a:pPr lvl="1"/>
            <a:r>
              <a:rPr lang="en-US" dirty="0"/>
              <a:t>The context we surround the LLM with is many times more important than the LLM.</a:t>
            </a:r>
          </a:p>
          <a:p>
            <a:pPr lvl="1"/>
            <a:r>
              <a:rPr lang="en-US" dirty="0"/>
              <a:t>Develop clear protocols for gathering information for an agent and validating its decisions before they are acted upon.</a:t>
            </a:r>
          </a:p>
          <a:p>
            <a:pPr marL="457192" lvl="1" indent="0">
              <a:buNone/>
            </a:pPr>
            <a:endParaRPr lang="en-US" dirty="0"/>
          </a:p>
          <a:p>
            <a:r>
              <a:rPr lang="en-US" dirty="0"/>
              <a:t>A financial client implemented this by creating </a:t>
            </a:r>
            <a:r>
              <a:rPr lang="en-US" i="1" u="sng" dirty="0"/>
              <a:t>Decision Context Maps</a:t>
            </a:r>
            <a:r>
              <a:rPr lang="en-US" u="sng" dirty="0"/>
              <a:t> </a:t>
            </a:r>
            <a:r>
              <a:rPr lang="en-US" dirty="0"/>
              <a:t>which  were required to be verified prior to the final routing decision.</a:t>
            </a:r>
          </a:p>
          <a:p>
            <a:pPr lvl="1"/>
            <a:r>
              <a:rPr lang="en-US" dirty="0"/>
              <a:t>These maps contained things like availability, account balances, credit limits, etc.</a:t>
            </a:r>
          </a:p>
          <a:p>
            <a:pPr lvl="1"/>
            <a:r>
              <a:rPr lang="en-US" dirty="0"/>
              <a:t>They had a bug where if two people requested credit limits within seconds, they would have temporary access to twice the funds before it was eventually rejected.</a:t>
            </a:r>
          </a:p>
          <a:p>
            <a:pPr lvl="1"/>
            <a:r>
              <a:rPr lang="en-US" dirty="0"/>
              <a:t>Having route “checkpoints” avoids  cascading errors that often get amplified in agentic systems.</a:t>
            </a:r>
          </a:p>
        </p:txBody>
      </p:sp>
    </p:spTree>
    <p:extLst>
      <p:ext uri="{BB962C8B-B14F-4D97-AF65-F5344CB8AC3E}">
        <p14:creationId xmlns:p14="http://schemas.microsoft.com/office/powerpoint/2010/main" val="341370785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311458-03A9-5E96-DFAF-174E9A7E851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4E2CAFF-EE85-F83F-AD30-DB521B06E7AE}"/>
              </a:ext>
            </a:extLst>
          </p:cNvPr>
          <p:cNvSpPr>
            <a:spLocks noGrp="1"/>
          </p:cNvSpPr>
          <p:nvPr>
            <p:ph type="title"/>
          </p:nvPr>
        </p:nvSpPr>
        <p:spPr/>
        <p:txBody>
          <a:bodyPr/>
          <a:lstStyle/>
          <a:p>
            <a:r>
              <a:rPr lang="en-US" dirty="0"/>
              <a:t>What does this mean for you?</a:t>
            </a:r>
          </a:p>
        </p:txBody>
      </p:sp>
      <p:sp>
        <p:nvSpPr>
          <p:cNvPr id="4" name="Text Placeholder 3">
            <a:extLst>
              <a:ext uri="{FF2B5EF4-FFF2-40B4-BE49-F238E27FC236}">
                <a16:creationId xmlns:a16="http://schemas.microsoft.com/office/drawing/2014/main" id="{BA28088A-66AA-97FB-146E-781F21056E1C}"/>
              </a:ext>
            </a:extLst>
          </p:cNvPr>
          <p:cNvSpPr>
            <a:spLocks noGrp="1"/>
          </p:cNvSpPr>
          <p:nvPr>
            <p:ph type="body" sz="quarter" idx="10"/>
          </p:nvPr>
        </p:nvSpPr>
        <p:spPr>
          <a:xfrm>
            <a:off x="-206452" y="7149438"/>
            <a:ext cx="11595100" cy="4957763"/>
          </a:xfrm>
        </p:spPr>
        <p:txBody>
          <a:bodyPr/>
          <a:lstStyle/>
          <a:p>
            <a:r>
              <a:rPr lang="en-US" dirty="0">
                <a:solidFill>
                  <a:schemeClr val="bg1"/>
                </a:solidFill>
              </a:rPr>
              <a:t>AI systems need structure to understand their operational context.</a:t>
            </a:r>
          </a:p>
          <a:p>
            <a:r>
              <a:rPr lang="en-US" dirty="0">
                <a:solidFill>
                  <a:schemeClr val="bg1"/>
                </a:solidFill>
              </a:rPr>
              <a:t>For your business, this means investing in data infrastructure. </a:t>
            </a:r>
          </a:p>
          <a:p>
            <a:pPr lvl="1"/>
            <a:r>
              <a:rPr lang="en-US" dirty="0">
                <a:solidFill>
                  <a:schemeClr val="bg1"/>
                </a:solidFill>
              </a:rPr>
              <a:t>The context we surround the LLM with is many times more important than the LLM.</a:t>
            </a:r>
          </a:p>
          <a:p>
            <a:pPr lvl="1"/>
            <a:r>
              <a:rPr lang="en-US" dirty="0">
                <a:solidFill>
                  <a:schemeClr val="bg1"/>
                </a:solidFill>
              </a:rPr>
              <a:t>Develop clear protocols for gathering information for an agent and validating its decisions before they are acted upon.</a:t>
            </a:r>
          </a:p>
          <a:p>
            <a:pPr marL="457192" lvl="1" indent="0">
              <a:buNone/>
            </a:pPr>
            <a:endParaRPr lang="en-US" dirty="0">
              <a:solidFill>
                <a:schemeClr val="bg1"/>
              </a:solidFill>
            </a:endParaRPr>
          </a:p>
          <a:p>
            <a:r>
              <a:rPr lang="en-US" dirty="0">
                <a:solidFill>
                  <a:schemeClr val="bg1"/>
                </a:solidFill>
              </a:rPr>
              <a:t>A financial client implemented this by creating </a:t>
            </a:r>
            <a:r>
              <a:rPr lang="en-US" i="1" u="sng" dirty="0">
                <a:solidFill>
                  <a:schemeClr val="bg1"/>
                </a:solidFill>
              </a:rPr>
              <a:t>Decision Context Maps</a:t>
            </a:r>
            <a:r>
              <a:rPr lang="en-US" u="sng" dirty="0">
                <a:solidFill>
                  <a:schemeClr val="bg1"/>
                </a:solidFill>
              </a:rPr>
              <a:t> </a:t>
            </a:r>
            <a:r>
              <a:rPr lang="en-US" dirty="0">
                <a:solidFill>
                  <a:schemeClr val="bg1"/>
                </a:solidFill>
              </a:rPr>
              <a:t>which  were required to be verified prior to the final routing decision.</a:t>
            </a:r>
          </a:p>
          <a:p>
            <a:pPr lvl="1"/>
            <a:r>
              <a:rPr lang="en-US" dirty="0">
                <a:solidFill>
                  <a:schemeClr val="bg1"/>
                </a:solidFill>
              </a:rPr>
              <a:t>These maps contained things like availability, account balances, credit limits, etc.</a:t>
            </a:r>
          </a:p>
          <a:p>
            <a:pPr lvl="1"/>
            <a:r>
              <a:rPr lang="en-US" dirty="0">
                <a:solidFill>
                  <a:schemeClr val="bg1"/>
                </a:solidFill>
              </a:rPr>
              <a:t>They had a bug where if two people requested credit limits within seconds, they would have temporary access to twice the funds before it was eventually rejected.</a:t>
            </a:r>
          </a:p>
          <a:p>
            <a:pPr lvl="1"/>
            <a:r>
              <a:rPr lang="en-US" dirty="0">
                <a:solidFill>
                  <a:schemeClr val="bg1"/>
                </a:solidFill>
              </a:rPr>
              <a:t>Having route “checkpoints” avoids  cascading errors that often get amplified in agentic systems.</a:t>
            </a:r>
          </a:p>
        </p:txBody>
      </p:sp>
      <p:grpSp>
        <p:nvGrpSpPr>
          <p:cNvPr id="2" name="Group 1">
            <a:extLst>
              <a:ext uri="{FF2B5EF4-FFF2-40B4-BE49-F238E27FC236}">
                <a16:creationId xmlns:a16="http://schemas.microsoft.com/office/drawing/2014/main" id="{A4BD6BA5-D123-64C4-3F4A-B3DFBC0FE805}"/>
              </a:ext>
            </a:extLst>
          </p:cNvPr>
          <p:cNvGrpSpPr/>
          <p:nvPr/>
        </p:nvGrpSpPr>
        <p:grpSpPr>
          <a:xfrm>
            <a:off x="6332747" y="2325106"/>
            <a:ext cx="1685651" cy="2744691"/>
            <a:chOff x="7717334" y="1455161"/>
            <a:chExt cx="1685651" cy="2744691"/>
          </a:xfrm>
        </p:grpSpPr>
        <p:sp>
          <p:nvSpPr>
            <p:cNvPr id="5" name="Rectangle">
              <a:extLst>
                <a:ext uri="{FF2B5EF4-FFF2-40B4-BE49-F238E27FC236}">
                  <a16:creationId xmlns:a16="http://schemas.microsoft.com/office/drawing/2014/main" id="{3C1A85D0-026A-EA5B-1529-664C0B6C4FDA}"/>
                </a:ext>
              </a:extLst>
            </p:cNvPr>
            <p:cNvSpPr/>
            <p:nvPr/>
          </p:nvSpPr>
          <p:spPr>
            <a:xfrm>
              <a:off x="7766288" y="1520433"/>
              <a:ext cx="1584480" cy="2679419"/>
            </a:xfrm>
            <a:prstGeom prst="rect">
              <a:avLst/>
            </a:prstGeom>
            <a:solidFill>
              <a:schemeClr val="accent6">
                <a:lumMod val="75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6" name="Rectangle">
              <a:extLst>
                <a:ext uri="{FF2B5EF4-FFF2-40B4-BE49-F238E27FC236}">
                  <a16:creationId xmlns:a16="http://schemas.microsoft.com/office/drawing/2014/main" id="{09DA808B-5DB9-66FA-8E85-9A679A895717}"/>
                </a:ext>
              </a:extLst>
            </p:cNvPr>
            <p:cNvSpPr/>
            <p:nvPr/>
          </p:nvSpPr>
          <p:spPr>
            <a:xfrm>
              <a:off x="7766288" y="1455161"/>
              <a:ext cx="1584480" cy="419374"/>
            </a:xfrm>
            <a:prstGeom prst="rect">
              <a:avLst/>
            </a:prstGeom>
            <a:solidFill>
              <a:schemeClr val="accent6">
                <a:lumMod val="40000"/>
                <a:lumOff val="6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7" name="Shape">
              <a:extLst>
                <a:ext uri="{FF2B5EF4-FFF2-40B4-BE49-F238E27FC236}">
                  <a16:creationId xmlns:a16="http://schemas.microsoft.com/office/drawing/2014/main" id="{1E114A94-4C08-BF28-CBB7-088AF7457B74}"/>
                </a:ext>
              </a:extLst>
            </p:cNvPr>
            <p:cNvSpPr/>
            <p:nvPr/>
          </p:nvSpPr>
          <p:spPr>
            <a:xfrm>
              <a:off x="7815241" y="1504115"/>
              <a:ext cx="1470257" cy="337784"/>
            </a:xfrm>
            <a:custGeom>
              <a:avLst/>
              <a:gdLst/>
              <a:ahLst/>
              <a:cxnLst>
                <a:cxn ang="0">
                  <a:pos x="wd2" y="hd2"/>
                </a:cxn>
                <a:cxn ang="5400000">
                  <a:pos x="wd2" y="hd2"/>
                </a:cxn>
                <a:cxn ang="10800000">
                  <a:pos x="wd2" y="hd2"/>
                </a:cxn>
                <a:cxn ang="16200000">
                  <a:pos x="wd2" y="hd2"/>
                </a:cxn>
              </a:cxnLst>
              <a:rect l="0" t="0" r="r" b="b"/>
              <a:pathLst>
                <a:path w="21600" h="21600" extrusionOk="0">
                  <a:moveTo>
                    <a:pt x="2062" y="0"/>
                  </a:moveTo>
                  <a:lnTo>
                    <a:pt x="19538" y="0"/>
                  </a:lnTo>
                  <a:cubicBezTo>
                    <a:pt x="19538" y="3026"/>
                    <a:pt x="20473" y="5426"/>
                    <a:pt x="21600" y="5426"/>
                  </a:cubicBezTo>
                  <a:lnTo>
                    <a:pt x="21600" y="16174"/>
                  </a:lnTo>
                  <a:cubicBezTo>
                    <a:pt x="20473" y="16174"/>
                    <a:pt x="19538" y="18678"/>
                    <a:pt x="19538" y="21600"/>
                  </a:cubicBezTo>
                  <a:lnTo>
                    <a:pt x="2062" y="21600"/>
                  </a:lnTo>
                  <a:cubicBezTo>
                    <a:pt x="2062" y="18574"/>
                    <a:pt x="1127" y="16174"/>
                    <a:pt x="0" y="16174"/>
                  </a:cubicBezTo>
                  <a:lnTo>
                    <a:pt x="0" y="5426"/>
                  </a:lnTo>
                  <a:cubicBezTo>
                    <a:pt x="1127" y="5530"/>
                    <a:pt x="2062" y="3026"/>
                    <a:pt x="2062" y="0"/>
                  </a:cubicBezTo>
                  <a:lnTo>
                    <a:pt x="2062" y="0"/>
                  </a:lnTo>
                  <a:close/>
                  <a:moveTo>
                    <a:pt x="10788" y="2191"/>
                  </a:moveTo>
                  <a:cubicBezTo>
                    <a:pt x="9374" y="2191"/>
                    <a:pt x="8247" y="6052"/>
                    <a:pt x="8247" y="10852"/>
                  </a:cubicBezTo>
                  <a:cubicBezTo>
                    <a:pt x="8247" y="15652"/>
                    <a:pt x="9398" y="19513"/>
                    <a:pt x="10788" y="19513"/>
                  </a:cubicBezTo>
                  <a:cubicBezTo>
                    <a:pt x="12202" y="19513"/>
                    <a:pt x="13329" y="15652"/>
                    <a:pt x="13329" y="10852"/>
                  </a:cubicBezTo>
                  <a:cubicBezTo>
                    <a:pt x="13329" y="6052"/>
                    <a:pt x="12202" y="2191"/>
                    <a:pt x="10788" y="2191"/>
                  </a:cubicBezTo>
                  <a:lnTo>
                    <a:pt x="10788" y="2191"/>
                  </a:lnTo>
                  <a:close/>
                  <a:moveTo>
                    <a:pt x="5082" y="7826"/>
                  </a:moveTo>
                  <a:cubicBezTo>
                    <a:pt x="4459" y="7826"/>
                    <a:pt x="3956" y="9183"/>
                    <a:pt x="3956" y="10852"/>
                  </a:cubicBezTo>
                  <a:cubicBezTo>
                    <a:pt x="3956" y="12522"/>
                    <a:pt x="4459" y="13878"/>
                    <a:pt x="5082" y="13878"/>
                  </a:cubicBezTo>
                  <a:cubicBezTo>
                    <a:pt x="5706" y="13878"/>
                    <a:pt x="6209" y="12522"/>
                    <a:pt x="6209" y="10852"/>
                  </a:cubicBezTo>
                  <a:cubicBezTo>
                    <a:pt x="6185" y="9183"/>
                    <a:pt x="5682" y="7826"/>
                    <a:pt x="5082" y="7826"/>
                  </a:cubicBezTo>
                  <a:lnTo>
                    <a:pt x="5082" y="7826"/>
                  </a:lnTo>
                  <a:close/>
                  <a:moveTo>
                    <a:pt x="16230" y="7826"/>
                  </a:moveTo>
                  <a:cubicBezTo>
                    <a:pt x="15607" y="7826"/>
                    <a:pt x="15103" y="9183"/>
                    <a:pt x="15103" y="10852"/>
                  </a:cubicBezTo>
                  <a:cubicBezTo>
                    <a:pt x="15103" y="12522"/>
                    <a:pt x="15607" y="13878"/>
                    <a:pt x="16230" y="13878"/>
                  </a:cubicBezTo>
                  <a:cubicBezTo>
                    <a:pt x="16853" y="13878"/>
                    <a:pt x="17357" y="12522"/>
                    <a:pt x="17357" y="10852"/>
                  </a:cubicBezTo>
                  <a:cubicBezTo>
                    <a:pt x="17357" y="9183"/>
                    <a:pt x="16853" y="7826"/>
                    <a:pt x="16230" y="7826"/>
                  </a:cubicBezTo>
                  <a:close/>
                </a:path>
              </a:pathLst>
            </a:custGeom>
            <a:solidFill>
              <a:schemeClr val="accent6">
                <a:lumMod val="5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8" name="Shape">
              <a:extLst>
                <a:ext uri="{FF2B5EF4-FFF2-40B4-BE49-F238E27FC236}">
                  <a16:creationId xmlns:a16="http://schemas.microsoft.com/office/drawing/2014/main" id="{0E84296F-64DF-4C0D-9D2C-1853A9670231}"/>
                </a:ext>
              </a:extLst>
            </p:cNvPr>
            <p:cNvSpPr/>
            <p:nvPr/>
          </p:nvSpPr>
          <p:spPr>
            <a:xfrm>
              <a:off x="8467962" y="1569386"/>
              <a:ext cx="161552" cy="197452"/>
            </a:xfrm>
            <a:custGeom>
              <a:avLst/>
              <a:gdLst/>
              <a:ahLst/>
              <a:cxnLst>
                <a:cxn ang="0">
                  <a:pos x="wd2" y="hd2"/>
                </a:cxn>
                <a:cxn ang="5400000">
                  <a:pos x="wd2" y="hd2"/>
                </a:cxn>
                <a:cxn ang="10800000">
                  <a:pos x="wd2" y="hd2"/>
                </a:cxn>
                <a:cxn ang="16200000">
                  <a:pos x="wd2" y="hd2"/>
                </a:cxn>
              </a:cxnLst>
              <a:rect l="0" t="0" r="r" b="b"/>
              <a:pathLst>
                <a:path w="21600" h="21600" extrusionOk="0">
                  <a:moveTo>
                    <a:pt x="8946" y="21600"/>
                  </a:moveTo>
                  <a:lnTo>
                    <a:pt x="13746" y="21600"/>
                  </a:lnTo>
                  <a:lnTo>
                    <a:pt x="13746" y="18922"/>
                  </a:lnTo>
                  <a:cubicBezTo>
                    <a:pt x="18982" y="18387"/>
                    <a:pt x="21600" y="16423"/>
                    <a:pt x="21600" y="14103"/>
                  </a:cubicBezTo>
                  <a:cubicBezTo>
                    <a:pt x="21600" y="9283"/>
                    <a:pt x="8291" y="9461"/>
                    <a:pt x="8291" y="7141"/>
                  </a:cubicBezTo>
                  <a:cubicBezTo>
                    <a:pt x="8291" y="6070"/>
                    <a:pt x="9600" y="5534"/>
                    <a:pt x="12000" y="5534"/>
                  </a:cubicBezTo>
                  <a:cubicBezTo>
                    <a:pt x="14182" y="5534"/>
                    <a:pt x="15709" y="5891"/>
                    <a:pt x="17455" y="6784"/>
                  </a:cubicBezTo>
                  <a:lnTo>
                    <a:pt x="21163" y="4641"/>
                  </a:lnTo>
                  <a:cubicBezTo>
                    <a:pt x="19200" y="3570"/>
                    <a:pt x="16800" y="2856"/>
                    <a:pt x="13745" y="2499"/>
                  </a:cubicBezTo>
                  <a:lnTo>
                    <a:pt x="13745" y="0"/>
                  </a:lnTo>
                  <a:lnTo>
                    <a:pt x="8946" y="0"/>
                  </a:lnTo>
                  <a:lnTo>
                    <a:pt x="8946" y="2678"/>
                  </a:lnTo>
                  <a:cubicBezTo>
                    <a:pt x="4146" y="3213"/>
                    <a:pt x="1309" y="4820"/>
                    <a:pt x="1309" y="7319"/>
                  </a:cubicBezTo>
                  <a:cubicBezTo>
                    <a:pt x="1309" y="11782"/>
                    <a:pt x="14618" y="11782"/>
                    <a:pt x="14618" y="14459"/>
                  </a:cubicBezTo>
                  <a:cubicBezTo>
                    <a:pt x="14618" y="15530"/>
                    <a:pt x="13309" y="16244"/>
                    <a:pt x="10473" y="16244"/>
                  </a:cubicBezTo>
                  <a:cubicBezTo>
                    <a:pt x="8073" y="16244"/>
                    <a:pt x="5891" y="15709"/>
                    <a:pt x="3273" y="14816"/>
                  </a:cubicBezTo>
                  <a:lnTo>
                    <a:pt x="0" y="17316"/>
                  </a:lnTo>
                  <a:cubicBezTo>
                    <a:pt x="2400" y="18387"/>
                    <a:pt x="5891" y="19101"/>
                    <a:pt x="8945" y="19279"/>
                  </a:cubicBezTo>
                  <a:lnTo>
                    <a:pt x="8945" y="21600"/>
                  </a:lnTo>
                  <a:close/>
                </a:path>
              </a:pathLst>
            </a:custGeom>
            <a:solidFill>
              <a:schemeClr val="accent6">
                <a:lumMod val="5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9" name="Triangle">
              <a:extLst>
                <a:ext uri="{FF2B5EF4-FFF2-40B4-BE49-F238E27FC236}">
                  <a16:creationId xmlns:a16="http://schemas.microsoft.com/office/drawing/2014/main" id="{B013EEDD-B2C4-6957-BDF5-AF8E389CDBBE}"/>
                </a:ext>
              </a:extLst>
            </p:cNvPr>
            <p:cNvSpPr/>
            <p:nvPr/>
          </p:nvSpPr>
          <p:spPr>
            <a:xfrm>
              <a:off x="8745370" y="1977338"/>
              <a:ext cx="487909" cy="8648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close/>
                </a:path>
              </a:pathLst>
            </a:custGeom>
            <a:solidFill>
              <a:schemeClr val="accent6">
                <a:lumMod val="40000"/>
                <a:lumOff val="6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0" name="Triangle">
              <a:extLst>
                <a:ext uri="{FF2B5EF4-FFF2-40B4-BE49-F238E27FC236}">
                  <a16:creationId xmlns:a16="http://schemas.microsoft.com/office/drawing/2014/main" id="{407267CB-43D9-CAB9-C85B-A62D8F69C248}"/>
                </a:ext>
              </a:extLst>
            </p:cNvPr>
            <p:cNvSpPr/>
            <p:nvPr/>
          </p:nvSpPr>
          <p:spPr>
            <a:xfrm>
              <a:off x="7864196" y="2842193"/>
              <a:ext cx="487909" cy="8485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close/>
                </a:path>
              </a:pathLst>
            </a:custGeom>
            <a:solidFill>
              <a:schemeClr val="accent6">
                <a:lumMod val="40000"/>
                <a:lumOff val="6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1" name="Shape">
              <a:extLst>
                <a:ext uri="{FF2B5EF4-FFF2-40B4-BE49-F238E27FC236}">
                  <a16:creationId xmlns:a16="http://schemas.microsoft.com/office/drawing/2014/main" id="{1D94C7C9-B9D1-1986-05FE-2043EDD03B29}"/>
                </a:ext>
              </a:extLst>
            </p:cNvPr>
            <p:cNvSpPr/>
            <p:nvPr/>
          </p:nvSpPr>
          <p:spPr>
            <a:xfrm>
              <a:off x="8859596" y="2156836"/>
              <a:ext cx="527071" cy="241508"/>
            </a:xfrm>
            <a:custGeom>
              <a:avLst/>
              <a:gdLst/>
              <a:ahLst/>
              <a:cxnLst>
                <a:cxn ang="0">
                  <a:pos x="wd2" y="hd2"/>
                </a:cxn>
                <a:cxn ang="5400000">
                  <a:pos x="wd2" y="hd2"/>
                </a:cxn>
                <a:cxn ang="10800000">
                  <a:pos x="wd2" y="hd2"/>
                </a:cxn>
                <a:cxn ang="16200000">
                  <a:pos x="wd2" y="hd2"/>
                </a:cxn>
              </a:cxnLst>
              <a:rect l="0" t="0" r="r" b="b"/>
              <a:pathLst>
                <a:path w="21600" h="21600" extrusionOk="0">
                  <a:moveTo>
                    <a:pt x="19861" y="0"/>
                  </a:moveTo>
                  <a:lnTo>
                    <a:pt x="21600" y="21600"/>
                  </a:lnTo>
                  <a:lnTo>
                    <a:pt x="0" y="18243"/>
                  </a:lnTo>
                  <a:lnTo>
                    <a:pt x="19861" y="18243"/>
                  </a:lnTo>
                  <a:close/>
                </a:path>
              </a:pathLst>
            </a:custGeom>
            <a:solidFill>
              <a:schemeClr val="accent6">
                <a:lumMod val="40000"/>
                <a:lumOff val="6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2" name="Shape">
              <a:extLst>
                <a:ext uri="{FF2B5EF4-FFF2-40B4-BE49-F238E27FC236}">
                  <a16:creationId xmlns:a16="http://schemas.microsoft.com/office/drawing/2014/main" id="{F3421A0D-CB94-AEED-816B-69B6456ED5E0}"/>
                </a:ext>
              </a:extLst>
            </p:cNvPr>
            <p:cNvSpPr/>
            <p:nvPr/>
          </p:nvSpPr>
          <p:spPr>
            <a:xfrm>
              <a:off x="7717334" y="1961020"/>
              <a:ext cx="386738" cy="109332"/>
            </a:xfrm>
            <a:custGeom>
              <a:avLst/>
              <a:gdLst/>
              <a:ahLst/>
              <a:cxnLst>
                <a:cxn ang="0">
                  <a:pos x="wd2" y="hd2"/>
                </a:cxn>
                <a:cxn ang="5400000">
                  <a:pos x="wd2" y="hd2"/>
                </a:cxn>
                <a:cxn ang="10800000">
                  <a:pos x="wd2" y="hd2"/>
                </a:cxn>
                <a:cxn ang="16200000">
                  <a:pos x="wd2" y="hd2"/>
                </a:cxn>
              </a:cxnLst>
              <a:rect l="0" t="0" r="r" b="b"/>
              <a:pathLst>
                <a:path w="21600" h="21600" extrusionOk="0">
                  <a:moveTo>
                    <a:pt x="21600" y="10961"/>
                  </a:moveTo>
                  <a:lnTo>
                    <a:pt x="2005" y="10961"/>
                  </a:lnTo>
                  <a:lnTo>
                    <a:pt x="2005" y="0"/>
                  </a:lnTo>
                  <a:lnTo>
                    <a:pt x="0" y="21600"/>
                  </a:lnTo>
                  <a:close/>
                </a:path>
              </a:pathLst>
            </a:custGeom>
            <a:solidFill>
              <a:schemeClr val="accent6">
                <a:lumMod val="40000"/>
                <a:lumOff val="6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3" name="Shape">
              <a:extLst>
                <a:ext uri="{FF2B5EF4-FFF2-40B4-BE49-F238E27FC236}">
                  <a16:creationId xmlns:a16="http://schemas.microsoft.com/office/drawing/2014/main" id="{CF16D8A8-B7C6-B5A2-DC18-AB5B4DDED581}"/>
                </a:ext>
              </a:extLst>
            </p:cNvPr>
            <p:cNvSpPr/>
            <p:nvPr/>
          </p:nvSpPr>
          <p:spPr>
            <a:xfrm>
              <a:off x="8859594" y="2858511"/>
              <a:ext cx="543391" cy="141967"/>
            </a:xfrm>
            <a:custGeom>
              <a:avLst/>
              <a:gdLst/>
              <a:ahLst/>
              <a:cxnLst>
                <a:cxn ang="0">
                  <a:pos x="wd2" y="hd2"/>
                </a:cxn>
                <a:cxn ang="5400000">
                  <a:pos x="wd2" y="hd2"/>
                </a:cxn>
                <a:cxn ang="10800000">
                  <a:pos x="wd2" y="hd2"/>
                </a:cxn>
                <a:cxn ang="16200000">
                  <a:pos x="wd2" y="hd2"/>
                </a:cxn>
              </a:cxnLst>
              <a:rect l="0" t="0" r="r" b="b"/>
              <a:pathLst>
                <a:path w="21600" h="21600" extrusionOk="0">
                  <a:moveTo>
                    <a:pt x="0" y="10428"/>
                  </a:moveTo>
                  <a:lnTo>
                    <a:pt x="19135" y="10428"/>
                  </a:lnTo>
                  <a:lnTo>
                    <a:pt x="19135" y="0"/>
                  </a:lnTo>
                  <a:lnTo>
                    <a:pt x="21600" y="21600"/>
                  </a:lnTo>
                  <a:close/>
                </a:path>
              </a:pathLst>
            </a:custGeom>
            <a:solidFill>
              <a:schemeClr val="accent6">
                <a:lumMod val="40000"/>
                <a:lumOff val="6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4" name="Shape">
              <a:extLst>
                <a:ext uri="{FF2B5EF4-FFF2-40B4-BE49-F238E27FC236}">
                  <a16:creationId xmlns:a16="http://schemas.microsoft.com/office/drawing/2014/main" id="{4E47B4A2-6247-0D2B-C71D-809A2BF0B7E3}"/>
                </a:ext>
              </a:extLst>
            </p:cNvPr>
            <p:cNvSpPr/>
            <p:nvPr/>
          </p:nvSpPr>
          <p:spPr>
            <a:xfrm>
              <a:off x="7766287" y="2385288"/>
              <a:ext cx="1582851" cy="654351"/>
            </a:xfrm>
            <a:custGeom>
              <a:avLst/>
              <a:gdLst/>
              <a:ahLst/>
              <a:cxnLst>
                <a:cxn ang="0">
                  <a:pos x="wd2" y="hd2"/>
                </a:cxn>
                <a:cxn ang="5400000">
                  <a:pos x="wd2" y="hd2"/>
                </a:cxn>
                <a:cxn ang="10800000">
                  <a:pos x="wd2" y="hd2"/>
                </a:cxn>
                <a:cxn ang="16200000">
                  <a:pos x="wd2" y="hd2"/>
                </a:cxn>
              </a:cxnLst>
              <a:rect l="0" t="0" r="r" b="b"/>
              <a:pathLst>
                <a:path w="21600" h="21600" extrusionOk="0">
                  <a:moveTo>
                    <a:pt x="21600" y="5387"/>
                  </a:moveTo>
                  <a:lnTo>
                    <a:pt x="7682" y="5387"/>
                  </a:lnTo>
                  <a:lnTo>
                    <a:pt x="21600" y="6949"/>
                  </a:lnTo>
                  <a:lnTo>
                    <a:pt x="21600" y="5387"/>
                  </a:lnTo>
                  <a:lnTo>
                    <a:pt x="21600" y="5387"/>
                  </a:lnTo>
                  <a:close/>
                  <a:moveTo>
                    <a:pt x="5122" y="10989"/>
                  </a:moveTo>
                  <a:lnTo>
                    <a:pt x="6413" y="11150"/>
                  </a:lnTo>
                  <a:lnTo>
                    <a:pt x="7705" y="11312"/>
                  </a:lnTo>
                  <a:lnTo>
                    <a:pt x="6413" y="11473"/>
                  </a:lnTo>
                  <a:lnTo>
                    <a:pt x="5122" y="11635"/>
                  </a:lnTo>
                  <a:lnTo>
                    <a:pt x="3830" y="11473"/>
                  </a:lnTo>
                  <a:lnTo>
                    <a:pt x="2539" y="11312"/>
                  </a:lnTo>
                  <a:lnTo>
                    <a:pt x="3830" y="11150"/>
                  </a:lnTo>
                  <a:lnTo>
                    <a:pt x="5122" y="10989"/>
                  </a:lnTo>
                  <a:lnTo>
                    <a:pt x="5122" y="10989"/>
                  </a:lnTo>
                  <a:close/>
                  <a:moveTo>
                    <a:pt x="9887" y="20954"/>
                  </a:moveTo>
                  <a:lnTo>
                    <a:pt x="11713" y="21115"/>
                  </a:lnTo>
                  <a:lnTo>
                    <a:pt x="13539" y="21277"/>
                  </a:lnTo>
                  <a:lnTo>
                    <a:pt x="11713" y="21438"/>
                  </a:lnTo>
                  <a:lnTo>
                    <a:pt x="9887" y="21600"/>
                  </a:lnTo>
                  <a:lnTo>
                    <a:pt x="8061" y="21438"/>
                  </a:lnTo>
                  <a:lnTo>
                    <a:pt x="6235" y="21277"/>
                  </a:lnTo>
                  <a:lnTo>
                    <a:pt x="8061" y="21115"/>
                  </a:lnTo>
                  <a:lnTo>
                    <a:pt x="9887" y="20954"/>
                  </a:lnTo>
                  <a:lnTo>
                    <a:pt x="9887" y="20954"/>
                  </a:lnTo>
                  <a:close/>
                  <a:moveTo>
                    <a:pt x="0" y="0"/>
                  </a:moveTo>
                  <a:lnTo>
                    <a:pt x="7460" y="0"/>
                  </a:lnTo>
                  <a:lnTo>
                    <a:pt x="0" y="1077"/>
                  </a:lnTo>
                  <a:lnTo>
                    <a:pt x="0" y="0"/>
                  </a:lnTo>
                  <a:close/>
                </a:path>
              </a:pathLst>
            </a:custGeom>
            <a:solidFill>
              <a:schemeClr val="accent6">
                <a:lumMod val="5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5" name="Shape">
              <a:extLst>
                <a:ext uri="{FF2B5EF4-FFF2-40B4-BE49-F238E27FC236}">
                  <a16:creationId xmlns:a16="http://schemas.microsoft.com/office/drawing/2014/main" id="{00CCD6FA-E8F9-3AB4-A037-E3CEF968D0ED}"/>
                </a:ext>
              </a:extLst>
            </p:cNvPr>
            <p:cNvSpPr/>
            <p:nvPr/>
          </p:nvSpPr>
          <p:spPr>
            <a:xfrm>
              <a:off x="8859594" y="3919182"/>
              <a:ext cx="543391" cy="141967"/>
            </a:xfrm>
            <a:custGeom>
              <a:avLst/>
              <a:gdLst/>
              <a:ahLst/>
              <a:cxnLst>
                <a:cxn ang="0">
                  <a:pos x="wd2" y="hd2"/>
                </a:cxn>
                <a:cxn ang="5400000">
                  <a:pos x="wd2" y="hd2"/>
                </a:cxn>
                <a:cxn ang="10800000">
                  <a:pos x="wd2" y="hd2"/>
                </a:cxn>
                <a:cxn ang="16200000">
                  <a:pos x="wd2" y="hd2"/>
                </a:cxn>
              </a:cxnLst>
              <a:rect l="0" t="0" r="r" b="b"/>
              <a:pathLst>
                <a:path w="21600" h="21600" extrusionOk="0">
                  <a:moveTo>
                    <a:pt x="0" y="10428"/>
                  </a:moveTo>
                  <a:lnTo>
                    <a:pt x="19135" y="10428"/>
                  </a:lnTo>
                  <a:lnTo>
                    <a:pt x="19135" y="0"/>
                  </a:lnTo>
                  <a:lnTo>
                    <a:pt x="21600" y="21600"/>
                  </a:lnTo>
                  <a:close/>
                </a:path>
              </a:pathLst>
            </a:custGeom>
            <a:solidFill>
              <a:srgbClr val="C4DD9C"/>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6" name="Shape">
              <a:extLst>
                <a:ext uri="{FF2B5EF4-FFF2-40B4-BE49-F238E27FC236}">
                  <a16:creationId xmlns:a16="http://schemas.microsoft.com/office/drawing/2014/main" id="{5380ED2A-C54B-4B69-5A92-D926130EA0D9}"/>
                </a:ext>
              </a:extLst>
            </p:cNvPr>
            <p:cNvSpPr/>
            <p:nvPr/>
          </p:nvSpPr>
          <p:spPr>
            <a:xfrm>
              <a:off x="7766287" y="3445960"/>
              <a:ext cx="1582851" cy="654351"/>
            </a:xfrm>
            <a:custGeom>
              <a:avLst/>
              <a:gdLst/>
              <a:ahLst/>
              <a:cxnLst>
                <a:cxn ang="0">
                  <a:pos x="wd2" y="hd2"/>
                </a:cxn>
                <a:cxn ang="5400000">
                  <a:pos x="wd2" y="hd2"/>
                </a:cxn>
                <a:cxn ang="10800000">
                  <a:pos x="wd2" y="hd2"/>
                </a:cxn>
                <a:cxn ang="16200000">
                  <a:pos x="wd2" y="hd2"/>
                </a:cxn>
              </a:cxnLst>
              <a:rect l="0" t="0" r="r" b="b"/>
              <a:pathLst>
                <a:path w="21600" h="21600" extrusionOk="0">
                  <a:moveTo>
                    <a:pt x="21600" y="5387"/>
                  </a:moveTo>
                  <a:lnTo>
                    <a:pt x="7682" y="5387"/>
                  </a:lnTo>
                  <a:lnTo>
                    <a:pt x="21600" y="6949"/>
                  </a:lnTo>
                  <a:lnTo>
                    <a:pt x="21600" y="5387"/>
                  </a:lnTo>
                  <a:lnTo>
                    <a:pt x="21600" y="5387"/>
                  </a:lnTo>
                  <a:close/>
                  <a:moveTo>
                    <a:pt x="5122" y="10989"/>
                  </a:moveTo>
                  <a:lnTo>
                    <a:pt x="6413" y="11150"/>
                  </a:lnTo>
                  <a:lnTo>
                    <a:pt x="7705" y="11312"/>
                  </a:lnTo>
                  <a:lnTo>
                    <a:pt x="6413" y="11473"/>
                  </a:lnTo>
                  <a:lnTo>
                    <a:pt x="5122" y="11635"/>
                  </a:lnTo>
                  <a:lnTo>
                    <a:pt x="3830" y="11473"/>
                  </a:lnTo>
                  <a:lnTo>
                    <a:pt x="2539" y="11312"/>
                  </a:lnTo>
                  <a:lnTo>
                    <a:pt x="3830" y="11150"/>
                  </a:lnTo>
                  <a:lnTo>
                    <a:pt x="5122" y="10989"/>
                  </a:lnTo>
                  <a:lnTo>
                    <a:pt x="5122" y="10989"/>
                  </a:lnTo>
                  <a:close/>
                  <a:moveTo>
                    <a:pt x="9887" y="20954"/>
                  </a:moveTo>
                  <a:lnTo>
                    <a:pt x="11713" y="21115"/>
                  </a:lnTo>
                  <a:lnTo>
                    <a:pt x="13539" y="21277"/>
                  </a:lnTo>
                  <a:lnTo>
                    <a:pt x="11713" y="21438"/>
                  </a:lnTo>
                  <a:lnTo>
                    <a:pt x="9887" y="21600"/>
                  </a:lnTo>
                  <a:lnTo>
                    <a:pt x="8061" y="21438"/>
                  </a:lnTo>
                  <a:lnTo>
                    <a:pt x="6235" y="21277"/>
                  </a:lnTo>
                  <a:lnTo>
                    <a:pt x="8061" y="21115"/>
                  </a:lnTo>
                  <a:lnTo>
                    <a:pt x="9887" y="20954"/>
                  </a:lnTo>
                  <a:lnTo>
                    <a:pt x="9887" y="20954"/>
                  </a:lnTo>
                  <a:close/>
                  <a:moveTo>
                    <a:pt x="0" y="0"/>
                  </a:moveTo>
                  <a:lnTo>
                    <a:pt x="7460" y="0"/>
                  </a:lnTo>
                  <a:lnTo>
                    <a:pt x="0" y="1077"/>
                  </a:lnTo>
                  <a:lnTo>
                    <a:pt x="0" y="0"/>
                  </a:lnTo>
                  <a:close/>
                </a:path>
              </a:pathLst>
            </a:custGeom>
            <a:solidFill>
              <a:schemeClr val="accent6">
                <a:lumMod val="5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grpSp>
      <p:grpSp>
        <p:nvGrpSpPr>
          <p:cNvPr id="17" name="Group 16">
            <a:extLst>
              <a:ext uri="{FF2B5EF4-FFF2-40B4-BE49-F238E27FC236}">
                <a16:creationId xmlns:a16="http://schemas.microsoft.com/office/drawing/2014/main" id="{455030E3-C61D-35B9-4BC8-7283446FAC53}"/>
              </a:ext>
            </a:extLst>
          </p:cNvPr>
          <p:cNvGrpSpPr/>
          <p:nvPr/>
        </p:nvGrpSpPr>
        <p:grpSpPr>
          <a:xfrm>
            <a:off x="3435269" y="3054003"/>
            <a:ext cx="1684021" cy="2242096"/>
            <a:chOff x="5204357" y="2320016"/>
            <a:chExt cx="1684021" cy="2242096"/>
          </a:xfrm>
        </p:grpSpPr>
        <p:sp>
          <p:nvSpPr>
            <p:cNvPr id="18" name="Rectangle">
              <a:extLst>
                <a:ext uri="{FF2B5EF4-FFF2-40B4-BE49-F238E27FC236}">
                  <a16:creationId xmlns:a16="http://schemas.microsoft.com/office/drawing/2014/main" id="{762E8DA8-C6B4-308B-32C8-006B86AC7C4D}"/>
                </a:ext>
              </a:extLst>
            </p:cNvPr>
            <p:cNvSpPr/>
            <p:nvPr/>
          </p:nvSpPr>
          <p:spPr>
            <a:xfrm>
              <a:off x="5236994" y="2385288"/>
              <a:ext cx="1584480" cy="2176824"/>
            </a:xfrm>
            <a:prstGeom prst="rect">
              <a:avLst/>
            </a:prstGeom>
            <a:solidFill>
              <a:schemeClr val="accent6">
                <a:lumMod val="75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9" name="Rectangle">
              <a:extLst>
                <a:ext uri="{FF2B5EF4-FFF2-40B4-BE49-F238E27FC236}">
                  <a16:creationId xmlns:a16="http://schemas.microsoft.com/office/drawing/2014/main" id="{DD21B736-D6A1-4FB7-4872-DB94C7E18E44}"/>
                </a:ext>
              </a:extLst>
            </p:cNvPr>
            <p:cNvSpPr/>
            <p:nvPr/>
          </p:nvSpPr>
          <p:spPr>
            <a:xfrm>
              <a:off x="5236994" y="2320016"/>
              <a:ext cx="1584480" cy="419374"/>
            </a:xfrm>
            <a:prstGeom prst="rect">
              <a:avLst/>
            </a:prstGeom>
            <a:solidFill>
              <a:schemeClr val="accent6">
                <a:lumMod val="40000"/>
                <a:lumOff val="6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20" name="Shape">
              <a:extLst>
                <a:ext uri="{FF2B5EF4-FFF2-40B4-BE49-F238E27FC236}">
                  <a16:creationId xmlns:a16="http://schemas.microsoft.com/office/drawing/2014/main" id="{A9034062-D953-44B7-9BCE-97F58D53BBC7}"/>
                </a:ext>
              </a:extLst>
            </p:cNvPr>
            <p:cNvSpPr/>
            <p:nvPr/>
          </p:nvSpPr>
          <p:spPr>
            <a:xfrm>
              <a:off x="5302265" y="2368970"/>
              <a:ext cx="1470257" cy="337784"/>
            </a:xfrm>
            <a:custGeom>
              <a:avLst/>
              <a:gdLst/>
              <a:ahLst/>
              <a:cxnLst>
                <a:cxn ang="0">
                  <a:pos x="wd2" y="hd2"/>
                </a:cxn>
                <a:cxn ang="5400000">
                  <a:pos x="wd2" y="hd2"/>
                </a:cxn>
                <a:cxn ang="10800000">
                  <a:pos x="wd2" y="hd2"/>
                </a:cxn>
                <a:cxn ang="16200000">
                  <a:pos x="wd2" y="hd2"/>
                </a:cxn>
              </a:cxnLst>
              <a:rect l="0" t="0" r="r" b="b"/>
              <a:pathLst>
                <a:path w="21600" h="21600" extrusionOk="0">
                  <a:moveTo>
                    <a:pt x="2062" y="0"/>
                  </a:moveTo>
                  <a:lnTo>
                    <a:pt x="19538" y="0"/>
                  </a:lnTo>
                  <a:cubicBezTo>
                    <a:pt x="19538" y="3026"/>
                    <a:pt x="20473" y="5426"/>
                    <a:pt x="21600" y="5426"/>
                  </a:cubicBezTo>
                  <a:lnTo>
                    <a:pt x="21600" y="16174"/>
                  </a:lnTo>
                  <a:cubicBezTo>
                    <a:pt x="20473" y="16174"/>
                    <a:pt x="19538" y="18678"/>
                    <a:pt x="19538" y="21600"/>
                  </a:cubicBezTo>
                  <a:lnTo>
                    <a:pt x="2062" y="21600"/>
                  </a:lnTo>
                  <a:cubicBezTo>
                    <a:pt x="2062" y="18574"/>
                    <a:pt x="1127" y="16174"/>
                    <a:pt x="0" y="16174"/>
                  </a:cubicBezTo>
                  <a:lnTo>
                    <a:pt x="0" y="5426"/>
                  </a:lnTo>
                  <a:cubicBezTo>
                    <a:pt x="1151" y="5426"/>
                    <a:pt x="2062" y="2922"/>
                    <a:pt x="2062" y="0"/>
                  </a:cubicBezTo>
                  <a:lnTo>
                    <a:pt x="2062" y="0"/>
                  </a:lnTo>
                  <a:close/>
                  <a:moveTo>
                    <a:pt x="10812" y="2087"/>
                  </a:moveTo>
                  <a:cubicBezTo>
                    <a:pt x="9398" y="2087"/>
                    <a:pt x="8271" y="5948"/>
                    <a:pt x="8271" y="10748"/>
                  </a:cubicBezTo>
                  <a:cubicBezTo>
                    <a:pt x="8271" y="15548"/>
                    <a:pt x="9422" y="19409"/>
                    <a:pt x="10812" y="19409"/>
                  </a:cubicBezTo>
                  <a:cubicBezTo>
                    <a:pt x="12226" y="19409"/>
                    <a:pt x="13353" y="15548"/>
                    <a:pt x="13353" y="10748"/>
                  </a:cubicBezTo>
                  <a:cubicBezTo>
                    <a:pt x="13353" y="5948"/>
                    <a:pt x="12202" y="2087"/>
                    <a:pt x="10812" y="2087"/>
                  </a:cubicBezTo>
                  <a:lnTo>
                    <a:pt x="10812" y="2087"/>
                  </a:lnTo>
                  <a:close/>
                  <a:moveTo>
                    <a:pt x="5082" y="7826"/>
                  </a:moveTo>
                  <a:cubicBezTo>
                    <a:pt x="4459" y="7826"/>
                    <a:pt x="3956" y="9183"/>
                    <a:pt x="3956" y="10852"/>
                  </a:cubicBezTo>
                  <a:cubicBezTo>
                    <a:pt x="3956" y="12522"/>
                    <a:pt x="4459" y="13878"/>
                    <a:pt x="5082" y="13878"/>
                  </a:cubicBezTo>
                  <a:cubicBezTo>
                    <a:pt x="5706" y="13878"/>
                    <a:pt x="6209" y="12522"/>
                    <a:pt x="6209" y="10852"/>
                  </a:cubicBezTo>
                  <a:cubicBezTo>
                    <a:pt x="6209" y="9183"/>
                    <a:pt x="5706" y="7826"/>
                    <a:pt x="5082" y="7826"/>
                  </a:cubicBezTo>
                  <a:lnTo>
                    <a:pt x="5082" y="7826"/>
                  </a:lnTo>
                  <a:close/>
                  <a:moveTo>
                    <a:pt x="16254" y="7826"/>
                  </a:moveTo>
                  <a:cubicBezTo>
                    <a:pt x="15631" y="7826"/>
                    <a:pt x="15127" y="9183"/>
                    <a:pt x="15127" y="10852"/>
                  </a:cubicBezTo>
                  <a:cubicBezTo>
                    <a:pt x="15127" y="12522"/>
                    <a:pt x="15631" y="13878"/>
                    <a:pt x="16254" y="13878"/>
                  </a:cubicBezTo>
                  <a:cubicBezTo>
                    <a:pt x="16877" y="13878"/>
                    <a:pt x="17381" y="12522"/>
                    <a:pt x="17381" y="10852"/>
                  </a:cubicBezTo>
                  <a:cubicBezTo>
                    <a:pt x="17381" y="9183"/>
                    <a:pt x="16877" y="7826"/>
                    <a:pt x="16254" y="7826"/>
                  </a:cubicBezTo>
                  <a:close/>
                </a:path>
              </a:pathLst>
            </a:custGeom>
            <a:solidFill>
              <a:schemeClr val="accent6">
                <a:lumMod val="5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21" name="Shape">
              <a:extLst>
                <a:ext uri="{FF2B5EF4-FFF2-40B4-BE49-F238E27FC236}">
                  <a16:creationId xmlns:a16="http://schemas.microsoft.com/office/drawing/2014/main" id="{0D62C4BB-B76A-940C-A028-FABFB74F37DC}"/>
                </a:ext>
              </a:extLst>
            </p:cNvPr>
            <p:cNvSpPr/>
            <p:nvPr/>
          </p:nvSpPr>
          <p:spPr>
            <a:xfrm>
              <a:off x="5954986" y="2434241"/>
              <a:ext cx="161552" cy="197452"/>
            </a:xfrm>
            <a:custGeom>
              <a:avLst/>
              <a:gdLst/>
              <a:ahLst/>
              <a:cxnLst>
                <a:cxn ang="0">
                  <a:pos x="wd2" y="hd2"/>
                </a:cxn>
                <a:cxn ang="5400000">
                  <a:pos x="wd2" y="hd2"/>
                </a:cxn>
                <a:cxn ang="10800000">
                  <a:pos x="wd2" y="hd2"/>
                </a:cxn>
                <a:cxn ang="16200000">
                  <a:pos x="wd2" y="hd2"/>
                </a:cxn>
              </a:cxnLst>
              <a:rect l="0" t="0" r="r" b="b"/>
              <a:pathLst>
                <a:path w="21600" h="21600" extrusionOk="0">
                  <a:moveTo>
                    <a:pt x="8946" y="21600"/>
                  </a:moveTo>
                  <a:lnTo>
                    <a:pt x="13746" y="21600"/>
                  </a:lnTo>
                  <a:lnTo>
                    <a:pt x="13746" y="18922"/>
                  </a:lnTo>
                  <a:cubicBezTo>
                    <a:pt x="18982" y="18387"/>
                    <a:pt x="21600" y="16423"/>
                    <a:pt x="21600" y="14103"/>
                  </a:cubicBezTo>
                  <a:cubicBezTo>
                    <a:pt x="21600" y="9283"/>
                    <a:pt x="8291" y="9461"/>
                    <a:pt x="8291" y="7141"/>
                  </a:cubicBezTo>
                  <a:cubicBezTo>
                    <a:pt x="8291" y="6070"/>
                    <a:pt x="9600" y="5534"/>
                    <a:pt x="12000" y="5534"/>
                  </a:cubicBezTo>
                  <a:cubicBezTo>
                    <a:pt x="14182" y="5534"/>
                    <a:pt x="15709" y="5891"/>
                    <a:pt x="17455" y="6784"/>
                  </a:cubicBezTo>
                  <a:lnTo>
                    <a:pt x="21163" y="4641"/>
                  </a:lnTo>
                  <a:cubicBezTo>
                    <a:pt x="19200" y="3570"/>
                    <a:pt x="16800" y="2856"/>
                    <a:pt x="13745" y="2499"/>
                  </a:cubicBezTo>
                  <a:lnTo>
                    <a:pt x="13745" y="0"/>
                  </a:lnTo>
                  <a:lnTo>
                    <a:pt x="8946" y="0"/>
                  </a:lnTo>
                  <a:lnTo>
                    <a:pt x="8946" y="2678"/>
                  </a:lnTo>
                  <a:cubicBezTo>
                    <a:pt x="4146" y="3213"/>
                    <a:pt x="1309" y="4820"/>
                    <a:pt x="1309" y="7319"/>
                  </a:cubicBezTo>
                  <a:cubicBezTo>
                    <a:pt x="1309" y="11782"/>
                    <a:pt x="14618" y="11782"/>
                    <a:pt x="14618" y="14459"/>
                  </a:cubicBezTo>
                  <a:cubicBezTo>
                    <a:pt x="14618" y="15530"/>
                    <a:pt x="13309" y="16244"/>
                    <a:pt x="10473" y="16244"/>
                  </a:cubicBezTo>
                  <a:cubicBezTo>
                    <a:pt x="8073" y="16244"/>
                    <a:pt x="5891" y="15709"/>
                    <a:pt x="3273" y="14816"/>
                  </a:cubicBezTo>
                  <a:lnTo>
                    <a:pt x="0" y="17316"/>
                  </a:lnTo>
                  <a:cubicBezTo>
                    <a:pt x="2400" y="18387"/>
                    <a:pt x="5891" y="19101"/>
                    <a:pt x="8945" y="19279"/>
                  </a:cubicBezTo>
                  <a:lnTo>
                    <a:pt x="8945" y="21600"/>
                  </a:lnTo>
                  <a:close/>
                </a:path>
              </a:pathLst>
            </a:custGeom>
            <a:solidFill>
              <a:schemeClr val="accent6">
                <a:lumMod val="5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22" name="Triangle">
              <a:extLst>
                <a:ext uri="{FF2B5EF4-FFF2-40B4-BE49-F238E27FC236}">
                  <a16:creationId xmlns:a16="http://schemas.microsoft.com/office/drawing/2014/main" id="{98D79185-33E7-0A67-EA0D-0625ED596852}"/>
                </a:ext>
              </a:extLst>
            </p:cNvPr>
            <p:cNvSpPr/>
            <p:nvPr/>
          </p:nvSpPr>
          <p:spPr>
            <a:xfrm>
              <a:off x="6232393" y="2842193"/>
              <a:ext cx="489542" cy="8648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close/>
                </a:path>
              </a:pathLst>
            </a:custGeom>
            <a:solidFill>
              <a:schemeClr val="accent6">
                <a:lumMod val="40000"/>
                <a:lumOff val="6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23" name="Triangle">
              <a:extLst>
                <a:ext uri="{FF2B5EF4-FFF2-40B4-BE49-F238E27FC236}">
                  <a16:creationId xmlns:a16="http://schemas.microsoft.com/office/drawing/2014/main" id="{D741D5DE-B129-E69E-7C6B-5661B47656F7}"/>
                </a:ext>
              </a:extLst>
            </p:cNvPr>
            <p:cNvSpPr/>
            <p:nvPr/>
          </p:nvSpPr>
          <p:spPr>
            <a:xfrm>
              <a:off x="5351221" y="3707048"/>
              <a:ext cx="487908" cy="8648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close/>
                </a:path>
              </a:pathLst>
            </a:custGeom>
            <a:solidFill>
              <a:schemeClr val="accent6">
                <a:lumMod val="40000"/>
                <a:lumOff val="6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24" name="Shape">
              <a:extLst>
                <a:ext uri="{FF2B5EF4-FFF2-40B4-BE49-F238E27FC236}">
                  <a16:creationId xmlns:a16="http://schemas.microsoft.com/office/drawing/2014/main" id="{9983F54C-B6E3-9D97-6283-907056CEF9E4}"/>
                </a:ext>
              </a:extLst>
            </p:cNvPr>
            <p:cNvSpPr/>
            <p:nvPr/>
          </p:nvSpPr>
          <p:spPr>
            <a:xfrm>
              <a:off x="6330301" y="3021691"/>
              <a:ext cx="527075" cy="241508"/>
            </a:xfrm>
            <a:custGeom>
              <a:avLst/>
              <a:gdLst/>
              <a:ahLst/>
              <a:cxnLst>
                <a:cxn ang="0">
                  <a:pos x="wd2" y="hd2"/>
                </a:cxn>
                <a:cxn ang="5400000">
                  <a:pos x="wd2" y="hd2"/>
                </a:cxn>
                <a:cxn ang="10800000">
                  <a:pos x="wd2" y="hd2"/>
                </a:cxn>
                <a:cxn ang="16200000">
                  <a:pos x="wd2" y="hd2"/>
                </a:cxn>
              </a:cxnLst>
              <a:rect l="0" t="0" r="r" b="b"/>
              <a:pathLst>
                <a:path w="21600" h="21600" extrusionOk="0">
                  <a:moveTo>
                    <a:pt x="19928" y="0"/>
                  </a:moveTo>
                  <a:lnTo>
                    <a:pt x="21600" y="21600"/>
                  </a:lnTo>
                  <a:lnTo>
                    <a:pt x="0" y="18389"/>
                  </a:lnTo>
                  <a:lnTo>
                    <a:pt x="19928" y="18389"/>
                  </a:lnTo>
                  <a:close/>
                </a:path>
              </a:pathLst>
            </a:custGeom>
            <a:solidFill>
              <a:schemeClr val="accent6">
                <a:lumMod val="40000"/>
                <a:lumOff val="6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25" name="Shape">
              <a:extLst>
                <a:ext uri="{FF2B5EF4-FFF2-40B4-BE49-F238E27FC236}">
                  <a16:creationId xmlns:a16="http://schemas.microsoft.com/office/drawing/2014/main" id="{231B16E6-5952-76B7-18F7-D0817C1E9CFC}"/>
                </a:ext>
              </a:extLst>
            </p:cNvPr>
            <p:cNvSpPr/>
            <p:nvPr/>
          </p:nvSpPr>
          <p:spPr>
            <a:xfrm>
              <a:off x="5204357" y="2825874"/>
              <a:ext cx="386741" cy="107700"/>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lnTo>
                    <a:pt x="1914" y="10800"/>
                  </a:lnTo>
                  <a:lnTo>
                    <a:pt x="1914" y="0"/>
                  </a:lnTo>
                  <a:lnTo>
                    <a:pt x="0" y="21600"/>
                  </a:lnTo>
                  <a:close/>
                </a:path>
              </a:pathLst>
            </a:custGeom>
            <a:solidFill>
              <a:schemeClr val="accent6">
                <a:lumMod val="40000"/>
                <a:lumOff val="6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26" name="Shape">
              <a:extLst>
                <a:ext uri="{FF2B5EF4-FFF2-40B4-BE49-F238E27FC236}">
                  <a16:creationId xmlns:a16="http://schemas.microsoft.com/office/drawing/2014/main" id="{7F92D5FF-D825-EC03-FA87-1B7F83D9E74B}"/>
                </a:ext>
              </a:extLst>
            </p:cNvPr>
            <p:cNvSpPr/>
            <p:nvPr/>
          </p:nvSpPr>
          <p:spPr>
            <a:xfrm>
              <a:off x="6346620" y="3707048"/>
              <a:ext cx="541758" cy="143600"/>
            </a:xfrm>
            <a:custGeom>
              <a:avLst/>
              <a:gdLst/>
              <a:ahLst/>
              <a:cxnLst>
                <a:cxn ang="0">
                  <a:pos x="wd2" y="hd2"/>
                </a:cxn>
                <a:cxn ang="5400000">
                  <a:pos x="wd2" y="hd2"/>
                </a:cxn>
                <a:cxn ang="10800000">
                  <a:pos x="wd2" y="hd2"/>
                </a:cxn>
                <a:cxn ang="16200000">
                  <a:pos x="wd2" y="hd2"/>
                </a:cxn>
              </a:cxnLst>
              <a:rect l="0" t="0" r="r" b="b"/>
              <a:pathLst>
                <a:path w="21600" h="21600" extrusionOk="0">
                  <a:moveTo>
                    <a:pt x="0" y="10309"/>
                  </a:moveTo>
                  <a:lnTo>
                    <a:pt x="19193" y="10309"/>
                  </a:lnTo>
                  <a:lnTo>
                    <a:pt x="19193" y="0"/>
                  </a:lnTo>
                  <a:lnTo>
                    <a:pt x="21600" y="21600"/>
                  </a:lnTo>
                  <a:close/>
                </a:path>
              </a:pathLst>
            </a:custGeom>
            <a:solidFill>
              <a:schemeClr val="accent6">
                <a:lumMod val="40000"/>
                <a:lumOff val="6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27" name="Shape">
              <a:extLst>
                <a:ext uri="{FF2B5EF4-FFF2-40B4-BE49-F238E27FC236}">
                  <a16:creationId xmlns:a16="http://schemas.microsoft.com/office/drawing/2014/main" id="{FFD12391-D55D-110E-2C74-BBB6E1AB1B66}"/>
                </a:ext>
              </a:extLst>
            </p:cNvPr>
            <p:cNvSpPr/>
            <p:nvPr/>
          </p:nvSpPr>
          <p:spPr>
            <a:xfrm>
              <a:off x="5236994" y="3250144"/>
              <a:ext cx="1584483" cy="654351"/>
            </a:xfrm>
            <a:custGeom>
              <a:avLst/>
              <a:gdLst/>
              <a:ahLst/>
              <a:cxnLst>
                <a:cxn ang="0">
                  <a:pos x="wd2" y="hd2"/>
                </a:cxn>
                <a:cxn ang="5400000">
                  <a:pos x="wd2" y="hd2"/>
                </a:cxn>
                <a:cxn ang="10800000">
                  <a:pos x="wd2" y="hd2"/>
                </a:cxn>
                <a:cxn ang="16200000">
                  <a:pos x="wd2" y="hd2"/>
                </a:cxn>
              </a:cxnLst>
              <a:rect l="0" t="0" r="r" b="b"/>
              <a:pathLst>
                <a:path w="21600" h="21600" extrusionOk="0">
                  <a:moveTo>
                    <a:pt x="21600" y="5387"/>
                  </a:moveTo>
                  <a:lnTo>
                    <a:pt x="7697" y="5387"/>
                  </a:lnTo>
                  <a:lnTo>
                    <a:pt x="21600" y="6949"/>
                  </a:lnTo>
                  <a:lnTo>
                    <a:pt x="21600" y="5387"/>
                  </a:lnTo>
                  <a:lnTo>
                    <a:pt x="21600" y="5387"/>
                  </a:lnTo>
                  <a:close/>
                  <a:moveTo>
                    <a:pt x="5139" y="10935"/>
                  </a:moveTo>
                  <a:lnTo>
                    <a:pt x="6429" y="11096"/>
                  </a:lnTo>
                  <a:lnTo>
                    <a:pt x="7719" y="11258"/>
                  </a:lnTo>
                  <a:lnTo>
                    <a:pt x="6429" y="11419"/>
                  </a:lnTo>
                  <a:lnTo>
                    <a:pt x="5139" y="11581"/>
                  </a:lnTo>
                  <a:lnTo>
                    <a:pt x="3848" y="11419"/>
                  </a:lnTo>
                  <a:lnTo>
                    <a:pt x="2558" y="11258"/>
                  </a:lnTo>
                  <a:lnTo>
                    <a:pt x="3848" y="11096"/>
                  </a:lnTo>
                  <a:lnTo>
                    <a:pt x="5139" y="10935"/>
                  </a:lnTo>
                  <a:lnTo>
                    <a:pt x="5139" y="10935"/>
                  </a:lnTo>
                  <a:close/>
                  <a:moveTo>
                    <a:pt x="9899" y="20954"/>
                  </a:moveTo>
                  <a:lnTo>
                    <a:pt x="11723" y="21115"/>
                  </a:lnTo>
                  <a:lnTo>
                    <a:pt x="13547" y="21277"/>
                  </a:lnTo>
                  <a:lnTo>
                    <a:pt x="11723" y="21438"/>
                  </a:lnTo>
                  <a:lnTo>
                    <a:pt x="9899" y="21600"/>
                  </a:lnTo>
                  <a:lnTo>
                    <a:pt x="8075" y="21438"/>
                  </a:lnTo>
                  <a:lnTo>
                    <a:pt x="6251" y="21277"/>
                  </a:lnTo>
                  <a:lnTo>
                    <a:pt x="8075" y="21115"/>
                  </a:lnTo>
                  <a:lnTo>
                    <a:pt x="9899" y="20954"/>
                  </a:lnTo>
                  <a:lnTo>
                    <a:pt x="9899" y="20954"/>
                  </a:lnTo>
                  <a:close/>
                  <a:moveTo>
                    <a:pt x="0" y="0"/>
                  </a:moveTo>
                  <a:lnTo>
                    <a:pt x="7452" y="0"/>
                  </a:lnTo>
                  <a:lnTo>
                    <a:pt x="0" y="1077"/>
                  </a:lnTo>
                  <a:lnTo>
                    <a:pt x="0" y="0"/>
                  </a:lnTo>
                  <a:close/>
                </a:path>
              </a:pathLst>
            </a:custGeom>
            <a:solidFill>
              <a:schemeClr val="accent6">
                <a:lumMod val="5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grpSp>
      <p:grpSp>
        <p:nvGrpSpPr>
          <p:cNvPr id="28" name="Group 27">
            <a:extLst>
              <a:ext uri="{FF2B5EF4-FFF2-40B4-BE49-F238E27FC236}">
                <a16:creationId xmlns:a16="http://schemas.microsoft.com/office/drawing/2014/main" id="{7F164132-42BD-3070-FE3E-F01EC54635CC}"/>
              </a:ext>
            </a:extLst>
          </p:cNvPr>
          <p:cNvGrpSpPr/>
          <p:nvPr/>
        </p:nvGrpSpPr>
        <p:grpSpPr>
          <a:xfrm>
            <a:off x="4758789" y="3526110"/>
            <a:ext cx="1883101" cy="1858623"/>
            <a:chOff x="6526118" y="3005373"/>
            <a:chExt cx="1883101" cy="1858623"/>
          </a:xfrm>
        </p:grpSpPr>
        <p:sp>
          <p:nvSpPr>
            <p:cNvPr id="29" name="Triangle">
              <a:extLst>
                <a:ext uri="{FF2B5EF4-FFF2-40B4-BE49-F238E27FC236}">
                  <a16:creationId xmlns:a16="http://schemas.microsoft.com/office/drawing/2014/main" id="{C7DEDE4A-0DD4-1DC1-5D54-01FB78943C0B}"/>
                </a:ext>
              </a:extLst>
            </p:cNvPr>
            <p:cNvSpPr/>
            <p:nvPr/>
          </p:nvSpPr>
          <p:spPr>
            <a:xfrm>
              <a:off x="7864196" y="3902864"/>
              <a:ext cx="487909" cy="8485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close/>
                </a:path>
              </a:pathLst>
            </a:custGeom>
            <a:solidFill>
              <a:srgbClr val="C4DD9C"/>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30" name="Rectangle">
              <a:extLst>
                <a:ext uri="{FF2B5EF4-FFF2-40B4-BE49-F238E27FC236}">
                  <a16:creationId xmlns:a16="http://schemas.microsoft.com/office/drawing/2014/main" id="{FD8806E4-02E9-FAC7-D844-16BE92D04383}"/>
                </a:ext>
              </a:extLst>
            </p:cNvPr>
            <p:cNvSpPr/>
            <p:nvPr/>
          </p:nvSpPr>
          <p:spPr>
            <a:xfrm>
              <a:off x="6558754" y="3070645"/>
              <a:ext cx="1780296" cy="1793351"/>
            </a:xfrm>
            <a:prstGeom prst="rect">
              <a:avLst/>
            </a:prstGeom>
            <a:solidFill>
              <a:schemeClr val="accent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31" name="Rectangle">
              <a:extLst>
                <a:ext uri="{FF2B5EF4-FFF2-40B4-BE49-F238E27FC236}">
                  <a16:creationId xmlns:a16="http://schemas.microsoft.com/office/drawing/2014/main" id="{7E583574-0AB5-20DD-5359-3637DCA233D9}"/>
                </a:ext>
              </a:extLst>
            </p:cNvPr>
            <p:cNvSpPr/>
            <p:nvPr/>
          </p:nvSpPr>
          <p:spPr>
            <a:xfrm>
              <a:off x="6558754" y="3005373"/>
              <a:ext cx="1780296" cy="471591"/>
            </a:xfrm>
            <a:prstGeom prst="rect">
              <a:avLst/>
            </a:prstGeom>
            <a:solidFill>
              <a:schemeClr val="accent6">
                <a:lumMod val="40000"/>
                <a:lumOff val="6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32" name="Shape">
              <a:extLst>
                <a:ext uri="{FF2B5EF4-FFF2-40B4-BE49-F238E27FC236}">
                  <a16:creationId xmlns:a16="http://schemas.microsoft.com/office/drawing/2014/main" id="{5C9DB897-7808-6888-88B8-272C201821DE}"/>
                </a:ext>
              </a:extLst>
            </p:cNvPr>
            <p:cNvSpPr/>
            <p:nvPr/>
          </p:nvSpPr>
          <p:spPr>
            <a:xfrm>
              <a:off x="6624025" y="3054326"/>
              <a:ext cx="1653016" cy="381843"/>
            </a:xfrm>
            <a:custGeom>
              <a:avLst/>
              <a:gdLst/>
              <a:ahLst/>
              <a:cxnLst>
                <a:cxn ang="0">
                  <a:pos x="wd2" y="hd2"/>
                </a:cxn>
                <a:cxn ang="5400000">
                  <a:pos x="wd2" y="hd2"/>
                </a:cxn>
                <a:cxn ang="10800000">
                  <a:pos x="wd2" y="hd2"/>
                </a:cxn>
                <a:cxn ang="16200000">
                  <a:pos x="wd2" y="hd2"/>
                </a:cxn>
              </a:cxnLst>
              <a:rect l="0" t="0" r="r" b="b"/>
              <a:pathLst>
                <a:path w="21600" h="21600" extrusionOk="0">
                  <a:moveTo>
                    <a:pt x="2068" y="0"/>
                  </a:moveTo>
                  <a:lnTo>
                    <a:pt x="19532" y="0"/>
                  </a:lnTo>
                  <a:cubicBezTo>
                    <a:pt x="19532" y="2954"/>
                    <a:pt x="20449" y="5446"/>
                    <a:pt x="21600" y="5446"/>
                  </a:cubicBezTo>
                  <a:lnTo>
                    <a:pt x="21600" y="16154"/>
                  </a:lnTo>
                  <a:cubicBezTo>
                    <a:pt x="20470" y="16154"/>
                    <a:pt x="19532" y="18646"/>
                    <a:pt x="19532" y="21600"/>
                  </a:cubicBezTo>
                  <a:lnTo>
                    <a:pt x="2068" y="21600"/>
                  </a:lnTo>
                  <a:cubicBezTo>
                    <a:pt x="2068" y="18646"/>
                    <a:pt x="1151" y="16154"/>
                    <a:pt x="0" y="16154"/>
                  </a:cubicBezTo>
                  <a:lnTo>
                    <a:pt x="0" y="5446"/>
                  </a:lnTo>
                  <a:cubicBezTo>
                    <a:pt x="1151" y="5446"/>
                    <a:pt x="2068" y="2954"/>
                    <a:pt x="2068" y="0"/>
                  </a:cubicBezTo>
                  <a:lnTo>
                    <a:pt x="2068" y="0"/>
                  </a:lnTo>
                  <a:close/>
                  <a:moveTo>
                    <a:pt x="10811" y="2123"/>
                  </a:moveTo>
                  <a:cubicBezTo>
                    <a:pt x="9403" y="2123"/>
                    <a:pt x="8273" y="6000"/>
                    <a:pt x="8273" y="10800"/>
                  </a:cubicBezTo>
                  <a:cubicBezTo>
                    <a:pt x="8273" y="15600"/>
                    <a:pt x="9403" y="19477"/>
                    <a:pt x="10811" y="19477"/>
                  </a:cubicBezTo>
                  <a:cubicBezTo>
                    <a:pt x="12218" y="19477"/>
                    <a:pt x="13348" y="15600"/>
                    <a:pt x="13348" y="10800"/>
                  </a:cubicBezTo>
                  <a:cubicBezTo>
                    <a:pt x="13348" y="6000"/>
                    <a:pt x="12218" y="2123"/>
                    <a:pt x="10811" y="2123"/>
                  </a:cubicBezTo>
                  <a:lnTo>
                    <a:pt x="10811" y="2123"/>
                  </a:lnTo>
                  <a:close/>
                  <a:moveTo>
                    <a:pt x="5096" y="7754"/>
                  </a:moveTo>
                  <a:cubicBezTo>
                    <a:pt x="4478" y="7754"/>
                    <a:pt x="3966" y="9046"/>
                    <a:pt x="3966" y="10708"/>
                  </a:cubicBezTo>
                  <a:cubicBezTo>
                    <a:pt x="3966" y="12369"/>
                    <a:pt x="4478" y="13662"/>
                    <a:pt x="5096" y="13662"/>
                  </a:cubicBezTo>
                  <a:cubicBezTo>
                    <a:pt x="5714" y="13662"/>
                    <a:pt x="6226" y="12369"/>
                    <a:pt x="6226" y="10708"/>
                  </a:cubicBezTo>
                  <a:cubicBezTo>
                    <a:pt x="6226" y="9138"/>
                    <a:pt x="5714" y="7754"/>
                    <a:pt x="5096" y="7754"/>
                  </a:cubicBezTo>
                  <a:lnTo>
                    <a:pt x="5096" y="7754"/>
                  </a:lnTo>
                  <a:close/>
                  <a:moveTo>
                    <a:pt x="16248" y="7754"/>
                  </a:moveTo>
                  <a:cubicBezTo>
                    <a:pt x="15630" y="7754"/>
                    <a:pt x="15118" y="9046"/>
                    <a:pt x="15118" y="10708"/>
                  </a:cubicBezTo>
                  <a:cubicBezTo>
                    <a:pt x="15118" y="12369"/>
                    <a:pt x="15630" y="13662"/>
                    <a:pt x="16248" y="13662"/>
                  </a:cubicBezTo>
                  <a:cubicBezTo>
                    <a:pt x="16866" y="13662"/>
                    <a:pt x="17378" y="12369"/>
                    <a:pt x="17378" y="10708"/>
                  </a:cubicBezTo>
                  <a:cubicBezTo>
                    <a:pt x="17378" y="9138"/>
                    <a:pt x="16888" y="7754"/>
                    <a:pt x="16248" y="7754"/>
                  </a:cubicBezTo>
                  <a:close/>
                </a:path>
              </a:pathLst>
            </a:custGeom>
            <a:solidFill>
              <a:schemeClr val="accent6">
                <a:lumMod val="5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33" name="Shape">
              <a:extLst>
                <a:ext uri="{FF2B5EF4-FFF2-40B4-BE49-F238E27FC236}">
                  <a16:creationId xmlns:a16="http://schemas.microsoft.com/office/drawing/2014/main" id="{E18E7584-F72E-3490-4549-8B1E706A3479}"/>
                </a:ext>
              </a:extLst>
            </p:cNvPr>
            <p:cNvSpPr/>
            <p:nvPr/>
          </p:nvSpPr>
          <p:spPr>
            <a:xfrm>
              <a:off x="7358338" y="3135917"/>
              <a:ext cx="182759" cy="218663"/>
            </a:xfrm>
            <a:custGeom>
              <a:avLst/>
              <a:gdLst/>
              <a:ahLst/>
              <a:cxnLst>
                <a:cxn ang="0">
                  <a:pos x="wd2" y="hd2"/>
                </a:cxn>
                <a:cxn ang="5400000">
                  <a:pos x="wd2" y="hd2"/>
                </a:cxn>
                <a:cxn ang="10800000">
                  <a:pos x="wd2" y="hd2"/>
                </a:cxn>
                <a:cxn ang="16200000">
                  <a:pos x="wd2" y="hd2"/>
                </a:cxn>
              </a:cxnLst>
              <a:rect l="0" t="0" r="r" b="b"/>
              <a:pathLst>
                <a:path w="21600" h="21600" extrusionOk="0">
                  <a:moveTo>
                    <a:pt x="9064" y="21600"/>
                  </a:moveTo>
                  <a:lnTo>
                    <a:pt x="13886" y="21600"/>
                  </a:lnTo>
                  <a:lnTo>
                    <a:pt x="13886" y="19021"/>
                  </a:lnTo>
                  <a:cubicBezTo>
                    <a:pt x="19093" y="18537"/>
                    <a:pt x="21600" y="16603"/>
                    <a:pt x="21600" y="14185"/>
                  </a:cubicBezTo>
                  <a:cubicBezTo>
                    <a:pt x="21600" y="9349"/>
                    <a:pt x="8485" y="9510"/>
                    <a:pt x="8485" y="7092"/>
                  </a:cubicBezTo>
                  <a:cubicBezTo>
                    <a:pt x="8485" y="5964"/>
                    <a:pt x="9835" y="5481"/>
                    <a:pt x="12150" y="5481"/>
                  </a:cubicBezTo>
                  <a:cubicBezTo>
                    <a:pt x="14271" y="5481"/>
                    <a:pt x="15814" y="5964"/>
                    <a:pt x="17550" y="6770"/>
                  </a:cubicBezTo>
                  <a:lnTo>
                    <a:pt x="21214" y="4675"/>
                  </a:lnTo>
                  <a:cubicBezTo>
                    <a:pt x="19286" y="3707"/>
                    <a:pt x="16972" y="2740"/>
                    <a:pt x="13693" y="2579"/>
                  </a:cubicBezTo>
                  <a:lnTo>
                    <a:pt x="13693" y="0"/>
                  </a:lnTo>
                  <a:lnTo>
                    <a:pt x="8871" y="0"/>
                  </a:lnTo>
                  <a:lnTo>
                    <a:pt x="8871" y="2579"/>
                  </a:lnTo>
                  <a:cubicBezTo>
                    <a:pt x="4243" y="3063"/>
                    <a:pt x="1350" y="4836"/>
                    <a:pt x="1350" y="7254"/>
                  </a:cubicBezTo>
                  <a:cubicBezTo>
                    <a:pt x="1350" y="11928"/>
                    <a:pt x="14464" y="11767"/>
                    <a:pt x="14464" y="14508"/>
                  </a:cubicBezTo>
                  <a:cubicBezTo>
                    <a:pt x="14464" y="15636"/>
                    <a:pt x="13307" y="16281"/>
                    <a:pt x="10414" y="16281"/>
                  </a:cubicBezTo>
                  <a:cubicBezTo>
                    <a:pt x="8100" y="16281"/>
                    <a:pt x="5786" y="15797"/>
                    <a:pt x="3279" y="14830"/>
                  </a:cubicBezTo>
                  <a:lnTo>
                    <a:pt x="0" y="17409"/>
                  </a:lnTo>
                  <a:cubicBezTo>
                    <a:pt x="2314" y="18537"/>
                    <a:pt x="5786" y="19182"/>
                    <a:pt x="8872" y="19343"/>
                  </a:cubicBezTo>
                  <a:lnTo>
                    <a:pt x="8872" y="21600"/>
                  </a:lnTo>
                  <a:close/>
                </a:path>
              </a:pathLst>
            </a:custGeom>
            <a:solidFill>
              <a:schemeClr val="accent6">
                <a:lumMod val="5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34" name="Triangle">
              <a:extLst>
                <a:ext uri="{FF2B5EF4-FFF2-40B4-BE49-F238E27FC236}">
                  <a16:creationId xmlns:a16="http://schemas.microsoft.com/office/drawing/2014/main" id="{E9E277A1-B8DA-D8E1-6DCB-829EC9A5F733}"/>
                </a:ext>
              </a:extLst>
            </p:cNvPr>
            <p:cNvSpPr/>
            <p:nvPr/>
          </p:nvSpPr>
          <p:spPr>
            <a:xfrm>
              <a:off x="7684697" y="3592822"/>
              <a:ext cx="548287" cy="962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close/>
                </a:path>
              </a:pathLst>
            </a:custGeom>
            <a:solidFill>
              <a:schemeClr val="accent6">
                <a:lumMod val="40000"/>
                <a:lumOff val="6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35" name="Triangle">
              <a:extLst>
                <a:ext uri="{FF2B5EF4-FFF2-40B4-BE49-F238E27FC236}">
                  <a16:creationId xmlns:a16="http://schemas.microsoft.com/office/drawing/2014/main" id="{1DB173A9-7CD8-029D-F0EB-63A10AF534FE}"/>
                </a:ext>
              </a:extLst>
            </p:cNvPr>
            <p:cNvSpPr/>
            <p:nvPr/>
          </p:nvSpPr>
          <p:spPr>
            <a:xfrm>
              <a:off x="6689299" y="4555585"/>
              <a:ext cx="548288" cy="9627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close/>
                </a:path>
              </a:pathLst>
            </a:custGeom>
            <a:solidFill>
              <a:schemeClr val="accent6">
                <a:lumMod val="40000"/>
                <a:lumOff val="6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36" name="Shape">
              <a:extLst>
                <a:ext uri="{FF2B5EF4-FFF2-40B4-BE49-F238E27FC236}">
                  <a16:creationId xmlns:a16="http://schemas.microsoft.com/office/drawing/2014/main" id="{E2D58DF7-6F23-878C-B655-B44810258186}"/>
                </a:ext>
              </a:extLst>
            </p:cNvPr>
            <p:cNvSpPr/>
            <p:nvPr/>
          </p:nvSpPr>
          <p:spPr>
            <a:xfrm>
              <a:off x="7798924" y="3788638"/>
              <a:ext cx="592343" cy="270879"/>
            </a:xfrm>
            <a:custGeom>
              <a:avLst/>
              <a:gdLst/>
              <a:ahLst/>
              <a:cxnLst>
                <a:cxn ang="0">
                  <a:pos x="wd2" y="hd2"/>
                </a:cxn>
                <a:cxn ang="5400000">
                  <a:pos x="wd2" y="hd2"/>
                </a:cxn>
                <a:cxn ang="10800000">
                  <a:pos x="wd2" y="hd2"/>
                </a:cxn>
                <a:cxn ang="16200000">
                  <a:pos x="wd2" y="hd2"/>
                </a:cxn>
              </a:cxnLst>
              <a:rect l="0" t="0" r="r" b="b"/>
              <a:pathLst>
                <a:path w="21600" h="21600" extrusionOk="0">
                  <a:moveTo>
                    <a:pt x="19934" y="0"/>
                  </a:moveTo>
                  <a:lnTo>
                    <a:pt x="21600" y="21600"/>
                  </a:lnTo>
                  <a:lnTo>
                    <a:pt x="0" y="18347"/>
                  </a:lnTo>
                  <a:lnTo>
                    <a:pt x="19934" y="18347"/>
                  </a:lnTo>
                  <a:close/>
                </a:path>
              </a:pathLst>
            </a:custGeom>
            <a:solidFill>
              <a:schemeClr val="accent6">
                <a:lumMod val="40000"/>
                <a:lumOff val="6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37" name="Shape">
              <a:extLst>
                <a:ext uri="{FF2B5EF4-FFF2-40B4-BE49-F238E27FC236}">
                  <a16:creationId xmlns:a16="http://schemas.microsoft.com/office/drawing/2014/main" id="{3423B7A2-5D31-4FFA-3F30-67DCC102E1AA}"/>
                </a:ext>
              </a:extLst>
            </p:cNvPr>
            <p:cNvSpPr/>
            <p:nvPr/>
          </p:nvSpPr>
          <p:spPr>
            <a:xfrm>
              <a:off x="6526118" y="3576503"/>
              <a:ext cx="434061" cy="122386"/>
            </a:xfrm>
            <a:custGeom>
              <a:avLst/>
              <a:gdLst/>
              <a:ahLst/>
              <a:cxnLst>
                <a:cxn ang="0">
                  <a:pos x="wd2" y="hd2"/>
                </a:cxn>
                <a:cxn ang="5400000">
                  <a:pos x="wd2" y="hd2"/>
                </a:cxn>
                <a:cxn ang="10800000">
                  <a:pos x="wd2" y="hd2"/>
                </a:cxn>
                <a:cxn ang="16200000">
                  <a:pos x="wd2" y="hd2"/>
                </a:cxn>
              </a:cxnLst>
              <a:rect l="0" t="0" r="r" b="b"/>
              <a:pathLst>
                <a:path w="21600" h="21600" extrusionOk="0">
                  <a:moveTo>
                    <a:pt x="21600" y="10944"/>
                  </a:moveTo>
                  <a:lnTo>
                    <a:pt x="1868" y="10944"/>
                  </a:lnTo>
                  <a:lnTo>
                    <a:pt x="1868" y="0"/>
                  </a:lnTo>
                  <a:lnTo>
                    <a:pt x="0" y="21600"/>
                  </a:lnTo>
                  <a:close/>
                </a:path>
              </a:pathLst>
            </a:custGeom>
            <a:solidFill>
              <a:schemeClr val="accent6">
                <a:lumMod val="40000"/>
                <a:lumOff val="6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38" name="Shape">
              <a:extLst>
                <a:ext uri="{FF2B5EF4-FFF2-40B4-BE49-F238E27FC236}">
                  <a16:creationId xmlns:a16="http://schemas.microsoft.com/office/drawing/2014/main" id="{9A61CF4F-8D1F-91B0-5C5D-E1DC1DB5EC0B}"/>
                </a:ext>
              </a:extLst>
            </p:cNvPr>
            <p:cNvSpPr/>
            <p:nvPr/>
          </p:nvSpPr>
          <p:spPr>
            <a:xfrm>
              <a:off x="7798924" y="4571902"/>
              <a:ext cx="610295" cy="159919"/>
            </a:xfrm>
            <a:custGeom>
              <a:avLst/>
              <a:gdLst/>
              <a:ahLst/>
              <a:cxnLst>
                <a:cxn ang="0">
                  <a:pos x="wd2" y="hd2"/>
                </a:cxn>
                <a:cxn ang="5400000">
                  <a:pos x="wd2" y="hd2"/>
                </a:cxn>
                <a:cxn ang="10800000">
                  <a:pos x="wd2" y="hd2"/>
                </a:cxn>
                <a:cxn ang="16200000">
                  <a:pos x="wd2" y="hd2"/>
                </a:cxn>
              </a:cxnLst>
              <a:rect l="0" t="0" r="r" b="b"/>
              <a:pathLst>
                <a:path w="21600" h="21600" extrusionOk="0">
                  <a:moveTo>
                    <a:pt x="0" y="10359"/>
                  </a:moveTo>
                  <a:lnTo>
                    <a:pt x="19174" y="10359"/>
                  </a:lnTo>
                  <a:lnTo>
                    <a:pt x="19174" y="0"/>
                  </a:lnTo>
                  <a:lnTo>
                    <a:pt x="21600" y="21600"/>
                  </a:lnTo>
                  <a:close/>
                </a:path>
              </a:pathLst>
            </a:custGeom>
            <a:solidFill>
              <a:schemeClr val="accent6">
                <a:lumMod val="40000"/>
                <a:lumOff val="6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39" name="Shape">
              <a:extLst>
                <a:ext uri="{FF2B5EF4-FFF2-40B4-BE49-F238E27FC236}">
                  <a16:creationId xmlns:a16="http://schemas.microsoft.com/office/drawing/2014/main" id="{52713707-F298-ACC3-9336-F31574ACE500}"/>
                </a:ext>
              </a:extLst>
            </p:cNvPr>
            <p:cNvSpPr/>
            <p:nvPr/>
          </p:nvSpPr>
          <p:spPr>
            <a:xfrm>
              <a:off x="6558754" y="4033409"/>
              <a:ext cx="1781931" cy="732681"/>
            </a:xfrm>
            <a:custGeom>
              <a:avLst/>
              <a:gdLst/>
              <a:ahLst/>
              <a:cxnLst>
                <a:cxn ang="0">
                  <a:pos x="wd2" y="hd2"/>
                </a:cxn>
                <a:cxn ang="5400000">
                  <a:pos x="wd2" y="hd2"/>
                </a:cxn>
                <a:cxn ang="10800000">
                  <a:pos x="wd2" y="hd2"/>
                </a:cxn>
                <a:cxn ang="16200000">
                  <a:pos x="wd2" y="hd2"/>
                </a:cxn>
              </a:cxnLst>
              <a:rect l="0" t="0" r="r" b="b"/>
              <a:pathLst>
                <a:path w="21600" h="21600" extrusionOk="0">
                  <a:moveTo>
                    <a:pt x="21600" y="5388"/>
                  </a:moveTo>
                  <a:lnTo>
                    <a:pt x="7714" y="5388"/>
                  </a:lnTo>
                  <a:lnTo>
                    <a:pt x="21600" y="6976"/>
                  </a:lnTo>
                  <a:lnTo>
                    <a:pt x="21600" y="5388"/>
                  </a:lnTo>
                  <a:lnTo>
                    <a:pt x="21600" y="5388"/>
                  </a:lnTo>
                  <a:close/>
                  <a:moveTo>
                    <a:pt x="5143" y="10968"/>
                  </a:moveTo>
                  <a:lnTo>
                    <a:pt x="6429" y="11113"/>
                  </a:lnTo>
                  <a:lnTo>
                    <a:pt x="7714" y="11257"/>
                  </a:lnTo>
                  <a:lnTo>
                    <a:pt x="6429" y="11401"/>
                  </a:lnTo>
                  <a:lnTo>
                    <a:pt x="5143" y="11546"/>
                  </a:lnTo>
                  <a:lnTo>
                    <a:pt x="3857" y="11401"/>
                  </a:lnTo>
                  <a:lnTo>
                    <a:pt x="2571" y="11257"/>
                  </a:lnTo>
                  <a:lnTo>
                    <a:pt x="3857" y="11113"/>
                  </a:lnTo>
                  <a:lnTo>
                    <a:pt x="5143" y="10968"/>
                  </a:lnTo>
                  <a:lnTo>
                    <a:pt x="5143" y="10968"/>
                  </a:lnTo>
                  <a:close/>
                  <a:moveTo>
                    <a:pt x="9890" y="21023"/>
                  </a:moveTo>
                  <a:lnTo>
                    <a:pt x="11710" y="21167"/>
                  </a:lnTo>
                  <a:lnTo>
                    <a:pt x="13530" y="21311"/>
                  </a:lnTo>
                  <a:lnTo>
                    <a:pt x="11710" y="21456"/>
                  </a:lnTo>
                  <a:lnTo>
                    <a:pt x="9890" y="21600"/>
                  </a:lnTo>
                  <a:lnTo>
                    <a:pt x="8070" y="21456"/>
                  </a:lnTo>
                  <a:lnTo>
                    <a:pt x="6251" y="21311"/>
                  </a:lnTo>
                  <a:lnTo>
                    <a:pt x="8070" y="21167"/>
                  </a:lnTo>
                  <a:lnTo>
                    <a:pt x="9890" y="21023"/>
                  </a:lnTo>
                  <a:lnTo>
                    <a:pt x="9890" y="21023"/>
                  </a:lnTo>
                  <a:close/>
                  <a:moveTo>
                    <a:pt x="0" y="0"/>
                  </a:moveTo>
                  <a:lnTo>
                    <a:pt x="7437" y="0"/>
                  </a:lnTo>
                  <a:lnTo>
                    <a:pt x="0" y="1106"/>
                  </a:lnTo>
                  <a:lnTo>
                    <a:pt x="0" y="0"/>
                  </a:lnTo>
                  <a:close/>
                </a:path>
              </a:pathLst>
            </a:custGeom>
            <a:solidFill>
              <a:schemeClr val="accent6">
                <a:lumMod val="5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grpSp>
      <p:grpSp>
        <p:nvGrpSpPr>
          <p:cNvPr id="40" name="Group 39">
            <a:extLst>
              <a:ext uri="{FF2B5EF4-FFF2-40B4-BE49-F238E27FC236}">
                <a16:creationId xmlns:a16="http://schemas.microsoft.com/office/drawing/2014/main" id="{63BE80F0-EFF8-85BC-E8A8-13B8F623CA77}"/>
              </a:ext>
            </a:extLst>
          </p:cNvPr>
          <p:cNvGrpSpPr/>
          <p:nvPr/>
        </p:nvGrpSpPr>
        <p:grpSpPr>
          <a:xfrm>
            <a:off x="7499320" y="4518945"/>
            <a:ext cx="1812935" cy="742471"/>
            <a:chOff x="8973822" y="3902864"/>
            <a:chExt cx="1812935" cy="742471"/>
          </a:xfrm>
        </p:grpSpPr>
        <p:sp>
          <p:nvSpPr>
            <p:cNvPr id="41" name="Rectangle">
              <a:extLst>
                <a:ext uri="{FF2B5EF4-FFF2-40B4-BE49-F238E27FC236}">
                  <a16:creationId xmlns:a16="http://schemas.microsoft.com/office/drawing/2014/main" id="{8D90DA08-080D-8281-6216-3E5EED4D2BDA}"/>
                </a:ext>
              </a:extLst>
            </p:cNvPr>
            <p:cNvSpPr/>
            <p:nvPr/>
          </p:nvSpPr>
          <p:spPr>
            <a:xfrm>
              <a:off x="9006458" y="3968137"/>
              <a:ext cx="1780299" cy="677198"/>
            </a:xfrm>
            <a:prstGeom prst="rect">
              <a:avLst/>
            </a:prstGeom>
            <a:solidFill>
              <a:schemeClr val="accent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42" name="Rectangle">
              <a:extLst>
                <a:ext uri="{FF2B5EF4-FFF2-40B4-BE49-F238E27FC236}">
                  <a16:creationId xmlns:a16="http://schemas.microsoft.com/office/drawing/2014/main" id="{A169A485-9D2E-F9E8-6AAC-64E61D852959}"/>
                </a:ext>
              </a:extLst>
            </p:cNvPr>
            <p:cNvSpPr/>
            <p:nvPr/>
          </p:nvSpPr>
          <p:spPr>
            <a:xfrm>
              <a:off x="9006458" y="3902864"/>
              <a:ext cx="1780299" cy="471591"/>
            </a:xfrm>
            <a:prstGeom prst="rect">
              <a:avLst/>
            </a:prstGeom>
            <a:solidFill>
              <a:schemeClr val="accent6">
                <a:lumMod val="40000"/>
                <a:lumOff val="6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43" name="Shape">
              <a:extLst>
                <a:ext uri="{FF2B5EF4-FFF2-40B4-BE49-F238E27FC236}">
                  <a16:creationId xmlns:a16="http://schemas.microsoft.com/office/drawing/2014/main" id="{BF081747-C1FB-BF04-96DA-92B189C89729}"/>
                </a:ext>
              </a:extLst>
            </p:cNvPr>
            <p:cNvSpPr/>
            <p:nvPr/>
          </p:nvSpPr>
          <p:spPr>
            <a:xfrm>
              <a:off x="9071729" y="3951817"/>
              <a:ext cx="1653016" cy="381843"/>
            </a:xfrm>
            <a:custGeom>
              <a:avLst/>
              <a:gdLst/>
              <a:ahLst/>
              <a:cxnLst>
                <a:cxn ang="0">
                  <a:pos x="wd2" y="hd2"/>
                </a:cxn>
                <a:cxn ang="5400000">
                  <a:pos x="wd2" y="hd2"/>
                </a:cxn>
                <a:cxn ang="10800000">
                  <a:pos x="wd2" y="hd2"/>
                </a:cxn>
                <a:cxn ang="16200000">
                  <a:pos x="wd2" y="hd2"/>
                </a:cxn>
              </a:cxnLst>
              <a:rect l="0" t="0" r="r" b="b"/>
              <a:pathLst>
                <a:path w="21600" h="21600" extrusionOk="0">
                  <a:moveTo>
                    <a:pt x="2068" y="0"/>
                  </a:moveTo>
                  <a:lnTo>
                    <a:pt x="19532" y="0"/>
                  </a:lnTo>
                  <a:cubicBezTo>
                    <a:pt x="19532" y="2954"/>
                    <a:pt x="20449" y="5446"/>
                    <a:pt x="21600" y="5446"/>
                  </a:cubicBezTo>
                  <a:lnTo>
                    <a:pt x="21600" y="16154"/>
                  </a:lnTo>
                  <a:cubicBezTo>
                    <a:pt x="20470" y="16154"/>
                    <a:pt x="19532" y="18646"/>
                    <a:pt x="19532" y="21600"/>
                  </a:cubicBezTo>
                  <a:lnTo>
                    <a:pt x="2068" y="21600"/>
                  </a:lnTo>
                  <a:cubicBezTo>
                    <a:pt x="2068" y="18646"/>
                    <a:pt x="1151" y="16154"/>
                    <a:pt x="0" y="16154"/>
                  </a:cubicBezTo>
                  <a:lnTo>
                    <a:pt x="0" y="5446"/>
                  </a:lnTo>
                  <a:cubicBezTo>
                    <a:pt x="1130" y="5446"/>
                    <a:pt x="2068" y="2954"/>
                    <a:pt x="2068" y="0"/>
                  </a:cubicBezTo>
                  <a:lnTo>
                    <a:pt x="2068" y="0"/>
                  </a:lnTo>
                  <a:close/>
                  <a:moveTo>
                    <a:pt x="10789" y="2123"/>
                  </a:moveTo>
                  <a:cubicBezTo>
                    <a:pt x="9382" y="2123"/>
                    <a:pt x="8252" y="6000"/>
                    <a:pt x="8252" y="10800"/>
                  </a:cubicBezTo>
                  <a:cubicBezTo>
                    <a:pt x="8252" y="15600"/>
                    <a:pt x="9382" y="19477"/>
                    <a:pt x="10789" y="19477"/>
                  </a:cubicBezTo>
                  <a:cubicBezTo>
                    <a:pt x="12197" y="19477"/>
                    <a:pt x="13327" y="15600"/>
                    <a:pt x="13327" y="10800"/>
                  </a:cubicBezTo>
                  <a:cubicBezTo>
                    <a:pt x="13327" y="6000"/>
                    <a:pt x="12197" y="2123"/>
                    <a:pt x="10789" y="2123"/>
                  </a:cubicBezTo>
                  <a:lnTo>
                    <a:pt x="10789" y="2123"/>
                  </a:lnTo>
                  <a:close/>
                  <a:moveTo>
                    <a:pt x="5075" y="7846"/>
                  </a:moveTo>
                  <a:cubicBezTo>
                    <a:pt x="4456" y="7846"/>
                    <a:pt x="3945" y="9138"/>
                    <a:pt x="3945" y="10800"/>
                  </a:cubicBezTo>
                  <a:cubicBezTo>
                    <a:pt x="3945" y="12462"/>
                    <a:pt x="4456" y="13754"/>
                    <a:pt x="5075" y="13754"/>
                  </a:cubicBezTo>
                  <a:cubicBezTo>
                    <a:pt x="5693" y="13754"/>
                    <a:pt x="6205" y="12462"/>
                    <a:pt x="6205" y="10800"/>
                  </a:cubicBezTo>
                  <a:cubicBezTo>
                    <a:pt x="6205" y="9138"/>
                    <a:pt x="5693" y="7846"/>
                    <a:pt x="5075" y="7846"/>
                  </a:cubicBezTo>
                  <a:lnTo>
                    <a:pt x="5075" y="7846"/>
                  </a:lnTo>
                  <a:close/>
                  <a:moveTo>
                    <a:pt x="16248" y="7846"/>
                  </a:moveTo>
                  <a:cubicBezTo>
                    <a:pt x="15630" y="7846"/>
                    <a:pt x="15118" y="9138"/>
                    <a:pt x="15118" y="10800"/>
                  </a:cubicBezTo>
                  <a:cubicBezTo>
                    <a:pt x="15118" y="12462"/>
                    <a:pt x="15630" y="13754"/>
                    <a:pt x="16248" y="13754"/>
                  </a:cubicBezTo>
                  <a:cubicBezTo>
                    <a:pt x="16866" y="13754"/>
                    <a:pt x="17378" y="12462"/>
                    <a:pt x="17378" y="10800"/>
                  </a:cubicBezTo>
                  <a:cubicBezTo>
                    <a:pt x="17357" y="9138"/>
                    <a:pt x="16866" y="7846"/>
                    <a:pt x="16248" y="7846"/>
                  </a:cubicBezTo>
                  <a:close/>
                </a:path>
              </a:pathLst>
            </a:custGeom>
            <a:solidFill>
              <a:schemeClr val="accent6">
                <a:lumMod val="5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44" name="Shape">
              <a:extLst>
                <a:ext uri="{FF2B5EF4-FFF2-40B4-BE49-F238E27FC236}">
                  <a16:creationId xmlns:a16="http://schemas.microsoft.com/office/drawing/2014/main" id="{C90816C3-8432-5E4F-FD45-42056CD2BE9B}"/>
                </a:ext>
              </a:extLst>
            </p:cNvPr>
            <p:cNvSpPr/>
            <p:nvPr/>
          </p:nvSpPr>
          <p:spPr>
            <a:xfrm>
              <a:off x="9806040" y="4033409"/>
              <a:ext cx="182764" cy="218663"/>
            </a:xfrm>
            <a:custGeom>
              <a:avLst/>
              <a:gdLst/>
              <a:ahLst/>
              <a:cxnLst>
                <a:cxn ang="0">
                  <a:pos x="wd2" y="hd2"/>
                </a:cxn>
                <a:cxn ang="5400000">
                  <a:pos x="wd2" y="hd2"/>
                </a:cxn>
                <a:cxn ang="10800000">
                  <a:pos x="wd2" y="hd2"/>
                </a:cxn>
                <a:cxn ang="16200000">
                  <a:pos x="wd2" y="hd2"/>
                </a:cxn>
              </a:cxnLst>
              <a:rect l="0" t="0" r="r" b="b"/>
              <a:pathLst>
                <a:path w="21600" h="21600" extrusionOk="0">
                  <a:moveTo>
                    <a:pt x="9064" y="21600"/>
                  </a:moveTo>
                  <a:lnTo>
                    <a:pt x="13886" y="21600"/>
                  </a:lnTo>
                  <a:lnTo>
                    <a:pt x="13886" y="19021"/>
                  </a:lnTo>
                  <a:cubicBezTo>
                    <a:pt x="19093" y="18537"/>
                    <a:pt x="21600" y="16603"/>
                    <a:pt x="21600" y="14185"/>
                  </a:cubicBezTo>
                  <a:cubicBezTo>
                    <a:pt x="21600" y="9349"/>
                    <a:pt x="8486" y="9510"/>
                    <a:pt x="8486" y="7092"/>
                  </a:cubicBezTo>
                  <a:cubicBezTo>
                    <a:pt x="8486" y="5964"/>
                    <a:pt x="9835" y="5481"/>
                    <a:pt x="12150" y="5481"/>
                  </a:cubicBezTo>
                  <a:cubicBezTo>
                    <a:pt x="14271" y="5481"/>
                    <a:pt x="15814" y="5964"/>
                    <a:pt x="17550" y="6770"/>
                  </a:cubicBezTo>
                  <a:lnTo>
                    <a:pt x="21214" y="4675"/>
                  </a:lnTo>
                  <a:cubicBezTo>
                    <a:pt x="19285" y="3707"/>
                    <a:pt x="16971" y="2740"/>
                    <a:pt x="13693" y="2579"/>
                  </a:cubicBezTo>
                  <a:lnTo>
                    <a:pt x="13693" y="0"/>
                  </a:lnTo>
                  <a:lnTo>
                    <a:pt x="8871" y="0"/>
                  </a:lnTo>
                  <a:lnTo>
                    <a:pt x="8871" y="2579"/>
                  </a:lnTo>
                  <a:cubicBezTo>
                    <a:pt x="4243" y="3063"/>
                    <a:pt x="1350" y="4836"/>
                    <a:pt x="1350" y="7254"/>
                  </a:cubicBezTo>
                  <a:cubicBezTo>
                    <a:pt x="1350" y="11928"/>
                    <a:pt x="14464" y="11767"/>
                    <a:pt x="14464" y="14508"/>
                  </a:cubicBezTo>
                  <a:cubicBezTo>
                    <a:pt x="14464" y="15636"/>
                    <a:pt x="13307" y="16281"/>
                    <a:pt x="10414" y="16281"/>
                  </a:cubicBezTo>
                  <a:cubicBezTo>
                    <a:pt x="8100" y="16281"/>
                    <a:pt x="5786" y="15797"/>
                    <a:pt x="3278" y="14830"/>
                  </a:cubicBezTo>
                  <a:lnTo>
                    <a:pt x="0" y="17409"/>
                  </a:lnTo>
                  <a:cubicBezTo>
                    <a:pt x="2314" y="18537"/>
                    <a:pt x="5786" y="19182"/>
                    <a:pt x="8872" y="19343"/>
                  </a:cubicBezTo>
                  <a:lnTo>
                    <a:pt x="8872" y="21600"/>
                  </a:lnTo>
                  <a:close/>
                </a:path>
              </a:pathLst>
            </a:custGeom>
            <a:solidFill>
              <a:schemeClr val="accent6">
                <a:lumMod val="5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45" name="Triangle">
              <a:extLst>
                <a:ext uri="{FF2B5EF4-FFF2-40B4-BE49-F238E27FC236}">
                  <a16:creationId xmlns:a16="http://schemas.microsoft.com/office/drawing/2014/main" id="{70F6CB51-5BCC-6BFE-2860-E2FAF9D31D9B}"/>
                </a:ext>
              </a:extLst>
            </p:cNvPr>
            <p:cNvSpPr/>
            <p:nvPr/>
          </p:nvSpPr>
          <p:spPr>
            <a:xfrm>
              <a:off x="10116082" y="4490313"/>
              <a:ext cx="549920" cy="4895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close/>
                </a:path>
              </a:pathLst>
            </a:custGeom>
            <a:solidFill>
              <a:schemeClr val="accent6">
                <a:lumMod val="40000"/>
                <a:lumOff val="6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46" name="Shape">
              <a:extLst>
                <a:ext uri="{FF2B5EF4-FFF2-40B4-BE49-F238E27FC236}">
                  <a16:creationId xmlns:a16="http://schemas.microsoft.com/office/drawing/2014/main" id="{4CE3A659-B749-956C-528E-4FBE91B83607}"/>
                </a:ext>
              </a:extLst>
            </p:cNvPr>
            <p:cNvSpPr/>
            <p:nvPr/>
          </p:nvSpPr>
          <p:spPr>
            <a:xfrm>
              <a:off x="8973822" y="4473994"/>
              <a:ext cx="434061" cy="122386"/>
            </a:xfrm>
            <a:custGeom>
              <a:avLst/>
              <a:gdLst/>
              <a:ahLst/>
              <a:cxnLst>
                <a:cxn ang="0">
                  <a:pos x="wd2" y="hd2"/>
                </a:cxn>
                <a:cxn ang="5400000">
                  <a:pos x="wd2" y="hd2"/>
                </a:cxn>
                <a:cxn ang="10800000">
                  <a:pos x="wd2" y="hd2"/>
                </a:cxn>
                <a:cxn ang="16200000">
                  <a:pos x="wd2" y="hd2"/>
                </a:cxn>
              </a:cxnLst>
              <a:rect l="0" t="0" r="r" b="b"/>
              <a:pathLst>
                <a:path w="21600" h="21600" extrusionOk="0">
                  <a:moveTo>
                    <a:pt x="21600" y="10656"/>
                  </a:moveTo>
                  <a:lnTo>
                    <a:pt x="1949" y="10656"/>
                  </a:lnTo>
                  <a:lnTo>
                    <a:pt x="1949" y="0"/>
                  </a:lnTo>
                  <a:lnTo>
                    <a:pt x="0" y="21600"/>
                  </a:lnTo>
                  <a:close/>
                </a:path>
              </a:pathLst>
            </a:custGeom>
            <a:solidFill>
              <a:schemeClr val="accent6">
                <a:lumMod val="40000"/>
                <a:lumOff val="6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grpSp>
      <p:grpSp>
        <p:nvGrpSpPr>
          <p:cNvPr id="50" name="Group 49">
            <a:extLst>
              <a:ext uri="{FF2B5EF4-FFF2-40B4-BE49-F238E27FC236}">
                <a16:creationId xmlns:a16="http://schemas.microsoft.com/office/drawing/2014/main" id="{6B6D032D-EB1A-065A-72F0-982AA8589AF4}"/>
              </a:ext>
            </a:extLst>
          </p:cNvPr>
          <p:cNvGrpSpPr/>
          <p:nvPr/>
        </p:nvGrpSpPr>
        <p:grpSpPr>
          <a:xfrm>
            <a:off x="5192850" y="459387"/>
            <a:ext cx="3915698" cy="2952146"/>
            <a:chOff x="8921977" y="1282059"/>
            <a:chExt cx="2926080" cy="2952146"/>
          </a:xfrm>
        </p:grpSpPr>
        <p:sp>
          <p:nvSpPr>
            <p:cNvPr id="51" name="TextBox 50">
              <a:extLst>
                <a:ext uri="{FF2B5EF4-FFF2-40B4-BE49-F238E27FC236}">
                  <a16:creationId xmlns:a16="http://schemas.microsoft.com/office/drawing/2014/main" id="{2AEE1461-AE0D-0E2B-D74D-C4D362E26A04}"/>
                </a:ext>
              </a:extLst>
            </p:cNvPr>
            <p:cNvSpPr txBox="1"/>
            <p:nvPr/>
          </p:nvSpPr>
          <p:spPr>
            <a:xfrm>
              <a:off x="8921977" y="1282059"/>
              <a:ext cx="2926080" cy="646331"/>
            </a:xfrm>
            <a:prstGeom prst="rect">
              <a:avLst/>
            </a:prstGeom>
            <a:noFill/>
          </p:spPr>
          <p:txBody>
            <a:bodyPr wrap="square" lIns="0" rIns="0" rtlCol="0" anchor="b">
              <a:spAutoFit/>
            </a:bodyPr>
            <a:lstStyle/>
            <a:p>
              <a:pPr algn="ctr"/>
              <a:r>
                <a:rPr lang="en-US" b="1" noProof="1"/>
                <a:t>Context Engineering</a:t>
              </a:r>
            </a:p>
          </p:txBody>
        </p:sp>
        <p:sp>
          <p:nvSpPr>
            <p:cNvPr id="52" name="TextBox 51">
              <a:extLst>
                <a:ext uri="{FF2B5EF4-FFF2-40B4-BE49-F238E27FC236}">
                  <a16:creationId xmlns:a16="http://schemas.microsoft.com/office/drawing/2014/main" id="{CCDE3C4C-CE47-7585-B22A-3944024F43A6}"/>
                </a:ext>
              </a:extLst>
            </p:cNvPr>
            <p:cNvSpPr txBox="1"/>
            <p:nvPr/>
          </p:nvSpPr>
          <p:spPr>
            <a:xfrm>
              <a:off x="8921977" y="1925881"/>
              <a:ext cx="2926080" cy="2308324"/>
            </a:xfrm>
            <a:prstGeom prst="rect">
              <a:avLst/>
            </a:prstGeom>
            <a:noFill/>
          </p:spPr>
          <p:txBody>
            <a:bodyPr wrap="square" lIns="0" rIns="0" rtlCol="0" anchor="t">
              <a:spAutoFit/>
            </a:bodyPr>
            <a:lstStyle/>
            <a:p>
              <a:pPr algn="just"/>
              <a:r>
                <a:rPr lang="en-US" sz="1600" noProof="1">
                  <a:solidFill>
                    <a:schemeClr val="tx1">
                      <a:lumMod val="65000"/>
                      <a:lumOff val="35000"/>
                    </a:schemeClr>
                  </a:solidFill>
                </a:rPr>
                <a:t>Most of the engineering goes into context engineering aka investing in everything around the LLM like data infrastructure. The context is more important than even the LLM!</a:t>
              </a:r>
            </a:p>
          </p:txBody>
        </p:sp>
      </p:grpSp>
      <p:grpSp>
        <p:nvGrpSpPr>
          <p:cNvPr id="53" name="Group 52">
            <a:extLst>
              <a:ext uri="{FF2B5EF4-FFF2-40B4-BE49-F238E27FC236}">
                <a16:creationId xmlns:a16="http://schemas.microsoft.com/office/drawing/2014/main" id="{096EBC58-79EF-DEC1-EDAA-F3147FA2D4C1}"/>
              </a:ext>
            </a:extLst>
          </p:cNvPr>
          <p:cNvGrpSpPr/>
          <p:nvPr/>
        </p:nvGrpSpPr>
        <p:grpSpPr>
          <a:xfrm>
            <a:off x="9606390" y="4278507"/>
            <a:ext cx="2201562" cy="1597929"/>
            <a:chOff x="8921977" y="1282059"/>
            <a:chExt cx="2926080" cy="1597929"/>
          </a:xfrm>
        </p:grpSpPr>
        <p:sp>
          <p:nvSpPr>
            <p:cNvPr id="54" name="TextBox 53">
              <a:extLst>
                <a:ext uri="{FF2B5EF4-FFF2-40B4-BE49-F238E27FC236}">
                  <a16:creationId xmlns:a16="http://schemas.microsoft.com/office/drawing/2014/main" id="{D161F5B4-EAE4-D10F-487F-EA025F672D96}"/>
                </a:ext>
              </a:extLst>
            </p:cNvPr>
            <p:cNvSpPr txBox="1"/>
            <p:nvPr/>
          </p:nvSpPr>
          <p:spPr>
            <a:xfrm>
              <a:off x="8921977" y="1282059"/>
              <a:ext cx="2926080" cy="646331"/>
            </a:xfrm>
            <a:prstGeom prst="rect">
              <a:avLst/>
            </a:prstGeom>
            <a:noFill/>
          </p:spPr>
          <p:txBody>
            <a:bodyPr wrap="square" lIns="0" rIns="0" rtlCol="0" anchor="b">
              <a:spAutoFit/>
            </a:bodyPr>
            <a:lstStyle/>
            <a:p>
              <a:pPr algn="ctr"/>
              <a:r>
                <a:rPr lang="en-US" b="1" noProof="1"/>
                <a:t>Frequent Checkpoints</a:t>
              </a:r>
            </a:p>
          </p:txBody>
        </p:sp>
        <p:sp>
          <p:nvSpPr>
            <p:cNvPr id="55" name="TextBox 54">
              <a:extLst>
                <a:ext uri="{FF2B5EF4-FFF2-40B4-BE49-F238E27FC236}">
                  <a16:creationId xmlns:a16="http://schemas.microsoft.com/office/drawing/2014/main" id="{A0B5F0C5-B8DB-AF3E-5F56-A9CB092990A0}"/>
                </a:ext>
              </a:extLst>
            </p:cNvPr>
            <p:cNvSpPr txBox="1"/>
            <p:nvPr/>
          </p:nvSpPr>
          <p:spPr>
            <a:xfrm>
              <a:off x="8921977" y="1925881"/>
              <a:ext cx="2926080" cy="954107"/>
            </a:xfrm>
            <a:prstGeom prst="rect">
              <a:avLst/>
            </a:prstGeom>
            <a:noFill/>
          </p:spPr>
          <p:txBody>
            <a:bodyPr wrap="square" lIns="0" rIns="0" rtlCol="0" anchor="t">
              <a:spAutoFit/>
            </a:bodyPr>
            <a:lstStyle/>
            <a:p>
              <a:r>
                <a:rPr lang="en-US" sz="1400" noProof="1">
                  <a:solidFill>
                    <a:schemeClr val="tx1">
                      <a:lumMod val="65000"/>
                      <a:lumOff val="35000"/>
                    </a:schemeClr>
                  </a:solidFill>
                </a:rPr>
                <a:t>Decision Context Maps which  were required to be verified prior to the final routing decision</a:t>
              </a:r>
            </a:p>
          </p:txBody>
        </p:sp>
      </p:grpSp>
      <p:grpSp>
        <p:nvGrpSpPr>
          <p:cNvPr id="56" name="Group 55">
            <a:extLst>
              <a:ext uri="{FF2B5EF4-FFF2-40B4-BE49-F238E27FC236}">
                <a16:creationId xmlns:a16="http://schemas.microsoft.com/office/drawing/2014/main" id="{78D049ED-F3D3-2588-B5E6-1F105ADE4B8B}"/>
              </a:ext>
            </a:extLst>
          </p:cNvPr>
          <p:cNvGrpSpPr/>
          <p:nvPr/>
        </p:nvGrpSpPr>
        <p:grpSpPr>
          <a:xfrm>
            <a:off x="1237722" y="3677341"/>
            <a:ext cx="2201562" cy="1105487"/>
            <a:chOff x="8921977" y="1559058"/>
            <a:chExt cx="2926080" cy="1105487"/>
          </a:xfrm>
        </p:grpSpPr>
        <p:sp>
          <p:nvSpPr>
            <p:cNvPr id="57" name="TextBox 56">
              <a:extLst>
                <a:ext uri="{FF2B5EF4-FFF2-40B4-BE49-F238E27FC236}">
                  <a16:creationId xmlns:a16="http://schemas.microsoft.com/office/drawing/2014/main" id="{59B83C9C-C163-AC23-253B-6CE2F0CD6EAF}"/>
                </a:ext>
              </a:extLst>
            </p:cNvPr>
            <p:cNvSpPr txBox="1"/>
            <p:nvPr/>
          </p:nvSpPr>
          <p:spPr>
            <a:xfrm>
              <a:off x="8921977" y="1559058"/>
              <a:ext cx="2926080" cy="369332"/>
            </a:xfrm>
            <a:prstGeom prst="rect">
              <a:avLst/>
            </a:prstGeom>
            <a:noFill/>
          </p:spPr>
          <p:txBody>
            <a:bodyPr wrap="square" lIns="0" rIns="0" rtlCol="0" anchor="b">
              <a:spAutoFit/>
            </a:bodyPr>
            <a:lstStyle/>
            <a:p>
              <a:pPr algn="ctr"/>
              <a:r>
                <a:rPr lang="en-US" b="1" noProof="1"/>
                <a:t>Environment</a:t>
              </a:r>
            </a:p>
          </p:txBody>
        </p:sp>
        <p:sp>
          <p:nvSpPr>
            <p:cNvPr id="58" name="TextBox 57">
              <a:extLst>
                <a:ext uri="{FF2B5EF4-FFF2-40B4-BE49-F238E27FC236}">
                  <a16:creationId xmlns:a16="http://schemas.microsoft.com/office/drawing/2014/main" id="{290FA359-72D1-7B52-9179-641B6415E2BD}"/>
                </a:ext>
              </a:extLst>
            </p:cNvPr>
            <p:cNvSpPr txBox="1"/>
            <p:nvPr/>
          </p:nvSpPr>
          <p:spPr>
            <a:xfrm>
              <a:off x="8921977" y="1925881"/>
              <a:ext cx="2926080" cy="738664"/>
            </a:xfrm>
            <a:prstGeom prst="rect">
              <a:avLst/>
            </a:prstGeom>
            <a:noFill/>
          </p:spPr>
          <p:txBody>
            <a:bodyPr wrap="square" lIns="0" rIns="0" rtlCol="0" anchor="t">
              <a:spAutoFit/>
            </a:bodyPr>
            <a:lstStyle/>
            <a:p>
              <a:r>
                <a:rPr lang="en-US" sz="1400" dirty="0"/>
                <a:t>AI systems need structure to understand their operational context.</a:t>
              </a:r>
            </a:p>
          </p:txBody>
        </p:sp>
      </p:grpSp>
      <p:grpSp>
        <p:nvGrpSpPr>
          <p:cNvPr id="59" name="Group 58">
            <a:extLst>
              <a:ext uri="{FF2B5EF4-FFF2-40B4-BE49-F238E27FC236}">
                <a16:creationId xmlns:a16="http://schemas.microsoft.com/office/drawing/2014/main" id="{864A37AD-CBEE-888F-C57A-54F9F76D103D}"/>
              </a:ext>
            </a:extLst>
          </p:cNvPr>
          <p:cNvGrpSpPr/>
          <p:nvPr/>
        </p:nvGrpSpPr>
        <p:grpSpPr>
          <a:xfrm>
            <a:off x="4070041" y="5398902"/>
            <a:ext cx="2884004" cy="1320930"/>
            <a:chOff x="8921977" y="1559058"/>
            <a:chExt cx="2926080" cy="1320930"/>
          </a:xfrm>
        </p:grpSpPr>
        <p:sp>
          <p:nvSpPr>
            <p:cNvPr id="60" name="TextBox 59">
              <a:extLst>
                <a:ext uri="{FF2B5EF4-FFF2-40B4-BE49-F238E27FC236}">
                  <a16:creationId xmlns:a16="http://schemas.microsoft.com/office/drawing/2014/main" id="{F3416331-40F0-A753-4B60-D92B2B43260D}"/>
                </a:ext>
              </a:extLst>
            </p:cNvPr>
            <p:cNvSpPr txBox="1"/>
            <p:nvPr/>
          </p:nvSpPr>
          <p:spPr>
            <a:xfrm>
              <a:off x="8921977" y="1559058"/>
              <a:ext cx="2926080" cy="369332"/>
            </a:xfrm>
            <a:prstGeom prst="rect">
              <a:avLst/>
            </a:prstGeom>
            <a:noFill/>
          </p:spPr>
          <p:txBody>
            <a:bodyPr wrap="square" lIns="0" rIns="0" rtlCol="0" anchor="b">
              <a:spAutoFit/>
            </a:bodyPr>
            <a:lstStyle/>
            <a:p>
              <a:r>
                <a:rPr lang="en-US" b="1" noProof="1"/>
                <a:t>Clear Protocols</a:t>
              </a:r>
            </a:p>
          </p:txBody>
        </p:sp>
        <p:sp>
          <p:nvSpPr>
            <p:cNvPr id="61" name="TextBox 60">
              <a:extLst>
                <a:ext uri="{FF2B5EF4-FFF2-40B4-BE49-F238E27FC236}">
                  <a16:creationId xmlns:a16="http://schemas.microsoft.com/office/drawing/2014/main" id="{739B4AD1-1184-3687-6EBF-78CE9A6AACC3}"/>
                </a:ext>
              </a:extLst>
            </p:cNvPr>
            <p:cNvSpPr txBox="1"/>
            <p:nvPr/>
          </p:nvSpPr>
          <p:spPr>
            <a:xfrm>
              <a:off x="8921977" y="1925881"/>
              <a:ext cx="2926080" cy="954107"/>
            </a:xfrm>
            <a:prstGeom prst="rect">
              <a:avLst/>
            </a:prstGeom>
            <a:noFill/>
          </p:spPr>
          <p:txBody>
            <a:bodyPr wrap="square" lIns="0" rIns="0" rtlCol="0" anchor="t">
              <a:spAutoFit/>
            </a:bodyPr>
            <a:lstStyle/>
            <a:p>
              <a:r>
                <a:rPr lang="en-US" sz="1400" noProof="1">
                  <a:solidFill>
                    <a:schemeClr val="tx1">
                      <a:lumMod val="65000"/>
                      <a:lumOff val="35000"/>
                    </a:schemeClr>
                  </a:solidFill>
                </a:rPr>
                <a:t>DA finance client built Decision Context Maps which  were required to be verified prior to the final routing decision </a:t>
              </a:r>
            </a:p>
          </p:txBody>
        </p:sp>
      </p:grpSp>
    </p:spTree>
    <p:extLst>
      <p:ext uri="{BB962C8B-B14F-4D97-AF65-F5344CB8AC3E}">
        <p14:creationId xmlns:p14="http://schemas.microsoft.com/office/powerpoint/2010/main" val="347739857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C58FF-EE6A-E14D-0CF5-586FC523436B}"/>
              </a:ext>
            </a:extLst>
          </p:cNvPr>
          <p:cNvSpPr>
            <a:spLocks noGrp="1"/>
          </p:cNvSpPr>
          <p:nvPr>
            <p:ph type="title"/>
          </p:nvPr>
        </p:nvSpPr>
        <p:spPr>
          <a:xfrm>
            <a:off x="30728" y="200734"/>
            <a:ext cx="11594895" cy="500124"/>
          </a:xfrm>
        </p:spPr>
        <p:txBody>
          <a:bodyPr/>
          <a:lstStyle/>
          <a:p>
            <a:r>
              <a:rPr lang="en-US" dirty="0"/>
              <a:t>Uncertainty with LRMs</a:t>
            </a:r>
          </a:p>
        </p:txBody>
      </p:sp>
      <p:cxnSp>
        <p:nvCxnSpPr>
          <p:cNvPr id="4" name="Straight Connector 3">
            <a:extLst>
              <a:ext uri="{FF2B5EF4-FFF2-40B4-BE49-F238E27FC236}">
                <a16:creationId xmlns:a16="http://schemas.microsoft.com/office/drawing/2014/main" id="{FF9357A2-2F7E-F1A5-E77B-BDAC1F39047B}"/>
              </a:ext>
            </a:extLst>
          </p:cNvPr>
          <p:cNvCxnSpPr>
            <a:cxnSpLocks/>
            <a:endCxn id="64" idx="3"/>
          </p:cNvCxnSpPr>
          <p:nvPr/>
        </p:nvCxnSpPr>
        <p:spPr>
          <a:xfrm>
            <a:off x="3947632" y="3449402"/>
            <a:ext cx="983085" cy="651629"/>
          </a:xfrm>
          <a:prstGeom prst="line">
            <a:avLst/>
          </a:prstGeom>
          <a:noFill/>
          <a:ln w="6350" cap="flat" cmpd="sng" algn="ctr">
            <a:solidFill>
              <a:sysClr val="windowText" lastClr="000000">
                <a:lumMod val="50000"/>
                <a:lumOff val="50000"/>
              </a:sysClr>
            </a:solidFill>
            <a:prstDash val="solid"/>
            <a:miter lim="800000"/>
          </a:ln>
          <a:effectLst/>
        </p:spPr>
      </p:cxnSp>
      <p:grpSp>
        <p:nvGrpSpPr>
          <p:cNvPr id="5" name="Group 4">
            <a:extLst>
              <a:ext uri="{FF2B5EF4-FFF2-40B4-BE49-F238E27FC236}">
                <a16:creationId xmlns:a16="http://schemas.microsoft.com/office/drawing/2014/main" id="{A90D0898-2754-66AB-3061-A9B3AA9A23FC}"/>
              </a:ext>
            </a:extLst>
          </p:cNvPr>
          <p:cNvGrpSpPr/>
          <p:nvPr/>
        </p:nvGrpSpPr>
        <p:grpSpPr>
          <a:xfrm>
            <a:off x="7106004" y="2342848"/>
            <a:ext cx="4499364" cy="1725445"/>
            <a:chOff x="7114318" y="2373465"/>
            <a:chExt cx="4499364" cy="1725445"/>
          </a:xfrm>
        </p:grpSpPr>
        <p:sp>
          <p:nvSpPr>
            <p:cNvPr id="6" name="TextBox 5">
              <a:extLst>
                <a:ext uri="{FF2B5EF4-FFF2-40B4-BE49-F238E27FC236}">
                  <a16:creationId xmlns:a16="http://schemas.microsoft.com/office/drawing/2014/main" id="{FC9E4BDE-A240-9A2C-D6FD-72F5143C0054}"/>
                </a:ext>
              </a:extLst>
            </p:cNvPr>
            <p:cNvSpPr txBox="1"/>
            <p:nvPr/>
          </p:nvSpPr>
          <p:spPr>
            <a:xfrm>
              <a:off x="7114318" y="2373465"/>
              <a:ext cx="4499364" cy="461665"/>
            </a:xfrm>
            <a:prstGeom prst="rect">
              <a:avLst/>
            </a:prstGeom>
            <a:noFill/>
          </p:spPr>
          <p:txBody>
            <a:bodyPr wrap="square" lIns="0" rIns="0" rtlCol="0" anchor="b">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all" spc="0" normalizeH="0" baseline="0" noProof="1">
                  <a:ln>
                    <a:noFill/>
                  </a:ln>
                  <a:solidFill>
                    <a:srgbClr val="D9126B"/>
                  </a:solidFill>
                  <a:effectLst/>
                  <a:uLnTx/>
                  <a:uFillTx/>
                </a:rPr>
                <a:t>Dynamic Outputs</a:t>
              </a:r>
            </a:p>
          </p:txBody>
        </p:sp>
        <p:sp>
          <p:nvSpPr>
            <p:cNvPr id="7" name="TextBox 6">
              <a:extLst>
                <a:ext uri="{FF2B5EF4-FFF2-40B4-BE49-F238E27FC236}">
                  <a16:creationId xmlns:a16="http://schemas.microsoft.com/office/drawing/2014/main" id="{74A37FC5-47EC-F0C8-1AE4-645E3E14CDEA}"/>
                </a:ext>
              </a:extLst>
            </p:cNvPr>
            <p:cNvSpPr txBox="1"/>
            <p:nvPr/>
          </p:nvSpPr>
          <p:spPr>
            <a:xfrm>
              <a:off x="7126259" y="2775471"/>
              <a:ext cx="4487423" cy="1323439"/>
            </a:xfrm>
            <a:prstGeom prst="rect">
              <a:avLst/>
            </a:prstGeom>
            <a:noFill/>
          </p:spPr>
          <p:txBody>
            <a:bodyPr wrap="square" lIns="0" r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1">
                  <a:ln>
                    <a:noFill/>
                  </a:ln>
                  <a:solidFill>
                    <a:prstClr val="black">
                      <a:lumMod val="65000"/>
                      <a:lumOff val="35000"/>
                    </a:prstClr>
                  </a:solidFill>
                  <a:effectLst/>
                  <a:uLnTx/>
                  <a:uFillTx/>
                </a:rPr>
                <a:t>LRMs produce dynamic content and can find themselves changing correct answers to better align with new reasoning paths. The dynamic network of pathways can lead to cascading chaos.</a:t>
              </a:r>
            </a:p>
          </p:txBody>
        </p:sp>
      </p:grpSp>
      <p:grpSp>
        <p:nvGrpSpPr>
          <p:cNvPr id="8" name="Group 7">
            <a:extLst>
              <a:ext uri="{FF2B5EF4-FFF2-40B4-BE49-F238E27FC236}">
                <a16:creationId xmlns:a16="http://schemas.microsoft.com/office/drawing/2014/main" id="{08703D4F-6894-501F-6D13-D5D49FF6DFAC}"/>
              </a:ext>
            </a:extLst>
          </p:cNvPr>
          <p:cNvGrpSpPr/>
          <p:nvPr/>
        </p:nvGrpSpPr>
        <p:grpSpPr>
          <a:xfrm>
            <a:off x="7106004" y="4099071"/>
            <a:ext cx="4499364" cy="2217888"/>
            <a:chOff x="7114318" y="3680421"/>
            <a:chExt cx="4499364" cy="2217888"/>
          </a:xfrm>
        </p:grpSpPr>
        <p:sp>
          <p:nvSpPr>
            <p:cNvPr id="9" name="TextBox 8">
              <a:extLst>
                <a:ext uri="{FF2B5EF4-FFF2-40B4-BE49-F238E27FC236}">
                  <a16:creationId xmlns:a16="http://schemas.microsoft.com/office/drawing/2014/main" id="{21009F83-5DFE-5BB2-5665-9B84046E4E02}"/>
                </a:ext>
              </a:extLst>
            </p:cNvPr>
            <p:cNvSpPr txBox="1"/>
            <p:nvPr/>
          </p:nvSpPr>
          <p:spPr>
            <a:xfrm>
              <a:off x="7114318" y="3680421"/>
              <a:ext cx="4499364" cy="461665"/>
            </a:xfrm>
            <a:prstGeom prst="rect">
              <a:avLst/>
            </a:prstGeom>
            <a:noFill/>
          </p:spPr>
          <p:txBody>
            <a:bodyPr wrap="square" lIns="0" rIns="0" rtlCol="0" anchor="b">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all" spc="0" normalizeH="0" baseline="0" noProof="1">
                  <a:ln>
                    <a:noFill/>
                  </a:ln>
                  <a:solidFill>
                    <a:srgbClr val="013D4D">
                      <a:lumMod val="75000"/>
                      <a:lumOff val="25000"/>
                    </a:srgbClr>
                  </a:solidFill>
                  <a:effectLst/>
                  <a:uLnTx/>
                  <a:uFillTx/>
                </a:rPr>
                <a:t>Opportunities</a:t>
              </a:r>
            </a:p>
          </p:txBody>
        </p:sp>
        <p:sp>
          <p:nvSpPr>
            <p:cNvPr id="10" name="TextBox 9">
              <a:extLst>
                <a:ext uri="{FF2B5EF4-FFF2-40B4-BE49-F238E27FC236}">
                  <a16:creationId xmlns:a16="http://schemas.microsoft.com/office/drawing/2014/main" id="{7E18883B-186D-C649-5373-C3E34F6C9265}"/>
                </a:ext>
              </a:extLst>
            </p:cNvPr>
            <p:cNvSpPr txBox="1"/>
            <p:nvPr/>
          </p:nvSpPr>
          <p:spPr>
            <a:xfrm>
              <a:off x="7126259" y="4082427"/>
              <a:ext cx="4487423" cy="1815882"/>
            </a:xfrm>
            <a:prstGeom prst="rect">
              <a:avLst/>
            </a:prstGeom>
            <a:noFill/>
          </p:spPr>
          <p:txBody>
            <a:bodyPr wrap="square" lIns="0" rIns="0" rtlCol="0" anchor="t">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1">
                  <a:ln>
                    <a:noFill/>
                  </a:ln>
                  <a:solidFill>
                    <a:prstClr val="black">
                      <a:lumMod val="65000"/>
                      <a:lumOff val="35000"/>
                    </a:prstClr>
                  </a:solidFill>
                  <a:effectLst/>
                  <a:uLnTx/>
                  <a:uFillTx/>
                </a:rPr>
                <a:t>The reasoning paths are opportunites to succeed, but sometimes more importantly to fail. Build software that allows for improvement over time and for the agents to learn from failure. </a:t>
              </a:r>
            </a:p>
            <a:p>
              <a:pPr marL="0" marR="0" lvl="0" indent="0" algn="just" defTabSz="914400" eaLnBrk="1" fontAlgn="auto" latinLnBrk="0" hangingPunct="1">
                <a:lnSpc>
                  <a:spcPct val="100000"/>
                </a:lnSpc>
                <a:spcBef>
                  <a:spcPts val="0"/>
                </a:spcBef>
                <a:spcAft>
                  <a:spcPts val="0"/>
                </a:spcAft>
                <a:buClrTx/>
                <a:buSzTx/>
                <a:buFontTx/>
                <a:buNone/>
                <a:tabLst/>
                <a:defRPr/>
              </a:pPr>
              <a:endParaRPr lang="en-US" sz="1600" kern="0" noProof="1">
                <a:solidFill>
                  <a:prstClr val="black">
                    <a:lumMod val="65000"/>
                    <a:lumOff val="35000"/>
                  </a:prstClr>
                </a:solidFill>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1">
                  <a:ln>
                    <a:noFill/>
                  </a:ln>
                  <a:solidFill>
                    <a:prstClr val="black">
                      <a:lumMod val="65000"/>
                      <a:lumOff val="35000"/>
                    </a:prstClr>
                  </a:solidFill>
                  <a:effectLst/>
                  <a:uLnTx/>
                  <a:uFillTx/>
                </a:rPr>
                <a:t>E.g. design a cache of known failure approaches and supply them to the model at decision time.</a:t>
              </a:r>
            </a:p>
          </p:txBody>
        </p:sp>
      </p:grpSp>
      <p:grpSp>
        <p:nvGrpSpPr>
          <p:cNvPr id="14" name="Group 13">
            <a:extLst>
              <a:ext uri="{FF2B5EF4-FFF2-40B4-BE49-F238E27FC236}">
                <a16:creationId xmlns:a16="http://schemas.microsoft.com/office/drawing/2014/main" id="{D109370F-E051-F1AB-303F-D45ECA456972}"/>
              </a:ext>
            </a:extLst>
          </p:cNvPr>
          <p:cNvGrpSpPr/>
          <p:nvPr/>
        </p:nvGrpSpPr>
        <p:grpSpPr>
          <a:xfrm>
            <a:off x="7117945" y="839355"/>
            <a:ext cx="4499364" cy="1479224"/>
            <a:chOff x="7114318" y="2373465"/>
            <a:chExt cx="4499364" cy="1479224"/>
          </a:xfrm>
        </p:grpSpPr>
        <p:sp>
          <p:nvSpPr>
            <p:cNvPr id="15" name="TextBox 14">
              <a:extLst>
                <a:ext uri="{FF2B5EF4-FFF2-40B4-BE49-F238E27FC236}">
                  <a16:creationId xmlns:a16="http://schemas.microsoft.com/office/drawing/2014/main" id="{FA4C57A8-9169-4B9F-B5D3-7D06218E9A0F}"/>
                </a:ext>
              </a:extLst>
            </p:cNvPr>
            <p:cNvSpPr txBox="1"/>
            <p:nvPr/>
          </p:nvSpPr>
          <p:spPr>
            <a:xfrm>
              <a:off x="7114318" y="2373465"/>
              <a:ext cx="4499364" cy="461665"/>
            </a:xfrm>
            <a:prstGeom prst="rect">
              <a:avLst/>
            </a:prstGeom>
            <a:noFill/>
          </p:spPr>
          <p:txBody>
            <a:bodyPr wrap="square" lIns="0" rIns="0" rtlCol="0" anchor="b">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all" spc="0" normalizeH="0" baseline="0" noProof="1">
                  <a:ln>
                    <a:noFill/>
                  </a:ln>
                  <a:solidFill>
                    <a:srgbClr val="00A891"/>
                  </a:solidFill>
                  <a:effectLst/>
                  <a:uLnTx/>
                  <a:uFillTx/>
                </a:rPr>
                <a:t>Hypothesis testing</a:t>
              </a:r>
            </a:p>
          </p:txBody>
        </p:sp>
        <p:sp>
          <p:nvSpPr>
            <p:cNvPr id="16" name="TextBox 15">
              <a:extLst>
                <a:ext uri="{FF2B5EF4-FFF2-40B4-BE49-F238E27FC236}">
                  <a16:creationId xmlns:a16="http://schemas.microsoft.com/office/drawing/2014/main" id="{0D979AAA-B095-64CE-863A-A0ECF45948ED}"/>
                </a:ext>
              </a:extLst>
            </p:cNvPr>
            <p:cNvSpPr txBox="1"/>
            <p:nvPr/>
          </p:nvSpPr>
          <p:spPr>
            <a:xfrm>
              <a:off x="7126259" y="2775471"/>
              <a:ext cx="4487423" cy="1077218"/>
            </a:xfrm>
            <a:prstGeom prst="rect">
              <a:avLst/>
            </a:prstGeom>
            <a:noFill/>
          </p:spPr>
          <p:txBody>
            <a:bodyPr wrap="square" lIns="0" r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1">
                  <a:ln>
                    <a:noFill/>
                  </a:ln>
                  <a:solidFill>
                    <a:prstClr val="black">
                      <a:lumMod val="65000"/>
                      <a:lumOff val="35000"/>
                    </a:prstClr>
                  </a:solidFill>
                  <a:effectLst/>
                  <a:uLnTx/>
                  <a:uFillTx/>
                </a:rPr>
                <a:t>LRMs have the benefit of proposing, testing, adnd validating potential solutions. This doesn’t come without its tradoffs. More hypothesis means more solutions must be validated.</a:t>
              </a:r>
            </a:p>
          </p:txBody>
        </p:sp>
      </p:grpSp>
      <p:cxnSp>
        <p:nvCxnSpPr>
          <p:cNvPr id="17" name="Straight Connector 16">
            <a:extLst>
              <a:ext uri="{FF2B5EF4-FFF2-40B4-BE49-F238E27FC236}">
                <a16:creationId xmlns:a16="http://schemas.microsoft.com/office/drawing/2014/main" id="{1C72A783-B2EE-9387-6EED-8538FA87A1E1}"/>
              </a:ext>
            </a:extLst>
          </p:cNvPr>
          <p:cNvCxnSpPr>
            <a:cxnSpLocks/>
            <a:endCxn id="64" idx="1"/>
          </p:cNvCxnSpPr>
          <p:nvPr/>
        </p:nvCxnSpPr>
        <p:spPr>
          <a:xfrm flipH="1">
            <a:off x="2984350" y="3449402"/>
            <a:ext cx="963282" cy="651629"/>
          </a:xfrm>
          <a:prstGeom prst="line">
            <a:avLst/>
          </a:prstGeom>
          <a:noFill/>
          <a:ln w="6350" cap="flat" cmpd="sng" algn="ctr">
            <a:solidFill>
              <a:sysClr val="windowText" lastClr="000000">
                <a:lumMod val="50000"/>
                <a:lumOff val="50000"/>
              </a:sysClr>
            </a:solidFill>
            <a:prstDash val="solid"/>
            <a:miter lim="800000"/>
          </a:ln>
          <a:effectLst/>
        </p:spPr>
      </p:cxnSp>
      <p:grpSp>
        <p:nvGrpSpPr>
          <p:cNvPr id="18" name="Group 17">
            <a:extLst>
              <a:ext uri="{FF2B5EF4-FFF2-40B4-BE49-F238E27FC236}">
                <a16:creationId xmlns:a16="http://schemas.microsoft.com/office/drawing/2014/main" id="{3804F573-A63F-60DA-390B-2738249AFAA7}"/>
              </a:ext>
            </a:extLst>
          </p:cNvPr>
          <p:cNvGrpSpPr/>
          <p:nvPr/>
        </p:nvGrpSpPr>
        <p:grpSpPr>
          <a:xfrm>
            <a:off x="464821" y="749645"/>
            <a:ext cx="4256470" cy="6219870"/>
            <a:chOff x="808155" y="876148"/>
            <a:chExt cx="3913135" cy="5718163"/>
          </a:xfrm>
        </p:grpSpPr>
        <p:sp>
          <p:nvSpPr>
            <p:cNvPr id="19" name="Freeform: Shape 525">
              <a:extLst>
                <a:ext uri="{FF2B5EF4-FFF2-40B4-BE49-F238E27FC236}">
                  <a16:creationId xmlns:a16="http://schemas.microsoft.com/office/drawing/2014/main" id="{5680CABB-515B-3969-4E2A-F977853C9040}"/>
                </a:ext>
              </a:extLst>
            </p:cNvPr>
            <p:cNvSpPr/>
            <p:nvPr/>
          </p:nvSpPr>
          <p:spPr>
            <a:xfrm>
              <a:off x="808155" y="876148"/>
              <a:ext cx="3910132" cy="5716738"/>
            </a:xfrm>
            <a:custGeom>
              <a:avLst/>
              <a:gdLst>
                <a:gd name="connsiteX0" fmla="*/ 1027108 w 3910132"/>
                <a:gd name="connsiteY0" fmla="*/ 4469378 h 5716738"/>
                <a:gd name="connsiteX1" fmla="*/ 925576 w 3910132"/>
                <a:gd name="connsiteY1" fmla="*/ 4625529 h 5716738"/>
                <a:gd name="connsiteX2" fmla="*/ 925576 w 3910132"/>
                <a:gd name="connsiteY2" fmla="*/ 4749127 h 5716738"/>
                <a:gd name="connsiteX3" fmla="*/ 1027108 w 3910132"/>
                <a:gd name="connsiteY3" fmla="*/ 4743305 h 5716738"/>
                <a:gd name="connsiteX4" fmla="*/ 1160188 w 3910132"/>
                <a:gd name="connsiteY4" fmla="*/ 4454557 h 5716738"/>
                <a:gd name="connsiteX5" fmla="*/ 1160188 w 3910132"/>
                <a:gd name="connsiteY5" fmla="*/ 4743569 h 5716738"/>
                <a:gd name="connsiteX6" fmla="*/ 1229629 w 3910132"/>
                <a:gd name="connsiteY6" fmla="*/ 4747804 h 5716738"/>
                <a:gd name="connsiteX7" fmla="*/ 1229629 w 3910132"/>
                <a:gd name="connsiteY7" fmla="*/ 4622883 h 5716738"/>
                <a:gd name="connsiteX8" fmla="*/ 1229629 w 3910132"/>
                <a:gd name="connsiteY8" fmla="*/ 4168455 h 5716738"/>
                <a:gd name="connsiteX9" fmla="*/ 1160188 w 3910132"/>
                <a:gd name="connsiteY9" fmla="*/ 4302110 h 5716738"/>
                <a:gd name="connsiteX10" fmla="*/ 1160188 w 3910132"/>
                <a:gd name="connsiteY10" fmla="*/ 4314549 h 5716738"/>
                <a:gd name="connsiteX11" fmla="*/ 1229629 w 3910132"/>
                <a:gd name="connsiteY11" fmla="*/ 4482876 h 5716738"/>
                <a:gd name="connsiteX12" fmla="*/ 925576 w 3910132"/>
                <a:gd name="connsiteY12" fmla="*/ 4053326 h 5716738"/>
                <a:gd name="connsiteX13" fmla="*/ 925576 w 3910132"/>
                <a:gd name="connsiteY13" fmla="*/ 4527604 h 5716738"/>
                <a:gd name="connsiteX14" fmla="*/ 1027108 w 3910132"/>
                <a:gd name="connsiteY14" fmla="*/ 4371717 h 5716738"/>
                <a:gd name="connsiteX15" fmla="*/ 1027108 w 3910132"/>
                <a:gd name="connsiteY15" fmla="*/ 4237268 h 5716738"/>
                <a:gd name="connsiteX16" fmla="*/ 1027108 w 3910132"/>
                <a:gd name="connsiteY16" fmla="*/ 3863298 h 5716738"/>
                <a:gd name="connsiteX17" fmla="*/ 946245 w 3910132"/>
                <a:gd name="connsiteY17" fmla="*/ 3980808 h 5716738"/>
                <a:gd name="connsiteX18" fmla="*/ 1027108 w 3910132"/>
                <a:gd name="connsiteY18" fmla="*/ 4127167 h 5716738"/>
                <a:gd name="connsiteX19" fmla="*/ 1160188 w 3910132"/>
                <a:gd name="connsiteY19" fmla="*/ 3852976 h 5716738"/>
                <a:gd name="connsiteX20" fmla="*/ 1160188 w 3910132"/>
                <a:gd name="connsiteY20" fmla="*/ 4186187 h 5716738"/>
                <a:gd name="connsiteX21" fmla="*/ 1229629 w 3910132"/>
                <a:gd name="connsiteY21" fmla="*/ 4052532 h 5716738"/>
                <a:gd name="connsiteX22" fmla="*/ 1229629 w 3910132"/>
                <a:gd name="connsiteY22" fmla="*/ 4018920 h 5716738"/>
                <a:gd name="connsiteX23" fmla="*/ 1229629 w 3910132"/>
                <a:gd name="connsiteY23" fmla="*/ 3532732 h 5716738"/>
                <a:gd name="connsiteX24" fmla="*/ 1160188 w 3910132"/>
                <a:gd name="connsiteY24" fmla="*/ 3698941 h 5716738"/>
                <a:gd name="connsiteX25" fmla="*/ 1160188 w 3910132"/>
                <a:gd name="connsiteY25" fmla="*/ 3714821 h 5716738"/>
                <a:gd name="connsiteX26" fmla="*/ 1229629 w 3910132"/>
                <a:gd name="connsiteY26" fmla="*/ 3880765 h 5716738"/>
                <a:gd name="connsiteX27" fmla="*/ 925576 w 3910132"/>
                <a:gd name="connsiteY27" fmla="*/ 3441159 h 5716738"/>
                <a:gd name="connsiteX28" fmla="*/ 925576 w 3910132"/>
                <a:gd name="connsiteY28" fmla="*/ 3917024 h 5716738"/>
                <a:gd name="connsiteX29" fmla="*/ 1027108 w 3910132"/>
                <a:gd name="connsiteY29" fmla="*/ 3769342 h 5716738"/>
                <a:gd name="connsiteX30" fmla="*/ 1027108 w 3910132"/>
                <a:gd name="connsiteY30" fmla="*/ 3586195 h 5716738"/>
                <a:gd name="connsiteX31" fmla="*/ 1027108 w 3910132"/>
                <a:gd name="connsiteY31" fmla="*/ 3022196 h 5716738"/>
                <a:gd name="connsiteX32" fmla="*/ 941712 w 3910132"/>
                <a:gd name="connsiteY32" fmla="*/ 3136001 h 5716738"/>
                <a:gd name="connsiteX33" fmla="*/ 941712 w 3910132"/>
                <a:gd name="connsiteY33" fmla="*/ 3371552 h 5716738"/>
                <a:gd name="connsiteX34" fmla="*/ 1027108 w 3910132"/>
                <a:gd name="connsiteY34" fmla="*/ 3493562 h 5716738"/>
                <a:gd name="connsiteX35" fmla="*/ 1160188 w 3910132"/>
                <a:gd name="connsiteY35" fmla="*/ 2952325 h 5716738"/>
                <a:gd name="connsiteX36" fmla="*/ 1160188 w 3910132"/>
                <a:gd name="connsiteY36" fmla="*/ 3560522 h 5716738"/>
                <a:gd name="connsiteX37" fmla="*/ 1229629 w 3910132"/>
                <a:gd name="connsiteY37" fmla="*/ 3394578 h 5716738"/>
                <a:gd name="connsiteX38" fmla="*/ 1229629 w 3910132"/>
                <a:gd name="connsiteY38" fmla="*/ 3125944 h 5716738"/>
                <a:gd name="connsiteX39" fmla="*/ 1229629 w 3910132"/>
                <a:gd name="connsiteY39" fmla="*/ 2673104 h 5716738"/>
                <a:gd name="connsiteX40" fmla="*/ 1160188 w 3910132"/>
                <a:gd name="connsiteY40" fmla="*/ 2797232 h 5716738"/>
                <a:gd name="connsiteX41" fmla="*/ 1160188 w 3910132"/>
                <a:gd name="connsiteY41" fmla="*/ 2809142 h 5716738"/>
                <a:gd name="connsiteX42" fmla="*/ 1229629 w 3910132"/>
                <a:gd name="connsiteY42" fmla="*/ 2982232 h 5716738"/>
                <a:gd name="connsiteX43" fmla="*/ 925576 w 3910132"/>
                <a:gd name="connsiteY43" fmla="*/ 2568033 h 5716738"/>
                <a:gd name="connsiteX44" fmla="*/ 925576 w 3910132"/>
                <a:gd name="connsiteY44" fmla="*/ 3068777 h 5716738"/>
                <a:gd name="connsiteX45" fmla="*/ 1027108 w 3910132"/>
                <a:gd name="connsiteY45" fmla="*/ 2933534 h 5716738"/>
                <a:gd name="connsiteX46" fmla="*/ 1027108 w 3910132"/>
                <a:gd name="connsiteY46" fmla="*/ 2739800 h 5716738"/>
                <a:gd name="connsiteX47" fmla="*/ 1027108 w 3910132"/>
                <a:gd name="connsiteY47" fmla="*/ 2365300 h 5716738"/>
                <a:gd name="connsiteX48" fmla="*/ 945882 w 3910132"/>
                <a:gd name="connsiteY48" fmla="*/ 2498426 h 5716738"/>
                <a:gd name="connsiteX49" fmla="*/ 1027108 w 3910132"/>
                <a:gd name="connsiteY49" fmla="*/ 2635258 h 5716738"/>
                <a:gd name="connsiteX50" fmla="*/ 1160007 w 3910132"/>
                <a:gd name="connsiteY50" fmla="*/ 2355243 h 5716738"/>
                <a:gd name="connsiteX51" fmla="*/ 1160007 w 3910132"/>
                <a:gd name="connsiteY51" fmla="*/ 2688455 h 5716738"/>
                <a:gd name="connsiteX52" fmla="*/ 1229448 w 3910132"/>
                <a:gd name="connsiteY52" fmla="*/ 2564592 h 5716738"/>
                <a:gd name="connsiteX53" fmla="*/ 1229448 w 3910132"/>
                <a:gd name="connsiteY53" fmla="*/ 2530980 h 5716738"/>
                <a:gd name="connsiteX54" fmla="*/ 1229448 w 3910132"/>
                <a:gd name="connsiteY54" fmla="*/ 2018856 h 5716738"/>
                <a:gd name="connsiteX55" fmla="*/ 1160007 w 3910132"/>
                <a:gd name="connsiteY55" fmla="*/ 2192210 h 5716738"/>
                <a:gd name="connsiteX56" fmla="*/ 1160007 w 3910132"/>
                <a:gd name="connsiteY56" fmla="*/ 2210207 h 5716738"/>
                <a:gd name="connsiteX57" fmla="*/ 1229448 w 3910132"/>
                <a:gd name="connsiteY57" fmla="*/ 2385944 h 5716738"/>
                <a:gd name="connsiteX58" fmla="*/ 925576 w 3910132"/>
                <a:gd name="connsiteY58" fmla="*/ 1949778 h 5716738"/>
                <a:gd name="connsiteX59" fmla="*/ 925576 w 3910132"/>
                <a:gd name="connsiteY59" fmla="*/ 2429349 h 5716738"/>
                <a:gd name="connsiteX60" fmla="*/ 1027108 w 3910132"/>
                <a:gd name="connsiteY60" fmla="*/ 2262611 h 5716738"/>
                <a:gd name="connsiteX61" fmla="*/ 1027108 w 3910132"/>
                <a:gd name="connsiteY61" fmla="*/ 2077876 h 5716738"/>
                <a:gd name="connsiteX62" fmla="*/ 925576 w 3910132"/>
                <a:gd name="connsiteY62" fmla="*/ 1754986 h 5716738"/>
                <a:gd name="connsiteX63" fmla="*/ 925576 w 3910132"/>
                <a:gd name="connsiteY63" fmla="*/ 1869585 h 5716738"/>
                <a:gd name="connsiteX64" fmla="*/ 935910 w 3910132"/>
                <a:gd name="connsiteY64" fmla="*/ 1876996 h 5716738"/>
                <a:gd name="connsiteX65" fmla="*/ 1027108 w 3910132"/>
                <a:gd name="connsiteY65" fmla="*/ 1992125 h 5716738"/>
                <a:gd name="connsiteX66" fmla="*/ 1027108 w 3910132"/>
                <a:gd name="connsiteY66" fmla="*/ 1758426 h 5716738"/>
                <a:gd name="connsiteX67" fmla="*/ 966008 w 3910132"/>
                <a:gd name="connsiteY67" fmla="*/ 1761867 h 5716738"/>
                <a:gd name="connsiteX68" fmla="*/ 1229448 w 3910132"/>
                <a:gd name="connsiteY68" fmla="*/ 1748105 h 5716738"/>
                <a:gd name="connsiteX69" fmla="*/ 1160007 w 3910132"/>
                <a:gd name="connsiteY69" fmla="*/ 1751281 h 5716738"/>
                <a:gd name="connsiteX70" fmla="*/ 1160007 w 3910132"/>
                <a:gd name="connsiteY70" fmla="*/ 2048498 h 5716738"/>
                <a:gd name="connsiteX71" fmla="*/ 1229448 w 3910132"/>
                <a:gd name="connsiteY71" fmla="*/ 1875143 h 5716738"/>
                <a:gd name="connsiteX72" fmla="*/ 1852602 w 3910132"/>
                <a:gd name="connsiteY72" fmla="*/ 1323848 h 5716738"/>
                <a:gd name="connsiteX73" fmla="*/ 1851877 w 3910132"/>
                <a:gd name="connsiteY73" fmla="*/ 1324642 h 5716738"/>
                <a:gd name="connsiteX74" fmla="*/ 1853328 w 3910132"/>
                <a:gd name="connsiteY74" fmla="*/ 1324642 h 5716738"/>
                <a:gd name="connsiteX75" fmla="*/ 2342677 w 3910132"/>
                <a:gd name="connsiteY75" fmla="*/ 1283620 h 5716738"/>
                <a:gd name="connsiteX76" fmla="*/ 2332342 w 3910132"/>
                <a:gd name="connsiteY76" fmla="*/ 1292354 h 5716738"/>
                <a:gd name="connsiteX77" fmla="*/ 2350292 w 3910132"/>
                <a:gd name="connsiteY77" fmla="*/ 1291295 h 5716738"/>
                <a:gd name="connsiteX78" fmla="*/ 1677278 w 3910132"/>
                <a:gd name="connsiteY78" fmla="*/ 1261917 h 5716738"/>
                <a:gd name="connsiteX79" fmla="*/ 1588437 w 3910132"/>
                <a:gd name="connsiteY79" fmla="*/ 1342110 h 5716738"/>
                <a:gd name="connsiteX80" fmla="*/ 1744180 w 3910132"/>
                <a:gd name="connsiteY80" fmla="*/ 1331788 h 5716738"/>
                <a:gd name="connsiteX81" fmla="*/ 2159194 w 3910132"/>
                <a:gd name="connsiteY81" fmla="*/ 1214542 h 5716738"/>
                <a:gd name="connsiteX82" fmla="*/ 2050046 w 3910132"/>
                <a:gd name="connsiteY82" fmla="*/ 1311145 h 5716738"/>
                <a:gd name="connsiteX83" fmla="*/ 2242233 w 3910132"/>
                <a:gd name="connsiteY83" fmla="*/ 1298441 h 5716738"/>
                <a:gd name="connsiteX84" fmla="*/ 1739104 w 3910132"/>
                <a:gd name="connsiteY84" fmla="*/ 1205808 h 5716738"/>
                <a:gd name="connsiteX85" fmla="*/ 1716803 w 3910132"/>
                <a:gd name="connsiteY85" fmla="*/ 1225923 h 5716738"/>
                <a:gd name="connsiteX86" fmla="*/ 1792952 w 3910132"/>
                <a:gd name="connsiteY86" fmla="*/ 1305851 h 5716738"/>
                <a:gd name="connsiteX87" fmla="*/ 1815797 w 3910132"/>
                <a:gd name="connsiteY87" fmla="*/ 1285472 h 5716738"/>
                <a:gd name="connsiteX88" fmla="*/ 3753614 w 3910132"/>
                <a:gd name="connsiteY88" fmla="*/ 1193899 h 5716738"/>
                <a:gd name="connsiteX89" fmla="*/ 3752344 w 3910132"/>
                <a:gd name="connsiteY89" fmla="*/ 1196810 h 5716738"/>
                <a:gd name="connsiteX90" fmla="*/ 3707199 w 3910132"/>
                <a:gd name="connsiteY90" fmla="*/ 1244449 h 5716738"/>
                <a:gd name="connsiteX91" fmla="*/ 3806555 w 3910132"/>
                <a:gd name="connsiteY91" fmla="*/ 1237833 h 5716738"/>
                <a:gd name="connsiteX92" fmla="*/ 3851338 w 3910132"/>
                <a:gd name="connsiteY92" fmla="*/ 1207661 h 5716738"/>
                <a:gd name="connsiteX93" fmla="*/ 3851701 w 3910132"/>
                <a:gd name="connsiteY93" fmla="*/ 1205808 h 5716738"/>
                <a:gd name="connsiteX94" fmla="*/ 1601310 w 3910132"/>
                <a:gd name="connsiteY94" fmla="*/ 1181989 h 5716738"/>
                <a:gd name="connsiteX95" fmla="*/ 1575927 w 3910132"/>
                <a:gd name="connsiteY95" fmla="*/ 1198663 h 5716738"/>
                <a:gd name="connsiteX96" fmla="*/ 1490168 w 3910132"/>
                <a:gd name="connsiteY96" fmla="*/ 1301617 h 5716738"/>
                <a:gd name="connsiteX97" fmla="*/ 1479652 w 3910132"/>
                <a:gd name="connsiteY97" fmla="*/ 1349521 h 5716738"/>
                <a:gd name="connsiteX98" fmla="*/ 1502497 w 3910132"/>
                <a:gd name="connsiteY98" fmla="*/ 1348198 h 5716738"/>
                <a:gd name="connsiteX99" fmla="*/ 1640472 w 3910132"/>
                <a:gd name="connsiteY99" fmla="*/ 1223276 h 5716738"/>
                <a:gd name="connsiteX100" fmla="*/ 1696315 w 3910132"/>
                <a:gd name="connsiteY100" fmla="*/ 1172725 h 5716738"/>
                <a:gd name="connsiteX101" fmla="*/ 1668575 w 3910132"/>
                <a:gd name="connsiteY101" fmla="*/ 1175107 h 5716738"/>
                <a:gd name="connsiteX102" fmla="*/ 1680179 w 3910132"/>
                <a:gd name="connsiteY102" fmla="*/ 1187282 h 5716738"/>
                <a:gd name="connsiteX103" fmla="*/ 2665223 w 3910132"/>
                <a:gd name="connsiteY103" fmla="*/ 1166109 h 5716738"/>
                <a:gd name="connsiteX104" fmla="*/ 2532687 w 3910132"/>
                <a:gd name="connsiteY104" fmla="*/ 1279120 h 5716738"/>
                <a:gd name="connsiteX105" fmla="*/ 2757146 w 3910132"/>
                <a:gd name="connsiteY105" fmla="*/ 1264299 h 5716738"/>
                <a:gd name="connsiteX106" fmla="*/ 2219569 w 3910132"/>
                <a:gd name="connsiteY106" fmla="*/ 1160815 h 5716738"/>
                <a:gd name="connsiteX107" fmla="*/ 2198900 w 3910132"/>
                <a:gd name="connsiteY107" fmla="*/ 1179342 h 5716738"/>
                <a:gd name="connsiteX108" fmla="*/ 2283389 w 3910132"/>
                <a:gd name="connsiteY108" fmla="*/ 1264299 h 5716738"/>
                <a:gd name="connsiteX109" fmla="*/ 2304784 w 3910132"/>
                <a:gd name="connsiteY109" fmla="*/ 1246037 h 5716738"/>
                <a:gd name="connsiteX110" fmla="*/ 1966645 w 3910132"/>
                <a:gd name="connsiteY110" fmla="*/ 1150494 h 5716738"/>
                <a:gd name="connsiteX111" fmla="*/ 1775184 w 3910132"/>
                <a:gd name="connsiteY111" fmla="*/ 1166109 h 5716738"/>
                <a:gd name="connsiteX112" fmla="*/ 1855503 w 3910132"/>
                <a:gd name="connsiteY112" fmla="*/ 1250007 h 5716738"/>
                <a:gd name="connsiteX113" fmla="*/ 2086671 w 3910132"/>
                <a:gd name="connsiteY113" fmla="*/ 1140966 h 5716738"/>
                <a:gd name="connsiteX114" fmla="*/ 2054760 w 3910132"/>
                <a:gd name="connsiteY114" fmla="*/ 1143612 h 5716738"/>
                <a:gd name="connsiteX115" fmla="*/ 1892671 w 3910132"/>
                <a:gd name="connsiteY115" fmla="*/ 1288384 h 5716738"/>
                <a:gd name="connsiteX116" fmla="*/ 1922768 w 3910132"/>
                <a:gd name="connsiteY116" fmla="*/ 1319879 h 5716738"/>
                <a:gd name="connsiteX117" fmla="*/ 1963744 w 3910132"/>
                <a:gd name="connsiteY117" fmla="*/ 1317232 h 5716738"/>
                <a:gd name="connsiteX118" fmla="*/ 2122207 w 3910132"/>
                <a:gd name="connsiteY118" fmla="*/ 1176695 h 5716738"/>
                <a:gd name="connsiteX119" fmla="*/ 1549093 w 3910132"/>
                <a:gd name="connsiteY119" fmla="*/ 1139113 h 5716738"/>
                <a:gd name="connsiteX120" fmla="*/ 1465692 w 3910132"/>
                <a:gd name="connsiteY120" fmla="*/ 1145994 h 5716738"/>
                <a:gd name="connsiteX121" fmla="*/ 1429068 w 3910132"/>
                <a:gd name="connsiteY121" fmla="*/ 1165050 h 5716738"/>
                <a:gd name="connsiteX122" fmla="*/ 1376488 w 3910132"/>
                <a:gd name="connsiteY122" fmla="*/ 1228040 h 5716738"/>
                <a:gd name="connsiteX123" fmla="*/ 1391899 w 3910132"/>
                <a:gd name="connsiteY123" fmla="*/ 1234392 h 5716738"/>
                <a:gd name="connsiteX124" fmla="*/ 1419458 w 3910132"/>
                <a:gd name="connsiteY124" fmla="*/ 1256624 h 5716738"/>
                <a:gd name="connsiteX125" fmla="*/ 2169709 w 3910132"/>
                <a:gd name="connsiteY125" fmla="*/ 1134085 h 5716738"/>
                <a:gd name="connsiteX126" fmla="*/ 2155749 w 3910132"/>
                <a:gd name="connsiteY126" fmla="*/ 1135143 h 5716738"/>
                <a:gd name="connsiteX127" fmla="*/ 2161551 w 3910132"/>
                <a:gd name="connsiteY127" fmla="*/ 1141230 h 5716738"/>
                <a:gd name="connsiteX128" fmla="*/ 2729044 w 3910132"/>
                <a:gd name="connsiteY128" fmla="*/ 1111588 h 5716738"/>
                <a:gd name="connsiteX129" fmla="*/ 2705836 w 3910132"/>
                <a:gd name="connsiteY129" fmla="*/ 1131702 h 5716738"/>
                <a:gd name="connsiteX130" fmla="*/ 2808275 w 3910132"/>
                <a:gd name="connsiteY130" fmla="*/ 1241009 h 5716738"/>
                <a:gd name="connsiteX131" fmla="*/ 2830757 w 3910132"/>
                <a:gd name="connsiteY131" fmla="*/ 1219571 h 5716738"/>
                <a:gd name="connsiteX132" fmla="*/ 2462884 w 3910132"/>
                <a:gd name="connsiteY132" fmla="*/ 1110265 h 5716738"/>
                <a:gd name="connsiteX133" fmla="*/ 2261089 w 3910132"/>
                <a:gd name="connsiteY133" fmla="*/ 1126674 h 5716738"/>
                <a:gd name="connsiteX134" fmla="*/ 2345397 w 3910132"/>
                <a:gd name="connsiteY134" fmla="*/ 1211366 h 5716738"/>
                <a:gd name="connsiteX135" fmla="*/ 2602128 w 3910132"/>
                <a:gd name="connsiteY135" fmla="*/ 1098620 h 5716738"/>
                <a:gd name="connsiteX136" fmla="*/ 2553357 w 3910132"/>
                <a:gd name="connsiteY136" fmla="*/ 1102590 h 5716738"/>
                <a:gd name="connsiteX137" fmla="*/ 2383290 w 3910132"/>
                <a:gd name="connsiteY137" fmla="*/ 1248949 h 5716738"/>
                <a:gd name="connsiteX138" fmla="*/ 2420821 w 3910132"/>
                <a:gd name="connsiteY138" fmla="*/ 1286796 h 5716738"/>
                <a:gd name="connsiteX139" fmla="*/ 2443665 w 3910132"/>
                <a:gd name="connsiteY139" fmla="*/ 1285208 h 5716738"/>
                <a:gd name="connsiteX140" fmla="*/ 2628781 w 3910132"/>
                <a:gd name="connsiteY140" fmla="*/ 1127203 h 5716738"/>
                <a:gd name="connsiteX141" fmla="*/ 3680003 w 3910132"/>
                <a:gd name="connsiteY141" fmla="*/ 1090944 h 5716738"/>
                <a:gd name="connsiteX142" fmla="*/ 3562878 w 3910132"/>
                <a:gd name="connsiteY142" fmla="*/ 1210308 h 5716738"/>
                <a:gd name="connsiteX143" fmla="*/ 3659515 w 3910132"/>
                <a:gd name="connsiteY143" fmla="*/ 1203956 h 5716738"/>
                <a:gd name="connsiteX144" fmla="*/ 3704298 w 3910132"/>
                <a:gd name="connsiteY144" fmla="*/ 1173784 h 5716738"/>
                <a:gd name="connsiteX145" fmla="*/ 3700128 w 3910132"/>
                <a:gd name="connsiteY145" fmla="*/ 1120057 h 5716738"/>
                <a:gd name="connsiteX146" fmla="*/ 3244864 w 3910132"/>
                <a:gd name="connsiteY146" fmla="*/ 1073477 h 5716738"/>
                <a:gd name="connsiteX147" fmla="*/ 3232354 w 3910132"/>
                <a:gd name="connsiteY147" fmla="*/ 1085122 h 5716738"/>
                <a:gd name="connsiteX148" fmla="*/ 3253567 w 3910132"/>
                <a:gd name="connsiteY148" fmla="*/ 1083534 h 5716738"/>
                <a:gd name="connsiteX149" fmla="*/ 2991396 w 3910132"/>
                <a:gd name="connsiteY149" fmla="*/ 1066860 h 5716738"/>
                <a:gd name="connsiteX150" fmla="*/ 2776728 w 3910132"/>
                <a:gd name="connsiteY150" fmla="*/ 1084328 h 5716738"/>
                <a:gd name="connsiteX151" fmla="*/ 2869013 w 3910132"/>
                <a:gd name="connsiteY151" fmla="*/ 1183047 h 5716738"/>
                <a:gd name="connsiteX152" fmla="*/ 1085489 w 3910132"/>
                <a:gd name="connsiteY152" fmla="*/ 1064213 h 5716738"/>
                <a:gd name="connsiteX153" fmla="*/ 984864 w 3910132"/>
                <a:gd name="connsiteY153" fmla="*/ 1171667 h 5716738"/>
                <a:gd name="connsiteX154" fmla="*/ 1088390 w 3910132"/>
                <a:gd name="connsiteY154" fmla="*/ 1172990 h 5716738"/>
                <a:gd name="connsiteX155" fmla="*/ 3112691 w 3910132"/>
                <a:gd name="connsiteY155" fmla="*/ 1056803 h 5716738"/>
                <a:gd name="connsiteX156" fmla="*/ 3076429 w 3910132"/>
                <a:gd name="connsiteY156" fmla="*/ 1059979 h 5716738"/>
                <a:gd name="connsiteX157" fmla="*/ 3032190 w 3910132"/>
                <a:gd name="connsiteY157" fmla="*/ 1101531 h 5716738"/>
                <a:gd name="connsiteX158" fmla="*/ 3143876 w 3910132"/>
                <a:gd name="connsiteY158" fmla="*/ 1092268 h 5716738"/>
                <a:gd name="connsiteX159" fmla="*/ 3191560 w 3910132"/>
                <a:gd name="connsiteY159" fmla="*/ 1050451 h 5716738"/>
                <a:gd name="connsiteX160" fmla="*/ 3178868 w 3910132"/>
                <a:gd name="connsiteY160" fmla="*/ 1051509 h 5716738"/>
                <a:gd name="connsiteX161" fmla="*/ 3184126 w 3910132"/>
                <a:gd name="connsiteY161" fmla="*/ 1057597 h 5716738"/>
                <a:gd name="connsiteX162" fmla="*/ 1146953 w 3910132"/>
                <a:gd name="connsiteY162" fmla="*/ 1027425 h 5716738"/>
                <a:gd name="connsiteX163" fmla="*/ 1150941 w 3910132"/>
                <a:gd name="connsiteY163" fmla="*/ 1177754 h 5716738"/>
                <a:gd name="connsiteX164" fmla="*/ 1262446 w 3910132"/>
                <a:gd name="connsiteY164" fmla="*/ 1194693 h 5716738"/>
                <a:gd name="connsiteX165" fmla="*/ 1249391 w 3910132"/>
                <a:gd name="connsiteY165" fmla="*/ 1052568 h 5716738"/>
                <a:gd name="connsiteX166" fmla="*/ 3489267 w 3910132"/>
                <a:gd name="connsiteY166" fmla="*/ 1026102 h 5716738"/>
                <a:gd name="connsiteX167" fmla="*/ 3288559 w 3910132"/>
                <a:gd name="connsiteY167" fmla="*/ 1042511 h 5716738"/>
                <a:gd name="connsiteX168" fmla="*/ 3319563 w 3910132"/>
                <a:gd name="connsiteY168" fmla="*/ 1077711 h 5716738"/>
                <a:gd name="connsiteX169" fmla="*/ 3368516 w 3910132"/>
                <a:gd name="connsiteY169" fmla="*/ 1073741 h 5716738"/>
                <a:gd name="connsiteX170" fmla="*/ 3427985 w 3910132"/>
                <a:gd name="connsiteY170" fmla="*/ 1088298 h 5716738"/>
                <a:gd name="connsiteX171" fmla="*/ 3750713 w 3910132"/>
                <a:gd name="connsiteY171" fmla="*/ 1019485 h 5716738"/>
                <a:gd name="connsiteX172" fmla="*/ 3718077 w 3910132"/>
                <a:gd name="connsiteY172" fmla="*/ 1052568 h 5716738"/>
                <a:gd name="connsiteX173" fmla="*/ 3743823 w 3910132"/>
                <a:gd name="connsiteY173" fmla="*/ 1089621 h 5716738"/>
                <a:gd name="connsiteX174" fmla="*/ 3762679 w 3910132"/>
                <a:gd name="connsiteY174" fmla="*/ 1141230 h 5716738"/>
                <a:gd name="connsiteX175" fmla="*/ 3845355 w 3910132"/>
                <a:gd name="connsiteY175" fmla="*/ 1151552 h 5716738"/>
                <a:gd name="connsiteX176" fmla="*/ 3761410 w 3910132"/>
                <a:gd name="connsiteY176" fmla="*/ 1030601 h 5716738"/>
                <a:gd name="connsiteX177" fmla="*/ 3750713 w 3910132"/>
                <a:gd name="connsiteY177" fmla="*/ 1019485 h 5716738"/>
                <a:gd name="connsiteX178" fmla="*/ 3627061 w 3910132"/>
                <a:gd name="connsiteY178" fmla="*/ 1014986 h 5716738"/>
                <a:gd name="connsiteX179" fmla="*/ 3570493 w 3910132"/>
                <a:gd name="connsiteY179" fmla="*/ 1019485 h 5716738"/>
                <a:gd name="connsiteX180" fmla="*/ 3463703 w 3910132"/>
                <a:gd name="connsiteY180" fmla="*/ 1127997 h 5716738"/>
                <a:gd name="connsiteX181" fmla="*/ 3473312 w 3910132"/>
                <a:gd name="connsiteY181" fmla="*/ 1167961 h 5716738"/>
                <a:gd name="connsiteX182" fmla="*/ 3474400 w 3910132"/>
                <a:gd name="connsiteY182" fmla="*/ 1216395 h 5716738"/>
                <a:gd name="connsiteX183" fmla="*/ 3482921 w 3910132"/>
                <a:gd name="connsiteY183" fmla="*/ 1215866 h 5716738"/>
                <a:gd name="connsiteX184" fmla="*/ 3649180 w 3910132"/>
                <a:gd name="connsiteY184" fmla="*/ 1046745 h 5716738"/>
                <a:gd name="connsiteX185" fmla="*/ 945701 w 3910132"/>
                <a:gd name="connsiteY185" fmla="*/ 828927 h 5716738"/>
                <a:gd name="connsiteX186" fmla="*/ 920681 w 3910132"/>
                <a:gd name="connsiteY186" fmla="*/ 1077976 h 5716738"/>
                <a:gd name="connsiteX187" fmla="*/ 949509 w 3910132"/>
                <a:gd name="connsiteY187" fmla="*/ 1118469 h 5716738"/>
                <a:gd name="connsiteX188" fmla="*/ 1073342 w 3910132"/>
                <a:gd name="connsiteY188" fmla="*/ 986137 h 5716738"/>
                <a:gd name="connsiteX189" fmla="*/ 1073160 w 3910132"/>
                <a:gd name="connsiteY189" fmla="*/ 583584 h 5716738"/>
                <a:gd name="connsiteX190" fmla="*/ 961112 w 3910132"/>
                <a:gd name="connsiteY190" fmla="*/ 748734 h 5716738"/>
                <a:gd name="connsiteX191" fmla="*/ 1081319 w 3910132"/>
                <a:gd name="connsiteY191" fmla="*/ 896946 h 5716738"/>
                <a:gd name="connsiteX192" fmla="*/ 921769 w 3910132"/>
                <a:gd name="connsiteY192" fmla="*/ 442253 h 5716738"/>
                <a:gd name="connsiteX193" fmla="*/ 371137 w 3910132"/>
                <a:gd name="connsiteY193" fmla="*/ 1238891 h 5716738"/>
                <a:gd name="connsiteX194" fmla="*/ 470312 w 3910132"/>
                <a:gd name="connsiteY194" fmla="*/ 1232010 h 5716738"/>
                <a:gd name="connsiteX195" fmla="*/ 471400 w 3910132"/>
                <a:gd name="connsiteY195" fmla="*/ 1231745 h 5716738"/>
                <a:gd name="connsiteX196" fmla="*/ 529237 w 3910132"/>
                <a:gd name="connsiteY196" fmla="*/ 1231745 h 5716738"/>
                <a:gd name="connsiteX197" fmla="*/ 545918 w 3910132"/>
                <a:gd name="connsiteY197" fmla="*/ 1238097 h 5716738"/>
                <a:gd name="connsiteX198" fmla="*/ 676278 w 3910132"/>
                <a:gd name="connsiteY198" fmla="*/ 1199721 h 5716738"/>
                <a:gd name="connsiteX199" fmla="*/ 817335 w 3910132"/>
                <a:gd name="connsiteY199" fmla="*/ 1038805 h 5716738"/>
                <a:gd name="connsiteX200" fmla="*/ 861756 w 3910132"/>
                <a:gd name="connsiteY200" fmla="*/ 1044099 h 5716738"/>
                <a:gd name="connsiteX201" fmla="*/ 985589 w 3910132"/>
                <a:gd name="connsiteY201" fmla="*/ 425315 h 5716738"/>
                <a:gd name="connsiteX202" fmla="*/ 965282 w 3910132"/>
                <a:gd name="connsiteY202" fmla="*/ 631223 h 5716738"/>
                <a:gd name="connsiteX203" fmla="*/ 1060288 w 3910132"/>
                <a:gd name="connsiteY203" fmla="*/ 491216 h 5716738"/>
                <a:gd name="connsiteX204" fmla="*/ 931015 w 3910132"/>
                <a:gd name="connsiteY204" fmla="*/ 348033 h 5716738"/>
                <a:gd name="connsiteX205" fmla="*/ 311849 w 3910132"/>
                <a:gd name="connsiteY205" fmla="*/ 1243920 h 5716738"/>
                <a:gd name="connsiteX206" fmla="*/ 336507 w 3910132"/>
                <a:gd name="connsiteY206" fmla="*/ 1241803 h 5716738"/>
                <a:gd name="connsiteX207" fmla="*/ 926845 w 3910132"/>
                <a:gd name="connsiteY207" fmla="*/ 387468 h 5716738"/>
                <a:gd name="connsiteX208" fmla="*/ 1063914 w 3910132"/>
                <a:gd name="connsiteY208" fmla="*/ 236080 h 5716738"/>
                <a:gd name="connsiteX209" fmla="*/ 994654 w 3910132"/>
                <a:gd name="connsiteY209" fmla="*/ 336388 h 5716738"/>
                <a:gd name="connsiteX210" fmla="*/ 993566 w 3910132"/>
                <a:gd name="connsiteY210" fmla="*/ 348827 h 5716738"/>
                <a:gd name="connsiteX211" fmla="*/ 1068628 w 3910132"/>
                <a:gd name="connsiteY211" fmla="*/ 415258 h 5716738"/>
                <a:gd name="connsiteX212" fmla="*/ 1125921 w 3910132"/>
                <a:gd name="connsiteY212" fmla="*/ 226817 h 5716738"/>
                <a:gd name="connsiteX213" fmla="*/ 1145321 w 3910132"/>
                <a:gd name="connsiteY213" fmla="*/ 963112 h 5716738"/>
                <a:gd name="connsiteX214" fmla="*/ 1243771 w 3910132"/>
                <a:gd name="connsiteY214" fmla="*/ 986931 h 5716738"/>
                <a:gd name="connsiteX215" fmla="*/ 1173786 w 3910132"/>
                <a:gd name="connsiteY215" fmla="*/ 229464 h 5716738"/>
                <a:gd name="connsiteX216" fmla="*/ 1155474 w 3910132"/>
                <a:gd name="connsiteY216" fmla="*/ 231316 h 5716738"/>
                <a:gd name="connsiteX217" fmla="*/ 1125921 w 3910132"/>
                <a:gd name="connsiteY217" fmla="*/ 226817 h 5716738"/>
                <a:gd name="connsiteX218" fmla="*/ 1023663 w 3910132"/>
                <a:gd name="connsiteY218" fmla="*/ 213849 h 5716738"/>
                <a:gd name="connsiteX219" fmla="*/ 1004263 w 3910132"/>
                <a:gd name="connsiteY219" fmla="*/ 242432 h 5716738"/>
                <a:gd name="connsiteX220" fmla="*/ 1000093 w 3910132"/>
                <a:gd name="connsiteY220" fmla="*/ 281867 h 5716738"/>
                <a:gd name="connsiteX221" fmla="*/ 1046508 w 3910132"/>
                <a:gd name="connsiteY221" fmla="*/ 214643 h 5716738"/>
                <a:gd name="connsiteX222" fmla="*/ 1038531 w 3910132"/>
                <a:gd name="connsiteY222" fmla="*/ 215172 h 5716738"/>
                <a:gd name="connsiteX223" fmla="*/ 1023663 w 3910132"/>
                <a:gd name="connsiteY223" fmla="*/ 213849 h 5716738"/>
                <a:gd name="connsiteX224" fmla="*/ 1236881 w 3910132"/>
                <a:gd name="connsiteY224" fmla="*/ 193205 h 5716738"/>
                <a:gd name="connsiteX225" fmla="*/ 1233255 w 3910132"/>
                <a:gd name="connsiteY225" fmla="*/ 197439 h 5716738"/>
                <a:gd name="connsiteX226" fmla="*/ 1326266 w 3910132"/>
                <a:gd name="connsiteY226" fmla="*/ 1204750 h 5716738"/>
                <a:gd name="connsiteX227" fmla="*/ 1388273 w 3910132"/>
                <a:gd name="connsiteY227" fmla="*/ 1130379 h 5716738"/>
                <a:gd name="connsiteX228" fmla="*/ 1461522 w 3910132"/>
                <a:gd name="connsiteY228" fmla="*/ 1092532 h 5716738"/>
                <a:gd name="connsiteX229" fmla="*/ 3054672 w 3910132"/>
                <a:gd name="connsiteY229" fmla="*/ 962053 h 5716738"/>
                <a:gd name="connsiteX230" fmla="*/ 3061381 w 3910132"/>
                <a:gd name="connsiteY230" fmla="*/ 947232 h 5716738"/>
                <a:gd name="connsiteX231" fmla="*/ 3076792 w 3910132"/>
                <a:gd name="connsiteY231" fmla="*/ 954113 h 5716738"/>
                <a:gd name="connsiteX232" fmla="*/ 3091840 w 3910132"/>
                <a:gd name="connsiteY232" fmla="*/ 953848 h 5716738"/>
                <a:gd name="connsiteX233" fmla="*/ 3101087 w 3910132"/>
                <a:gd name="connsiteY233" fmla="*/ 942203 h 5716738"/>
                <a:gd name="connsiteX234" fmla="*/ 3097824 w 3910132"/>
                <a:gd name="connsiteY234" fmla="*/ 927382 h 5716738"/>
                <a:gd name="connsiteX235" fmla="*/ 3084044 w 3910132"/>
                <a:gd name="connsiteY235" fmla="*/ 920766 h 5716738"/>
                <a:gd name="connsiteX236" fmla="*/ 3053766 w 3910132"/>
                <a:gd name="connsiteY236" fmla="*/ 920766 h 5716738"/>
                <a:gd name="connsiteX237" fmla="*/ 3005357 w 3910132"/>
                <a:gd name="connsiteY237" fmla="*/ 911238 h 5716738"/>
                <a:gd name="connsiteX238" fmla="*/ 2159919 w 3910132"/>
                <a:gd name="connsiteY238" fmla="*/ 566381 h 5716738"/>
                <a:gd name="connsiteX239" fmla="*/ 2139431 w 3910132"/>
                <a:gd name="connsiteY239" fmla="*/ 587818 h 5716738"/>
                <a:gd name="connsiteX240" fmla="*/ 2120031 w 3910132"/>
                <a:gd name="connsiteY240" fmla="*/ 592318 h 5716738"/>
                <a:gd name="connsiteX241" fmla="*/ 2101900 w 3910132"/>
                <a:gd name="connsiteY241" fmla="*/ 588348 h 5716738"/>
                <a:gd name="connsiteX242" fmla="*/ 2086489 w 3910132"/>
                <a:gd name="connsiteY242" fmla="*/ 581467 h 5716738"/>
                <a:gd name="connsiteX243" fmla="*/ 2097368 w 3910132"/>
                <a:gd name="connsiteY243" fmla="*/ 557382 h 5716738"/>
                <a:gd name="connsiteX244" fmla="*/ 2112779 w 3910132"/>
                <a:gd name="connsiteY244" fmla="*/ 564263 h 5716738"/>
                <a:gd name="connsiteX245" fmla="*/ 2127827 w 3910132"/>
                <a:gd name="connsiteY245" fmla="*/ 563999 h 5716738"/>
                <a:gd name="connsiteX246" fmla="*/ 2137074 w 3910132"/>
                <a:gd name="connsiteY246" fmla="*/ 552353 h 5716738"/>
                <a:gd name="connsiteX247" fmla="*/ 2133811 w 3910132"/>
                <a:gd name="connsiteY247" fmla="*/ 537532 h 5716738"/>
                <a:gd name="connsiteX248" fmla="*/ 2120031 w 3910132"/>
                <a:gd name="connsiteY248" fmla="*/ 530916 h 5716738"/>
                <a:gd name="connsiteX249" fmla="*/ 2089753 w 3910132"/>
                <a:gd name="connsiteY249" fmla="*/ 530916 h 5716738"/>
                <a:gd name="connsiteX250" fmla="*/ 2041344 w 3910132"/>
                <a:gd name="connsiteY250" fmla="*/ 521388 h 5716738"/>
                <a:gd name="connsiteX251" fmla="*/ 1038712 w 3910132"/>
                <a:gd name="connsiteY251" fmla="*/ 0 h 5716738"/>
                <a:gd name="connsiteX252" fmla="*/ 1109422 w 3910132"/>
                <a:gd name="connsiteY252" fmla="*/ 26996 h 5716738"/>
                <a:gd name="connsiteX253" fmla="*/ 1155656 w 3910132"/>
                <a:gd name="connsiteY253" fmla="*/ 16145 h 5716738"/>
                <a:gd name="connsiteX254" fmla="*/ 1263171 w 3910132"/>
                <a:gd name="connsiteY254" fmla="*/ 123598 h 5716738"/>
                <a:gd name="connsiteX255" fmla="*/ 1252111 w 3910132"/>
                <a:gd name="connsiteY255" fmla="*/ 170444 h 5716738"/>
                <a:gd name="connsiteX256" fmla="*/ 2051497 w 3910132"/>
                <a:gd name="connsiteY256" fmla="*/ 496509 h 5716738"/>
                <a:gd name="connsiteX257" fmla="*/ 2089753 w 3910132"/>
                <a:gd name="connsiteY257" fmla="*/ 504185 h 5716738"/>
                <a:gd name="connsiteX258" fmla="*/ 2120031 w 3910132"/>
                <a:gd name="connsiteY258" fmla="*/ 504185 h 5716738"/>
                <a:gd name="connsiteX259" fmla="*/ 2154480 w 3910132"/>
                <a:gd name="connsiteY259" fmla="*/ 520859 h 5716738"/>
                <a:gd name="connsiteX260" fmla="*/ 2163001 w 3910132"/>
                <a:gd name="connsiteY260" fmla="*/ 538856 h 5716738"/>
                <a:gd name="connsiteX261" fmla="*/ 3015510 w 3910132"/>
                <a:gd name="connsiteY261" fmla="*/ 886624 h 5716738"/>
                <a:gd name="connsiteX262" fmla="*/ 3053766 w 3910132"/>
                <a:gd name="connsiteY262" fmla="*/ 894299 h 5716738"/>
                <a:gd name="connsiteX263" fmla="*/ 3084044 w 3910132"/>
                <a:gd name="connsiteY263" fmla="*/ 894299 h 5716738"/>
                <a:gd name="connsiteX264" fmla="*/ 3118493 w 3910132"/>
                <a:gd name="connsiteY264" fmla="*/ 910973 h 5716738"/>
                <a:gd name="connsiteX265" fmla="*/ 3126833 w 3910132"/>
                <a:gd name="connsiteY265" fmla="*/ 948555 h 5716738"/>
                <a:gd name="connsiteX266" fmla="*/ 3123932 w 3910132"/>
                <a:gd name="connsiteY266" fmla="*/ 956760 h 5716738"/>
                <a:gd name="connsiteX267" fmla="*/ 3561609 w 3910132"/>
                <a:gd name="connsiteY267" fmla="*/ 921030 h 5716738"/>
                <a:gd name="connsiteX268" fmla="*/ 3645010 w 3910132"/>
                <a:gd name="connsiteY268" fmla="*/ 951731 h 5716738"/>
                <a:gd name="connsiteX269" fmla="*/ 3685804 w 3910132"/>
                <a:gd name="connsiteY269" fmla="*/ 956760 h 5716738"/>
                <a:gd name="connsiteX270" fmla="*/ 3708649 w 3910132"/>
                <a:gd name="connsiteY270" fmla="*/ 954642 h 5716738"/>
                <a:gd name="connsiteX271" fmla="*/ 3804924 w 3910132"/>
                <a:gd name="connsiteY271" fmla="*/ 1000165 h 5716738"/>
                <a:gd name="connsiteX272" fmla="*/ 3890864 w 3910132"/>
                <a:gd name="connsiteY272" fmla="*/ 1123233 h 5716738"/>
                <a:gd name="connsiteX273" fmla="*/ 3899385 w 3910132"/>
                <a:gd name="connsiteY273" fmla="*/ 1230952 h 5716738"/>
                <a:gd name="connsiteX274" fmla="*/ 3810182 w 3910132"/>
                <a:gd name="connsiteY274" fmla="*/ 1291295 h 5716738"/>
                <a:gd name="connsiteX275" fmla="*/ 3592588 w 3910132"/>
                <a:gd name="connsiteY275" fmla="*/ 1305788 h 5716738"/>
                <a:gd name="connsiteX276" fmla="*/ 3591470 w 3910132"/>
                <a:gd name="connsiteY276" fmla="*/ 1291062 h 5716738"/>
                <a:gd name="connsiteX277" fmla="*/ 2721612 w 3910132"/>
                <a:gd name="connsiteY277" fmla="*/ 1357099 h 5716738"/>
                <a:gd name="connsiteX278" fmla="*/ 2722066 w 3910132"/>
                <a:gd name="connsiteY278" fmla="*/ 1363081 h 5716738"/>
                <a:gd name="connsiteX279" fmla="*/ 1538396 w 3910132"/>
                <a:gd name="connsiteY279" fmla="*/ 1442153 h 5716738"/>
                <a:gd name="connsiteX280" fmla="*/ 1531144 w 3910132"/>
                <a:gd name="connsiteY280" fmla="*/ 1442418 h 5716738"/>
                <a:gd name="connsiteX281" fmla="*/ 1474394 w 3910132"/>
                <a:gd name="connsiteY281" fmla="*/ 1426273 h 5716738"/>
                <a:gd name="connsiteX282" fmla="*/ 1463335 w 3910132"/>
                <a:gd name="connsiteY282" fmla="*/ 1419127 h 5716738"/>
                <a:gd name="connsiteX283" fmla="*/ 1461884 w 3910132"/>
                <a:gd name="connsiteY283" fmla="*/ 1416745 h 5716738"/>
                <a:gd name="connsiteX284" fmla="*/ 1449918 w 3910132"/>
                <a:gd name="connsiteY284" fmla="*/ 1404571 h 5716738"/>
                <a:gd name="connsiteX285" fmla="*/ 1435957 w 3910132"/>
                <a:gd name="connsiteY285" fmla="*/ 1405365 h 5716738"/>
                <a:gd name="connsiteX286" fmla="*/ 1419277 w 3910132"/>
                <a:gd name="connsiteY286" fmla="*/ 1481853 h 5716738"/>
                <a:gd name="connsiteX287" fmla="*/ 1373043 w 3910132"/>
                <a:gd name="connsiteY287" fmla="*/ 1647268 h 5716738"/>
                <a:gd name="connsiteX288" fmla="*/ 1304147 w 3910132"/>
                <a:gd name="connsiteY288" fmla="*/ 1747046 h 5716738"/>
                <a:gd name="connsiteX289" fmla="*/ 1304147 w 3910132"/>
                <a:gd name="connsiteY289" fmla="*/ 4755479 h 5716738"/>
                <a:gd name="connsiteX290" fmla="*/ 1460434 w 3910132"/>
                <a:gd name="connsiteY290" fmla="*/ 4813441 h 5716738"/>
                <a:gd name="connsiteX291" fmla="*/ 1460434 w 3910132"/>
                <a:gd name="connsiteY291" fmla="*/ 5083133 h 5716738"/>
                <a:gd name="connsiteX292" fmla="*/ 1694865 w 3910132"/>
                <a:gd name="connsiteY292" fmla="*/ 5174442 h 5716738"/>
                <a:gd name="connsiteX293" fmla="*/ 1694865 w 3910132"/>
                <a:gd name="connsiteY293" fmla="*/ 5193233 h 5716738"/>
                <a:gd name="connsiteX294" fmla="*/ 1954860 w 3910132"/>
                <a:gd name="connsiteY294" fmla="*/ 5326359 h 5716738"/>
                <a:gd name="connsiteX295" fmla="*/ 1954860 w 3910132"/>
                <a:gd name="connsiteY295" fmla="*/ 5530150 h 5716738"/>
                <a:gd name="connsiteX296" fmla="*/ 1086215 w 3910132"/>
                <a:gd name="connsiteY296" fmla="*/ 5716738 h 5716738"/>
                <a:gd name="connsiteX297" fmla="*/ 217569 w 3910132"/>
                <a:gd name="connsiteY297" fmla="*/ 5530150 h 5716738"/>
                <a:gd name="connsiteX298" fmla="*/ 217569 w 3910132"/>
                <a:gd name="connsiteY298" fmla="*/ 5326359 h 5716738"/>
                <a:gd name="connsiteX299" fmla="*/ 477565 w 3910132"/>
                <a:gd name="connsiteY299" fmla="*/ 5193233 h 5716738"/>
                <a:gd name="connsiteX300" fmla="*/ 477565 w 3910132"/>
                <a:gd name="connsiteY300" fmla="*/ 5174442 h 5716738"/>
                <a:gd name="connsiteX301" fmla="*/ 712177 w 3910132"/>
                <a:gd name="connsiteY301" fmla="*/ 5083133 h 5716738"/>
                <a:gd name="connsiteX302" fmla="*/ 712177 w 3910132"/>
                <a:gd name="connsiteY302" fmla="*/ 4813441 h 5716738"/>
                <a:gd name="connsiteX303" fmla="*/ 851602 w 3910132"/>
                <a:gd name="connsiteY303" fmla="*/ 4757861 h 5716738"/>
                <a:gd name="connsiteX304" fmla="*/ 851602 w 3910132"/>
                <a:gd name="connsiteY304" fmla="*/ 1742811 h 5716738"/>
                <a:gd name="connsiteX305" fmla="*/ 847251 w 3910132"/>
                <a:gd name="connsiteY305" fmla="*/ 1742017 h 5716738"/>
                <a:gd name="connsiteX306" fmla="*/ 847251 w 3910132"/>
                <a:gd name="connsiteY306" fmla="*/ 1707346 h 5716738"/>
                <a:gd name="connsiteX307" fmla="*/ 686250 w 3910132"/>
                <a:gd name="connsiteY307" fmla="*/ 1605715 h 5716738"/>
                <a:gd name="connsiteX308" fmla="*/ 557340 w 3910132"/>
                <a:gd name="connsiteY308" fmla="*/ 1577661 h 5716738"/>
                <a:gd name="connsiteX309" fmla="*/ 557340 w 3910132"/>
                <a:gd name="connsiteY309" fmla="*/ 1770866 h 5716738"/>
                <a:gd name="connsiteX310" fmla="*/ 529237 w 3910132"/>
                <a:gd name="connsiteY310" fmla="*/ 1798920 h 5716738"/>
                <a:gd name="connsiteX311" fmla="*/ 471400 w 3910132"/>
                <a:gd name="connsiteY311" fmla="*/ 1798920 h 5716738"/>
                <a:gd name="connsiteX312" fmla="*/ 458890 w 3910132"/>
                <a:gd name="connsiteY312" fmla="*/ 1795479 h 5716738"/>
                <a:gd name="connsiteX313" fmla="*/ 64546 w 3910132"/>
                <a:gd name="connsiteY313" fmla="*/ 1816123 h 5716738"/>
                <a:gd name="connsiteX314" fmla="*/ 0 w 3910132"/>
                <a:gd name="connsiteY314" fmla="*/ 1714757 h 5716738"/>
                <a:gd name="connsiteX315" fmla="*/ 0 w 3910132"/>
                <a:gd name="connsiteY315" fmla="*/ 1367783 h 5716738"/>
                <a:gd name="connsiteX316" fmla="*/ 2357 w 3910132"/>
                <a:gd name="connsiteY316" fmla="*/ 1319879 h 5716738"/>
                <a:gd name="connsiteX317" fmla="*/ 55843 w 3910132"/>
                <a:gd name="connsiteY317" fmla="*/ 1267210 h 5716738"/>
                <a:gd name="connsiteX318" fmla="*/ 277401 w 3910132"/>
                <a:gd name="connsiteY318" fmla="*/ 1246567 h 5716738"/>
                <a:gd name="connsiteX319" fmla="*/ 936454 w 3910132"/>
                <a:gd name="connsiteY319" fmla="*/ 292983 h 5716738"/>
                <a:gd name="connsiteX320" fmla="*/ 948965 w 3910132"/>
                <a:gd name="connsiteY320" fmla="*/ 166738 h 5716738"/>
                <a:gd name="connsiteX321" fmla="*/ 931197 w 3910132"/>
                <a:gd name="connsiteY321" fmla="*/ 107454 h 5716738"/>
                <a:gd name="connsiteX322" fmla="*/ 1038712 w 3910132"/>
                <a:gd name="connsiteY322" fmla="*/ 0 h 571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Lst>
              <a:rect l="l" t="t" r="r" b="b"/>
              <a:pathLst>
                <a:path w="3910132" h="5716738">
                  <a:moveTo>
                    <a:pt x="1027108" y="4469378"/>
                  </a:moveTo>
                  <a:lnTo>
                    <a:pt x="925576" y="4625529"/>
                  </a:lnTo>
                  <a:lnTo>
                    <a:pt x="925576" y="4749127"/>
                  </a:lnTo>
                  <a:cubicBezTo>
                    <a:pt x="957123" y="4746216"/>
                    <a:pt x="991209" y="4744363"/>
                    <a:pt x="1027108" y="4743305"/>
                  </a:cubicBezTo>
                  <a:close/>
                  <a:moveTo>
                    <a:pt x="1160188" y="4454557"/>
                  </a:moveTo>
                  <a:lnTo>
                    <a:pt x="1160188" y="4743569"/>
                  </a:lnTo>
                  <a:cubicBezTo>
                    <a:pt x="1184302" y="4744628"/>
                    <a:pt x="1207328" y="4745951"/>
                    <a:pt x="1229629" y="4747804"/>
                  </a:cubicBezTo>
                  <a:lnTo>
                    <a:pt x="1229629" y="4622883"/>
                  </a:lnTo>
                  <a:close/>
                  <a:moveTo>
                    <a:pt x="1229629" y="4168455"/>
                  </a:moveTo>
                  <a:lnTo>
                    <a:pt x="1160188" y="4302110"/>
                  </a:lnTo>
                  <a:lnTo>
                    <a:pt x="1160188" y="4314549"/>
                  </a:lnTo>
                  <a:lnTo>
                    <a:pt x="1229629" y="4482876"/>
                  </a:lnTo>
                  <a:close/>
                  <a:moveTo>
                    <a:pt x="925576" y="4053326"/>
                  </a:moveTo>
                  <a:lnTo>
                    <a:pt x="925576" y="4527604"/>
                  </a:lnTo>
                  <a:lnTo>
                    <a:pt x="1027108" y="4371717"/>
                  </a:lnTo>
                  <a:lnTo>
                    <a:pt x="1027108" y="4237268"/>
                  </a:lnTo>
                  <a:close/>
                  <a:moveTo>
                    <a:pt x="1027108" y="3863298"/>
                  </a:moveTo>
                  <a:lnTo>
                    <a:pt x="946245" y="3980808"/>
                  </a:lnTo>
                  <a:lnTo>
                    <a:pt x="1027108" y="4127167"/>
                  </a:lnTo>
                  <a:close/>
                  <a:moveTo>
                    <a:pt x="1160188" y="3852976"/>
                  </a:moveTo>
                  <a:lnTo>
                    <a:pt x="1160188" y="4186187"/>
                  </a:lnTo>
                  <a:lnTo>
                    <a:pt x="1229629" y="4052532"/>
                  </a:lnTo>
                  <a:lnTo>
                    <a:pt x="1229629" y="4018920"/>
                  </a:lnTo>
                  <a:close/>
                  <a:moveTo>
                    <a:pt x="1229629" y="3532732"/>
                  </a:moveTo>
                  <a:lnTo>
                    <a:pt x="1160188" y="3698941"/>
                  </a:lnTo>
                  <a:lnTo>
                    <a:pt x="1160188" y="3714821"/>
                  </a:lnTo>
                  <a:lnTo>
                    <a:pt x="1229629" y="3880765"/>
                  </a:lnTo>
                  <a:close/>
                  <a:moveTo>
                    <a:pt x="925576" y="3441159"/>
                  </a:moveTo>
                  <a:lnTo>
                    <a:pt x="925576" y="3917024"/>
                  </a:lnTo>
                  <a:lnTo>
                    <a:pt x="1027108" y="3769342"/>
                  </a:lnTo>
                  <a:lnTo>
                    <a:pt x="1027108" y="3586195"/>
                  </a:lnTo>
                  <a:close/>
                  <a:moveTo>
                    <a:pt x="1027108" y="3022196"/>
                  </a:moveTo>
                  <a:lnTo>
                    <a:pt x="941712" y="3136001"/>
                  </a:lnTo>
                  <a:lnTo>
                    <a:pt x="941712" y="3371552"/>
                  </a:lnTo>
                  <a:lnTo>
                    <a:pt x="1027108" y="3493562"/>
                  </a:lnTo>
                  <a:close/>
                  <a:moveTo>
                    <a:pt x="1160188" y="2952325"/>
                  </a:moveTo>
                  <a:lnTo>
                    <a:pt x="1160188" y="3560522"/>
                  </a:lnTo>
                  <a:lnTo>
                    <a:pt x="1229629" y="3394578"/>
                  </a:lnTo>
                  <a:lnTo>
                    <a:pt x="1229629" y="3125944"/>
                  </a:lnTo>
                  <a:close/>
                  <a:moveTo>
                    <a:pt x="1229629" y="2673104"/>
                  </a:moveTo>
                  <a:lnTo>
                    <a:pt x="1160188" y="2797232"/>
                  </a:lnTo>
                  <a:lnTo>
                    <a:pt x="1160188" y="2809142"/>
                  </a:lnTo>
                  <a:lnTo>
                    <a:pt x="1229629" y="2982232"/>
                  </a:lnTo>
                  <a:close/>
                  <a:moveTo>
                    <a:pt x="925576" y="2568033"/>
                  </a:moveTo>
                  <a:lnTo>
                    <a:pt x="925576" y="3068777"/>
                  </a:lnTo>
                  <a:lnTo>
                    <a:pt x="1027108" y="2933534"/>
                  </a:lnTo>
                  <a:lnTo>
                    <a:pt x="1027108" y="2739800"/>
                  </a:lnTo>
                  <a:close/>
                  <a:moveTo>
                    <a:pt x="1027108" y="2365300"/>
                  </a:moveTo>
                  <a:lnTo>
                    <a:pt x="945882" y="2498426"/>
                  </a:lnTo>
                  <a:lnTo>
                    <a:pt x="1027108" y="2635258"/>
                  </a:lnTo>
                  <a:close/>
                  <a:moveTo>
                    <a:pt x="1160007" y="2355243"/>
                  </a:moveTo>
                  <a:lnTo>
                    <a:pt x="1160007" y="2688455"/>
                  </a:lnTo>
                  <a:lnTo>
                    <a:pt x="1229448" y="2564592"/>
                  </a:lnTo>
                  <a:lnTo>
                    <a:pt x="1229448" y="2530980"/>
                  </a:lnTo>
                  <a:close/>
                  <a:moveTo>
                    <a:pt x="1229448" y="2018856"/>
                  </a:moveTo>
                  <a:lnTo>
                    <a:pt x="1160007" y="2192210"/>
                  </a:lnTo>
                  <a:lnTo>
                    <a:pt x="1160007" y="2210207"/>
                  </a:lnTo>
                  <a:lnTo>
                    <a:pt x="1229448" y="2385944"/>
                  </a:lnTo>
                  <a:close/>
                  <a:moveTo>
                    <a:pt x="925576" y="1949778"/>
                  </a:moveTo>
                  <a:lnTo>
                    <a:pt x="925576" y="2429349"/>
                  </a:lnTo>
                  <a:lnTo>
                    <a:pt x="1027108" y="2262611"/>
                  </a:lnTo>
                  <a:lnTo>
                    <a:pt x="1027108" y="2077876"/>
                  </a:lnTo>
                  <a:close/>
                  <a:moveTo>
                    <a:pt x="925576" y="1754986"/>
                  </a:moveTo>
                  <a:lnTo>
                    <a:pt x="925576" y="1869585"/>
                  </a:lnTo>
                  <a:cubicBezTo>
                    <a:pt x="929565" y="1871173"/>
                    <a:pt x="933010" y="1873555"/>
                    <a:pt x="935910" y="1876996"/>
                  </a:cubicBezTo>
                  <a:lnTo>
                    <a:pt x="1027108" y="1992125"/>
                  </a:lnTo>
                  <a:lnTo>
                    <a:pt x="1027108" y="1758426"/>
                  </a:lnTo>
                  <a:cubicBezTo>
                    <a:pt x="990847" y="1760544"/>
                    <a:pt x="966008" y="1761867"/>
                    <a:pt x="966008" y="1761867"/>
                  </a:cubicBezTo>
                  <a:close/>
                  <a:moveTo>
                    <a:pt x="1229448" y="1748105"/>
                  </a:moveTo>
                  <a:cubicBezTo>
                    <a:pt x="1208235" y="1749163"/>
                    <a:pt x="1184483" y="1750222"/>
                    <a:pt x="1160007" y="1751281"/>
                  </a:cubicBezTo>
                  <a:lnTo>
                    <a:pt x="1160007" y="2048498"/>
                  </a:lnTo>
                  <a:lnTo>
                    <a:pt x="1229448" y="1875143"/>
                  </a:lnTo>
                  <a:close/>
                  <a:moveTo>
                    <a:pt x="1852602" y="1323848"/>
                  </a:moveTo>
                  <a:lnTo>
                    <a:pt x="1851877" y="1324642"/>
                  </a:lnTo>
                  <a:lnTo>
                    <a:pt x="1853328" y="1324642"/>
                  </a:lnTo>
                  <a:close/>
                  <a:moveTo>
                    <a:pt x="2342677" y="1283620"/>
                  </a:moveTo>
                  <a:lnTo>
                    <a:pt x="2332342" y="1292354"/>
                  </a:lnTo>
                  <a:lnTo>
                    <a:pt x="2350292" y="1291295"/>
                  </a:lnTo>
                  <a:close/>
                  <a:moveTo>
                    <a:pt x="1677278" y="1261917"/>
                  </a:moveTo>
                  <a:lnTo>
                    <a:pt x="1588437" y="1342110"/>
                  </a:lnTo>
                  <a:lnTo>
                    <a:pt x="1744180" y="1331788"/>
                  </a:lnTo>
                  <a:close/>
                  <a:moveTo>
                    <a:pt x="2159194" y="1214542"/>
                  </a:moveTo>
                  <a:lnTo>
                    <a:pt x="2050046" y="1311145"/>
                  </a:lnTo>
                  <a:lnTo>
                    <a:pt x="2242233" y="1298441"/>
                  </a:lnTo>
                  <a:close/>
                  <a:moveTo>
                    <a:pt x="1739104" y="1205808"/>
                  </a:moveTo>
                  <a:lnTo>
                    <a:pt x="1716803" y="1225923"/>
                  </a:lnTo>
                  <a:lnTo>
                    <a:pt x="1792952" y="1305851"/>
                  </a:lnTo>
                  <a:lnTo>
                    <a:pt x="1815797" y="1285472"/>
                  </a:lnTo>
                  <a:close/>
                  <a:moveTo>
                    <a:pt x="3753614" y="1193899"/>
                  </a:moveTo>
                  <a:cubicBezTo>
                    <a:pt x="3753070" y="1194693"/>
                    <a:pt x="3752888" y="1196016"/>
                    <a:pt x="3752344" y="1196810"/>
                  </a:cubicBezTo>
                  <a:cubicBezTo>
                    <a:pt x="3742372" y="1217718"/>
                    <a:pt x="3726417" y="1233863"/>
                    <a:pt x="3707199" y="1244449"/>
                  </a:cubicBezTo>
                  <a:lnTo>
                    <a:pt x="3806555" y="1237833"/>
                  </a:lnTo>
                  <a:cubicBezTo>
                    <a:pt x="3826137" y="1236509"/>
                    <a:pt x="3842998" y="1225129"/>
                    <a:pt x="3851338" y="1207661"/>
                  </a:cubicBezTo>
                  <a:cubicBezTo>
                    <a:pt x="3851520" y="1207132"/>
                    <a:pt x="3851520" y="1206338"/>
                    <a:pt x="3851701" y="1205808"/>
                  </a:cubicBezTo>
                  <a:close/>
                  <a:moveTo>
                    <a:pt x="1601310" y="1181989"/>
                  </a:moveTo>
                  <a:cubicBezTo>
                    <a:pt x="1591519" y="1184900"/>
                    <a:pt x="1582635" y="1190723"/>
                    <a:pt x="1575927" y="1198663"/>
                  </a:cubicBezTo>
                  <a:lnTo>
                    <a:pt x="1490168" y="1301617"/>
                  </a:lnTo>
                  <a:cubicBezTo>
                    <a:pt x="1478565" y="1315379"/>
                    <a:pt x="1475120" y="1332582"/>
                    <a:pt x="1479652" y="1349521"/>
                  </a:cubicBezTo>
                  <a:lnTo>
                    <a:pt x="1502497" y="1348198"/>
                  </a:lnTo>
                  <a:lnTo>
                    <a:pt x="1640472" y="1223276"/>
                  </a:lnTo>
                  <a:close/>
                  <a:moveTo>
                    <a:pt x="1696315" y="1172725"/>
                  </a:moveTo>
                  <a:lnTo>
                    <a:pt x="1668575" y="1175107"/>
                  </a:lnTo>
                  <a:lnTo>
                    <a:pt x="1680179" y="1187282"/>
                  </a:lnTo>
                  <a:close/>
                  <a:moveTo>
                    <a:pt x="2665223" y="1166109"/>
                  </a:moveTo>
                  <a:lnTo>
                    <a:pt x="2532687" y="1279120"/>
                  </a:lnTo>
                  <a:lnTo>
                    <a:pt x="2757146" y="1264299"/>
                  </a:lnTo>
                  <a:close/>
                  <a:moveTo>
                    <a:pt x="2219569" y="1160815"/>
                  </a:moveTo>
                  <a:lnTo>
                    <a:pt x="2198900" y="1179342"/>
                  </a:lnTo>
                  <a:lnTo>
                    <a:pt x="2283389" y="1264299"/>
                  </a:lnTo>
                  <a:lnTo>
                    <a:pt x="2304784" y="1246037"/>
                  </a:lnTo>
                  <a:close/>
                  <a:moveTo>
                    <a:pt x="1966645" y="1150494"/>
                  </a:moveTo>
                  <a:lnTo>
                    <a:pt x="1775184" y="1166109"/>
                  </a:lnTo>
                  <a:lnTo>
                    <a:pt x="1855503" y="1250007"/>
                  </a:lnTo>
                  <a:close/>
                  <a:moveTo>
                    <a:pt x="2086671" y="1140966"/>
                  </a:moveTo>
                  <a:lnTo>
                    <a:pt x="2054760" y="1143612"/>
                  </a:lnTo>
                  <a:lnTo>
                    <a:pt x="1892671" y="1288384"/>
                  </a:lnTo>
                  <a:lnTo>
                    <a:pt x="1922768" y="1319879"/>
                  </a:lnTo>
                  <a:lnTo>
                    <a:pt x="1963744" y="1317232"/>
                  </a:lnTo>
                  <a:lnTo>
                    <a:pt x="2122207" y="1176695"/>
                  </a:lnTo>
                  <a:close/>
                  <a:moveTo>
                    <a:pt x="1549093" y="1139113"/>
                  </a:moveTo>
                  <a:lnTo>
                    <a:pt x="1465692" y="1145994"/>
                  </a:lnTo>
                  <a:cubicBezTo>
                    <a:pt x="1451550" y="1147053"/>
                    <a:pt x="1438133" y="1153934"/>
                    <a:pt x="1429068" y="1165050"/>
                  </a:cubicBezTo>
                  <a:lnTo>
                    <a:pt x="1376488" y="1228040"/>
                  </a:lnTo>
                  <a:cubicBezTo>
                    <a:pt x="1381746" y="1230158"/>
                    <a:pt x="1386642" y="1232275"/>
                    <a:pt x="1391899" y="1234392"/>
                  </a:cubicBezTo>
                  <a:cubicBezTo>
                    <a:pt x="1391899" y="1234392"/>
                    <a:pt x="1406404" y="1237833"/>
                    <a:pt x="1419458" y="1256624"/>
                  </a:cubicBezTo>
                  <a:close/>
                  <a:moveTo>
                    <a:pt x="2169709" y="1134085"/>
                  </a:moveTo>
                  <a:lnTo>
                    <a:pt x="2155749" y="1135143"/>
                  </a:lnTo>
                  <a:lnTo>
                    <a:pt x="2161551" y="1141230"/>
                  </a:lnTo>
                  <a:close/>
                  <a:moveTo>
                    <a:pt x="2729044" y="1111588"/>
                  </a:moveTo>
                  <a:lnTo>
                    <a:pt x="2705836" y="1131702"/>
                  </a:lnTo>
                  <a:lnTo>
                    <a:pt x="2808275" y="1241009"/>
                  </a:lnTo>
                  <a:lnTo>
                    <a:pt x="2830757" y="1219571"/>
                  </a:lnTo>
                  <a:close/>
                  <a:moveTo>
                    <a:pt x="2462884" y="1110265"/>
                  </a:moveTo>
                  <a:lnTo>
                    <a:pt x="2261089" y="1126674"/>
                  </a:lnTo>
                  <a:lnTo>
                    <a:pt x="2345397" y="1211366"/>
                  </a:lnTo>
                  <a:close/>
                  <a:moveTo>
                    <a:pt x="2602128" y="1098620"/>
                  </a:moveTo>
                  <a:lnTo>
                    <a:pt x="2553357" y="1102590"/>
                  </a:lnTo>
                  <a:lnTo>
                    <a:pt x="2383290" y="1248949"/>
                  </a:lnTo>
                  <a:lnTo>
                    <a:pt x="2420821" y="1286796"/>
                  </a:lnTo>
                  <a:lnTo>
                    <a:pt x="2443665" y="1285208"/>
                  </a:lnTo>
                  <a:lnTo>
                    <a:pt x="2628781" y="1127203"/>
                  </a:lnTo>
                  <a:close/>
                  <a:moveTo>
                    <a:pt x="3680003" y="1090944"/>
                  </a:moveTo>
                  <a:lnTo>
                    <a:pt x="3562878" y="1210308"/>
                  </a:lnTo>
                  <a:lnTo>
                    <a:pt x="3659515" y="1203956"/>
                  </a:lnTo>
                  <a:cubicBezTo>
                    <a:pt x="3679096" y="1202897"/>
                    <a:pt x="3695776" y="1191517"/>
                    <a:pt x="3704298" y="1173784"/>
                  </a:cubicBezTo>
                  <a:cubicBezTo>
                    <a:pt x="3712819" y="1156316"/>
                    <a:pt x="3711188" y="1136202"/>
                    <a:pt x="3700128" y="1120057"/>
                  </a:cubicBezTo>
                  <a:close/>
                  <a:moveTo>
                    <a:pt x="3244864" y="1073477"/>
                  </a:moveTo>
                  <a:lnTo>
                    <a:pt x="3232354" y="1085122"/>
                  </a:lnTo>
                  <a:lnTo>
                    <a:pt x="3253567" y="1083534"/>
                  </a:lnTo>
                  <a:close/>
                  <a:moveTo>
                    <a:pt x="2991396" y="1066860"/>
                  </a:moveTo>
                  <a:lnTo>
                    <a:pt x="2776728" y="1084328"/>
                  </a:lnTo>
                  <a:lnTo>
                    <a:pt x="2869013" y="1183047"/>
                  </a:lnTo>
                  <a:close/>
                  <a:moveTo>
                    <a:pt x="1085489" y="1064213"/>
                  </a:moveTo>
                  <a:lnTo>
                    <a:pt x="984864" y="1171667"/>
                  </a:lnTo>
                  <a:cubicBezTo>
                    <a:pt x="1005895" y="1171137"/>
                    <a:pt x="1042701" y="1170608"/>
                    <a:pt x="1088390" y="1172990"/>
                  </a:cubicBezTo>
                  <a:close/>
                  <a:moveTo>
                    <a:pt x="3112691" y="1056803"/>
                  </a:moveTo>
                  <a:lnTo>
                    <a:pt x="3076429" y="1059979"/>
                  </a:lnTo>
                  <a:lnTo>
                    <a:pt x="3032190" y="1101531"/>
                  </a:lnTo>
                  <a:lnTo>
                    <a:pt x="3143876" y="1092268"/>
                  </a:lnTo>
                  <a:close/>
                  <a:moveTo>
                    <a:pt x="3191560" y="1050451"/>
                  </a:moveTo>
                  <a:lnTo>
                    <a:pt x="3178868" y="1051509"/>
                  </a:lnTo>
                  <a:lnTo>
                    <a:pt x="3184126" y="1057597"/>
                  </a:lnTo>
                  <a:close/>
                  <a:moveTo>
                    <a:pt x="1146953" y="1027425"/>
                  </a:moveTo>
                  <a:lnTo>
                    <a:pt x="1150941" y="1177754"/>
                  </a:lnTo>
                  <a:cubicBezTo>
                    <a:pt x="1186478" y="1181459"/>
                    <a:pt x="1224552" y="1186753"/>
                    <a:pt x="1262446" y="1194693"/>
                  </a:cubicBezTo>
                  <a:lnTo>
                    <a:pt x="1249391" y="1052568"/>
                  </a:lnTo>
                  <a:close/>
                  <a:moveTo>
                    <a:pt x="3489267" y="1026102"/>
                  </a:moveTo>
                  <a:lnTo>
                    <a:pt x="3288559" y="1042511"/>
                  </a:lnTo>
                  <a:lnTo>
                    <a:pt x="3319563" y="1077711"/>
                  </a:lnTo>
                  <a:lnTo>
                    <a:pt x="3368516" y="1073741"/>
                  </a:lnTo>
                  <a:cubicBezTo>
                    <a:pt x="3390273" y="1071889"/>
                    <a:pt x="3410761" y="1077711"/>
                    <a:pt x="3427985" y="1088298"/>
                  </a:cubicBezTo>
                  <a:close/>
                  <a:moveTo>
                    <a:pt x="3750713" y="1019485"/>
                  </a:moveTo>
                  <a:lnTo>
                    <a:pt x="3718077" y="1052568"/>
                  </a:lnTo>
                  <a:lnTo>
                    <a:pt x="3743823" y="1089621"/>
                  </a:lnTo>
                  <a:cubicBezTo>
                    <a:pt x="3754701" y="1105236"/>
                    <a:pt x="3760866" y="1123233"/>
                    <a:pt x="3762679" y="1141230"/>
                  </a:cubicBezTo>
                  <a:lnTo>
                    <a:pt x="3845355" y="1151552"/>
                  </a:lnTo>
                  <a:lnTo>
                    <a:pt x="3761410" y="1030601"/>
                  </a:lnTo>
                  <a:cubicBezTo>
                    <a:pt x="3758509" y="1026366"/>
                    <a:pt x="3754701" y="1022396"/>
                    <a:pt x="3750713" y="1019485"/>
                  </a:cubicBezTo>
                  <a:close/>
                  <a:moveTo>
                    <a:pt x="3627061" y="1014986"/>
                  </a:moveTo>
                  <a:lnTo>
                    <a:pt x="3570493" y="1019485"/>
                  </a:lnTo>
                  <a:lnTo>
                    <a:pt x="3463703" y="1127997"/>
                  </a:lnTo>
                  <a:cubicBezTo>
                    <a:pt x="3469504" y="1140172"/>
                    <a:pt x="3473131" y="1153670"/>
                    <a:pt x="3473312" y="1167961"/>
                  </a:cubicBezTo>
                  <a:lnTo>
                    <a:pt x="3474400" y="1216395"/>
                  </a:lnTo>
                  <a:lnTo>
                    <a:pt x="3482921" y="1215866"/>
                  </a:lnTo>
                  <a:lnTo>
                    <a:pt x="3649180" y="1046745"/>
                  </a:lnTo>
                  <a:close/>
                  <a:moveTo>
                    <a:pt x="945701" y="828927"/>
                  </a:moveTo>
                  <a:lnTo>
                    <a:pt x="920681" y="1077976"/>
                  </a:lnTo>
                  <a:cubicBezTo>
                    <a:pt x="933554" y="1090415"/>
                    <a:pt x="942800" y="1104707"/>
                    <a:pt x="949509" y="1118469"/>
                  </a:cubicBezTo>
                  <a:lnTo>
                    <a:pt x="1073342" y="986137"/>
                  </a:lnTo>
                  <a:close/>
                  <a:moveTo>
                    <a:pt x="1073160" y="583584"/>
                  </a:moveTo>
                  <a:lnTo>
                    <a:pt x="961112" y="748734"/>
                  </a:lnTo>
                  <a:lnTo>
                    <a:pt x="1081319" y="896946"/>
                  </a:lnTo>
                  <a:close/>
                  <a:moveTo>
                    <a:pt x="921769" y="442253"/>
                  </a:moveTo>
                  <a:lnTo>
                    <a:pt x="371137" y="1238891"/>
                  </a:lnTo>
                  <a:cubicBezTo>
                    <a:pt x="414107" y="1235451"/>
                    <a:pt x="450006" y="1232804"/>
                    <a:pt x="470312" y="1232010"/>
                  </a:cubicBezTo>
                  <a:cubicBezTo>
                    <a:pt x="470675" y="1232010"/>
                    <a:pt x="471037" y="1231745"/>
                    <a:pt x="471400" y="1231745"/>
                  </a:cubicBezTo>
                  <a:lnTo>
                    <a:pt x="529237" y="1231745"/>
                  </a:lnTo>
                  <a:cubicBezTo>
                    <a:pt x="535583" y="1231745"/>
                    <a:pt x="541204" y="1234392"/>
                    <a:pt x="545918" y="1238097"/>
                  </a:cubicBezTo>
                  <a:cubicBezTo>
                    <a:pt x="569850" y="1213219"/>
                    <a:pt x="609557" y="1194957"/>
                    <a:pt x="676278" y="1199721"/>
                  </a:cubicBezTo>
                  <a:cubicBezTo>
                    <a:pt x="676278" y="1199721"/>
                    <a:pt x="680992" y="1038805"/>
                    <a:pt x="817335" y="1038805"/>
                  </a:cubicBezTo>
                  <a:cubicBezTo>
                    <a:pt x="833834" y="1038805"/>
                    <a:pt x="848702" y="1040658"/>
                    <a:pt x="861756" y="1044099"/>
                  </a:cubicBezTo>
                  <a:close/>
                  <a:moveTo>
                    <a:pt x="985589" y="425315"/>
                  </a:moveTo>
                  <a:lnTo>
                    <a:pt x="965282" y="631223"/>
                  </a:lnTo>
                  <a:lnTo>
                    <a:pt x="1060288" y="491216"/>
                  </a:lnTo>
                  <a:close/>
                  <a:moveTo>
                    <a:pt x="931015" y="348033"/>
                  </a:moveTo>
                  <a:lnTo>
                    <a:pt x="311849" y="1243920"/>
                  </a:lnTo>
                  <a:cubicBezTo>
                    <a:pt x="320189" y="1243126"/>
                    <a:pt x="328530" y="1242597"/>
                    <a:pt x="336507" y="1241803"/>
                  </a:cubicBezTo>
                  <a:lnTo>
                    <a:pt x="926845" y="387468"/>
                  </a:lnTo>
                  <a:close/>
                  <a:moveTo>
                    <a:pt x="1063914" y="236080"/>
                  </a:moveTo>
                  <a:lnTo>
                    <a:pt x="994654" y="336388"/>
                  </a:lnTo>
                  <a:lnTo>
                    <a:pt x="993566" y="348827"/>
                  </a:lnTo>
                  <a:lnTo>
                    <a:pt x="1068628" y="415258"/>
                  </a:lnTo>
                  <a:close/>
                  <a:moveTo>
                    <a:pt x="1125921" y="226817"/>
                  </a:moveTo>
                  <a:lnTo>
                    <a:pt x="1145321" y="963112"/>
                  </a:lnTo>
                  <a:lnTo>
                    <a:pt x="1243771" y="986931"/>
                  </a:lnTo>
                  <a:lnTo>
                    <a:pt x="1173786" y="229464"/>
                  </a:lnTo>
                  <a:cubicBezTo>
                    <a:pt x="1167803" y="230787"/>
                    <a:pt x="1161639" y="231316"/>
                    <a:pt x="1155474" y="231316"/>
                  </a:cubicBezTo>
                  <a:cubicBezTo>
                    <a:pt x="1145321" y="231316"/>
                    <a:pt x="1135530" y="229464"/>
                    <a:pt x="1125921" y="226817"/>
                  </a:cubicBezTo>
                  <a:close/>
                  <a:moveTo>
                    <a:pt x="1023663" y="213849"/>
                  </a:moveTo>
                  <a:lnTo>
                    <a:pt x="1004263" y="242432"/>
                  </a:lnTo>
                  <a:lnTo>
                    <a:pt x="1000093" y="281867"/>
                  </a:lnTo>
                  <a:lnTo>
                    <a:pt x="1046508" y="214643"/>
                  </a:lnTo>
                  <a:cubicBezTo>
                    <a:pt x="1043970" y="214643"/>
                    <a:pt x="1041250" y="215172"/>
                    <a:pt x="1038531" y="215172"/>
                  </a:cubicBezTo>
                  <a:cubicBezTo>
                    <a:pt x="1033454" y="215172"/>
                    <a:pt x="1028559" y="214643"/>
                    <a:pt x="1023663" y="213849"/>
                  </a:cubicBezTo>
                  <a:close/>
                  <a:moveTo>
                    <a:pt x="1236881" y="193205"/>
                  </a:moveTo>
                  <a:cubicBezTo>
                    <a:pt x="1235612" y="194528"/>
                    <a:pt x="1234524" y="196116"/>
                    <a:pt x="1233255" y="197439"/>
                  </a:cubicBezTo>
                  <a:lnTo>
                    <a:pt x="1326266" y="1204750"/>
                  </a:lnTo>
                  <a:lnTo>
                    <a:pt x="1388273" y="1130379"/>
                  </a:lnTo>
                  <a:cubicBezTo>
                    <a:pt x="1406585" y="1108677"/>
                    <a:pt x="1433238" y="1094914"/>
                    <a:pt x="1461522" y="1092532"/>
                  </a:cubicBezTo>
                  <a:lnTo>
                    <a:pt x="3054672" y="962053"/>
                  </a:lnTo>
                  <a:lnTo>
                    <a:pt x="3061381" y="947232"/>
                  </a:lnTo>
                  <a:lnTo>
                    <a:pt x="3076792" y="954113"/>
                  </a:lnTo>
                  <a:cubicBezTo>
                    <a:pt x="3081687" y="956230"/>
                    <a:pt x="3087126" y="956230"/>
                    <a:pt x="3091840" y="953848"/>
                  </a:cubicBezTo>
                  <a:cubicBezTo>
                    <a:pt x="3096554" y="951731"/>
                    <a:pt x="3099999" y="947232"/>
                    <a:pt x="3101087" y="942203"/>
                  </a:cubicBezTo>
                  <a:cubicBezTo>
                    <a:pt x="3102356" y="936910"/>
                    <a:pt x="3101087" y="931617"/>
                    <a:pt x="3097824" y="927382"/>
                  </a:cubicBezTo>
                  <a:cubicBezTo>
                    <a:pt x="3094379" y="923147"/>
                    <a:pt x="3089483" y="920766"/>
                    <a:pt x="3084044" y="920766"/>
                  </a:cubicBezTo>
                  <a:lnTo>
                    <a:pt x="3053766" y="920766"/>
                  </a:lnTo>
                  <a:cubicBezTo>
                    <a:pt x="3036904" y="920766"/>
                    <a:pt x="3020768" y="917590"/>
                    <a:pt x="3005357" y="911238"/>
                  </a:cubicBezTo>
                  <a:lnTo>
                    <a:pt x="2159919" y="566381"/>
                  </a:lnTo>
                  <a:cubicBezTo>
                    <a:pt x="2155930" y="575644"/>
                    <a:pt x="2148678" y="583319"/>
                    <a:pt x="2139431" y="587818"/>
                  </a:cubicBezTo>
                  <a:cubicBezTo>
                    <a:pt x="2133267" y="590730"/>
                    <a:pt x="2126558" y="592318"/>
                    <a:pt x="2120031" y="592318"/>
                  </a:cubicBezTo>
                  <a:cubicBezTo>
                    <a:pt x="2113867" y="592318"/>
                    <a:pt x="2107702" y="590994"/>
                    <a:pt x="2101900" y="588348"/>
                  </a:cubicBezTo>
                  <a:lnTo>
                    <a:pt x="2086489" y="581467"/>
                  </a:lnTo>
                  <a:lnTo>
                    <a:pt x="2097368" y="557382"/>
                  </a:lnTo>
                  <a:lnTo>
                    <a:pt x="2112779" y="564263"/>
                  </a:lnTo>
                  <a:cubicBezTo>
                    <a:pt x="2117674" y="566381"/>
                    <a:pt x="2123113" y="566381"/>
                    <a:pt x="2127827" y="563999"/>
                  </a:cubicBezTo>
                  <a:cubicBezTo>
                    <a:pt x="2132541" y="561881"/>
                    <a:pt x="2135986" y="557647"/>
                    <a:pt x="2137074" y="552353"/>
                  </a:cubicBezTo>
                  <a:cubicBezTo>
                    <a:pt x="2138343" y="547060"/>
                    <a:pt x="2137074" y="541767"/>
                    <a:pt x="2133811" y="537532"/>
                  </a:cubicBezTo>
                  <a:cubicBezTo>
                    <a:pt x="2130366" y="533298"/>
                    <a:pt x="2125470" y="530916"/>
                    <a:pt x="2120031" y="530916"/>
                  </a:cubicBezTo>
                  <a:lnTo>
                    <a:pt x="2089753" y="530916"/>
                  </a:lnTo>
                  <a:cubicBezTo>
                    <a:pt x="2073073" y="530916"/>
                    <a:pt x="2056755" y="527740"/>
                    <a:pt x="2041344" y="521388"/>
                  </a:cubicBezTo>
                  <a:close/>
                  <a:moveTo>
                    <a:pt x="1038712" y="0"/>
                  </a:moveTo>
                  <a:cubicBezTo>
                    <a:pt x="1065908" y="0"/>
                    <a:pt x="1090385" y="10587"/>
                    <a:pt x="1109422" y="26996"/>
                  </a:cubicBezTo>
                  <a:cubicBezTo>
                    <a:pt x="1123383" y="20115"/>
                    <a:pt x="1139156" y="16145"/>
                    <a:pt x="1155656" y="16145"/>
                  </a:cubicBezTo>
                  <a:cubicBezTo>
                    <a:pt x="1215124" y="16145"/>
                    <a:pt x="1263171" y="64578"/>
                    <a:pt x="1263171" y="123598"/>
                  </a:cubicBezTo>
                  <a:cubicBezTo>
                    <a:pt x="1263171" y="140537"/>
                    <a:pt x="1259001" y="156152"/>
                    <a:pt x="1252111" y="170444"/>
                  </a:cubicBezTo>
                  <a:lnTo>
                    <a:pt x="2051497" y="496509"/>
                  </a:lnTo>
                  <a:cubicBezTo>
                    <a:pt x="2063645" y="501538"/>
                    <a:pt x="2076517" y="504185"/>
                    <a:pt x="2089753" y="504185"/>
                  </a:cubicBezTo>
                  <a:lnTo>
                    <a:pt x="2120031" y="504185"/>
                  </a:lnTo>
                  <a:cubicBezTo>
                    <a:pt x="2133629" y="504185"/>
                    <a:pt x="2146139" y="510272"/>
                    <a:pt x="2154480" y="520859"/>
                  </a:cubicBezTo>
                  <a:cubicBezTo>
                    <a:pt x="2158831" y="526416"/>
                    <a:pt x="2161551" y="532504"/>
                    <a:pt x="2163001" y="538856"/>
                  </a:cubicBezTo>
                  <a:lnTo>
                    <a:pt x="3015510" y="886624"/>
                  </a:lnTo>
                  <a:cubicBezTo>
                    <a:pt x="3027658" y="891652"/>
                    <a:pt x="3040530" y="894299"/>
                    <a:pt x="3053766" y="894299"/>
                  </a:cubicBezTo>
                  <a:lnTo>
                    <a:pt x="3084044" y="894299"/>
                  </a:lnTo>
                  <a:cubicBezTo>
                    <a:pt x="3097642" y="894299"/>
                    <a:pt x="3110153" y="900386"/>
                    <a:pt x="3118493" y="910973"/>
                  </a:cubicBezTo>
                  <a:cubicBezTo>
                    <a:pt x="3126833" y="921559"/>
                    <a:pt x="3129915" y="935322"/>
                    <a:pt x="3126833" y="948555"/>
                  </a:cubicBezTo>
                  <a:cubicBezTo>
                    <a:pt x="3126289" y="951467"/>
                    <a:pt x="3125201" y="954378"/>
                    <a:pt x="3123932" y="956760"/>
                  </a:cubicBezTo>
                  <a:lnTo>
                    <a:pt x="3561609" y="921030"/>
                  </a:lnTo>
                  <a:cubicBezTo>
                    <a:pt x="3592975" y="918648"/>
                    <a:pt x="3623253" y="930029"/>
                    <a:pt x="3645010" y="951731"/>
                  </a:cubicBezTo>
                  <a:lnTo>
                    <a:pt x="3685804" y="956760"/>
                  </a:lnTo>
                  <a:lnTo>
                    <a:pt x="3708649" y="954642"/>
                  </a:lnTo>
                  <a:cubicBezTo>
                    <a:pt x="3746180" y="951731"/>
                    <a:pt x="3783348" y="968934"/>
                    <a:pt x="3804924" y="1000165"/>
                  </a:cubicBezTo>
                  <a:lnTo>
                    <a:pt x="3890864" y="1123233"/>
                  </a:lnTo>
                  <a:cubicBezTo>
                    <a:pt x="3913164" y="1155258"/>
                    <a:pt x="3916247" y="1195487"/>
                    <a:pt x="3899385" y="1230952"/>
                  </a:cubicBezTo>
                  <a:cubicBezTo>
                    <a:pt x="3882523" y="1266152"/>
                    <a:pt x="3849163" y="1288648"/>
                    <a:pt x="3810182" y="1291295"/>
                  </a:cubicBezTo>
                  <a:lnTo>
                    <a:pt x="3592588" y="1305788"/>
                  </a:lnTo>
                  <a:lnTo>
                    <a:pt x="3591470" y="1291062"/>
                  </a:lnTo>
                  <a:lnTo>
                    <a:pt x="2721612" y="1357099"/>
                  </a:lnTo>
                  <a:lnTo>
                    <a:pt x="2722066" y="1363081"/>
                  </a:lnTo>
                  <a:lnTo>
                    <a:pt x="1538396" y="1442153"/>
                  </a:lnTo>
                  <a:cubicBezTo>
                    <a:pt x="1536039" y="1442418"/>
                    <a:pt x="1533501" y="1442418"/>
                    <a:pt x="1531144" y="1442418"/>
                  </a:cubicBezTo>
                  <a:cubicBezTo>
                    <a:pt x="1510293" y="1442418"/>
                    <a:pt x="1491075" y="1436595"/>
                    <a:pt x="1474394" y="1426273"/>
                  </a:cubicBezTo>
                  <a:cubicBezTo>
                    <a:pt x="1470406" y="1424685"/>
                    <a:pt x="1466417" y="1422833"/>
                    <a:pt x="1463335" y="1419127"/>
                  </a:cubicBezTo>
                  <a:cubicBezTo>
                    <a:pt x="1462609" y="1418333"/>
                    <a:pt x="1462247" y="1417275"/>
                    <a:pt x="1461884" y="1416745"/>
                  </a:cubicBezTo>
                  <a:cubicBezTo>
                    <a:pt x="1457533" y="1413040"/>
                    <a:pt x="1453544" y="1408806"/>
                    <a:pt x="1449918" y="1404571"/>
                  </a:cubicBezTo>
                  <a:lnTo>
                    <a:pt x="1435957" y="1405365"/>
                  </a:lnTo>
                  <a:cubicBezTo>
                    <a:pt x="1432331" y="1427861"/>
                    <a:pt x="1427073" y="1453004"/>
                    <a:pt x="1419277" y="1481853"/>
                  </a:cubicBezTo>
                  <a:cubicBezTo>
                    <a:pt x="1399514" y="1554900"/>
                    <a:pt x="1385010" y="1608097"/>
                    <a:pt x="1373043" y="1647268"/>
                  </a:cubicBezTo>
                  <a:cubicBezTo>
                    <a:pt x="1347842" y="1729578"/>
                    <a:pt x="1333700" y="1748105"/>
                    <a:pt x="1304147" y="1747046"/>
                  </a:cubicBezTo>
                  <a:lnTo>
                    <a:pt x="1304147" y="4755479"/>
                  </a:lnTo>
                  <a:cubicBezTo>
                    <a:pt x="1398608" y="4768448"/>
                    <a:pt x="1460434" y="4789621"/>
                    <a:pt x="1460434" y="4813441"/>
                  </a:cubicBezTo>
                  <a:lnTo>
                    <a:pt x="1460434" y="5083133"/>
                  </a:lnTo>
                  <a:cubicBezTo>
                    <a:pt x="1603123" y="5104306"/>
                    <a:pt x="1694865" y="5137389"/>
                    <a:pt x="1694865" y="5174442"/>
                  </a:cubicBezTo>
                  <a:lnTo>
                    <a:pt x="1694865" y="5193233"/>
                  </a:lnTo>
                  <a:cubicBezTo>
                    <a:pt x="1855322" y="5227110"/>
                    <a:pt x="1954860" y="5274220"/>
                    <a:pt x="1954860" y="5326359"/>
                  </a:cubicBezTo>
                  <a:lnTo>
                    <a:pt x="1954860" y="5530150"/>
                  </a:lnTo>
                  <a:cubicBezTo>
                    <a:pt x="1954860" y="5633104"/>
                    <a:pt x="1565955" y="5716738"/>
                    <a:pt x="1086215" y="5716738"/>
                  </a:cubicBezTo>
                  <a:cubicBezTo>
                    <a:pt x="606474" y="5716738"/>
                    <a:pt x="217569" y="5633369"/>
                    <a:pt x="217569" y="5530150"/>
                  </a:cubicBezTo>
                  <a:lnTo>
                    <a:pt x="217569" y="5326359"/>
                  </a:lnTo>
                  <a:cubicBezTo>
                    <a:pt x="217569" y="5274220"/>
                    <a:pt x="317289" y="5227375"/>
                    <a:pt x="477565" y="5193233"/>
                  </a:cubicBezTo>
                  <a:lnTo>
                    <a:pt x="477565" y="5174442"/>
                  </a:lnTo>
                  <a:cubicBezTo>
                    <a:pt x="477565" y="5137389"/>
                    <a:pt x="569488" y="5104306"/>
                    <a:pt x="712177" y="5083133"/>
                  </a:cubicBezTo>
                  <a:lnTo>
                    <a:pt x="712177" y="4813441"/>
                  </a:lnTo>
                  <a:cubicBezTo>
                    <a:pt x="712177" y="4790944"/>
                    <a:pt x="766569" y="4771095"/>
                    <a:pt x="851602" y="4757861"/>
                  </a:cubicBezTo>
                  <a:lnTo>
                    <a:pt x="851602" y="1742811"/>
                  </a:lnTo>
                  <a:lnTo>
                    <a:pt x="847251" y="1742017"/>
                  </a:lnTo>
                  <a:lnTo>
                    <a:pt x="847251" y="1707346"/>
                  </a:lnTo>
                  <a:cubicBezTo>
                    <a:pt x="847251" y="1707346"/>
                    <a:pt x="713627" y="1722168"/>
                    <a:pt x="686250" y="1605715"/>
                  </a:cubicBezTo>
                  <a:cubicBezTo>
                    <a:pt x="686250" y="1605715"/>
                    <a:pt x="605749" y="1620801"/>
                    <a:pt x="557340" y="1577661"/>
                  </a:cubicBezTo>
                  <a:lnTo>
                    <a:pt x="557340" y="1770866"/>
                  </a:lnTo>
                  <a:cubicBezTo>
                    <a:pt x="557340" y="1786216"/>
                    <a:pt x="544648" y="1798920"/>
                    <a:pt x="529237" y="1798920"/>
                  </a:cubicBezTo>
                  <a:lnTo>
                    <a:pt x="471400" y="1798920"/>
                  </a:lnTo>
                  <a:cubicBezTo>
                    <a:pt x="466867" y="1798920"/>
                    <a:pt x="462697" y="1797332"/>
                    <a:pt x="458890" y="1795479"/>
                  </a:cubicBezTo>
                  <a:cubicBezTo>
                    <a:pt x="374219" y="1800773"/>
                    <a:pt x="112048" y="1816123"/>
                    <a:pt x="64546" y="1816123"/>
                  </a:cubicBezTo>
                  <a:cubicBezTo>
                    <a:pt x="7434" y="1816123"/>
                    <a:pt x="0" y="1714757"/>
                    <a:pt x="0" y="1714757"/>
                  </a:cubicBezTo>
                  <a:cubicBezTo>
                    <a:pt x="0" y="1714757"/>
                    <a:pt x="0" y="1444800"/>
                    <a:pt x="0" y="1367783"/>
                  </a:cubicBezTo>
                  <a:cubicBezTo>
                    <a:pt x="0" y="1348462"/>
                    <a:pt x="907" y="1332582"/>
                    <a:pt x="2357" y="1319879"/>
                  </a:cubicBezTo>
                  <a:cubicBezTo>
                    <a:pt x="5439" y="1291824"/>
                    <a:pt x="27740" y="1269857"/>
                    <a:pt x="55843" y="1267210"/>
                  </a:cubicBezTo>
                  <a:cubicBezTo>
                    <a:pt x="105521" y="1262182"/>
                    <a:pt x="193637" y="1253977"/>
                    <a:pt x="277401" y="1246567"/>
                  </a:cubicBezTo>
                  <a:lnTo>
                    <a:pt x="936454" y="292983"/>
                  </a:lnTo>
                  <a:lnTo>
                    <a:pt x="948965" y="166738"/>
                  </a:lnTo>
                  <a:cubicBezTo>
                    <a:pt x="937905" y="149800"/>
                    <a:pt x="931197" y="129421"/>
                    <a:pt x="931197" y="107454"/>
                  </a:cubicBezTo>
                  <a:cubicBezTo>
                    <a:pt x="931197" y="48169"/>
                    <a:pt x="979424" y="0"/>
                    <a:pt x="1038712" y="0"/>
                  </a:cubicBezTo>
                  <a:close/>
                </a:path>
              </a:pathLst>
            </a:custGeom>
            <a:solidFill>
              <a:srgbClr val="F3CB57"/>
            </a:solidFill>
            <a:ln w="12700">
              <a:miter lim="400000"/>
            </a:ln>
          </p:spPr>
          <p:txBody>
            <a:bodyPr wrap="square" lIns="38100" tIns="38100" rIns="38100" bIns="38100" anchor="ctr">
              <a:noAutofit/>
            </a:bodyPr>
            <a:lstStyle/>
            <a:p>
              <a:pPr>
                <a:defRPr sz="3000"/>
              </a:pPr>
              <a:endParaRPr/>
            </a:p>
          </p:txBody>
        </p:sp>
        <p:sp>
          <p:nvSpPr>
            <p:cNvPr id="20" name="Shape">
              <a:extLst>
                <a:ext uri="{FF2B5EF4-FFF2-40B4-BE49-F238E27FC236}">
                  <a16:creationId xmlns:a16="http://schemas.microsoft.com/office/drawing/2014/main" id="{45765701-1752-6580-6FE3-C2686C3913BA}"/>
                </a:ext>
              </a:extLst>
            </p:cNvPr>
            <p:cNvSpPr/>
            <p:nvPr/>
          </p:nvSpPr>
          <p:spPr>
            <a:xfrm>
              <a:off x="1022220" y="6203999"/>
              <a:ext cx="1737263" cy="390312"/>
            </a:xfrm>
            <a:custGeom>
              <a:avLst/>
              <a:gdLst/>
              <a:ahLst/>
              <a:cxnLst>
                <a:cxn ang="0">
                  <a:pos x="wd2" y="hd2"/>
                </a:cxn>
                <a:cxn ang="5400000">
                  <a:pos x="wd2" y="hd2"/>
                </a:cxn>
                <a:cxn ang="10800000">
                  <a:pos x="wd2" y="hd2"/>
                </a:cxn>
                <a:cxn ang="16200000">
                  <a:pos x="wd2" y="hd2"/>
                </a:cxn>
              </a:cxnLst>
              <a:rect l="0" t="0" r="r" b="b"/>
              <a:pathLst>
                <a:path w="21600" h="21600" extrusionOk="0">
                  <a:moveTo>
                    <a:pt x="0" y="11267"/>
                  </a:moveTo>
                  <a:cubicBezTo>
                    <a:pt x="0" y="16980"/>
                    <a:pt x="4835" y="21600"/>
                    <a:pt x="10800" y="21600"/>
                  </a:cubicBezTo>
                  <a:cubicBezTo>
                    <a:pt x="16765" y="21600"/>
                    <a:pt x="21600" y="16967"/>
                    <a:pt x="21600" y="11267"/>
                  </a:cubicBezTo>
                  <a:lnTo>
                    <a:pt x="21600" y="0"/>
                  </a:lnTo>
                  <a:lnTo>
                    <a:pt x="0" y="0"/>
                  </a:lnTo>
                  <a:lnTo>
                    <a:pt x="0" y="11267"/>
                  </a:lnTo>
                  <a:close/>
                </a:path>
              </a:pathLst>
            </a:custGeom>
            <a:solidFill>
              <a:srgbClr val="6B6C6E"/>
            </a:solidFill>
            <a:ln w="12700">
              <a:miter lim="400000"/>
            </a:ln>
          </p:spPr>
          <p:txBody>
            <a:bodyPr lIns="38100" tIns="38100" rIns="38100" bIns="38100" anchor="ctr"/>
            <a:lstStyle/>
            <a:p>
              <a:pPr>
                <a:defRPr sz="3000"/>
              </a:pPr>
              <a:endParaRPr/>
            </a:p>
          </p:txBody>
        </p:sp>
        <p:sp>
          <p:nvSpPr>
            <p:cNvPr id="21" name="Oval">
              <a:extLst>
                <a:ext uri="{FF2B5EF4-FFF2-40B4-BE49-F238E27FC236}">
                  <a16:creationId xmlns:a16="http://schemas.microsoft.com/office/drawing/2014/main" id="{6FDFA20D-B98F-99CB-C6B4-75D30B789533}"/>
                </a:ext>
              </a:extLst>
            </p:cNvPr>
            <p:cNvSpPr/>
            <p:nvPr/>
          </p:nvSpPr>
          <p:spPr>
            <a:xfrm>
              <a:off x="1022222" y="6013718"/>
              <a:ext cx="1737261" cy="373427"/>
            </a:xfrm>
            <a:prstGeom prst="ellipse">
              <a:avLst/>
            </a:prstGeom>
            <a:solidFill>
              <a:srgbClr val="808184"/>
            </a:solidFill>
            <a:ln w="12700">
              <a:miter lim="400000"/>
            </a:ln>
          </p:spPr>
          <p:txBody>
            <a:bodyPr lIns="38100" tIns="38100" rIns="38100" bIns="38100" anchor="ctr"/>
            <a:lstStyle/>
            <a:p>
              <a:pPr>
                <a:defRPr sz="3000"/>
              </a:pPr>
              <a:endParaRPr/>
            </a:p>
          </p:txBody>
        </p:sp>
        <p:sp>
          <p:nvSpPr>
            <p:cNvPr id="22" name="Shape">
              <a:extLst>
                <a:ext uri="{FF2B5EF4-FFF2-40B4-BE49-F238E27FC236}">
                  <a16:creationId xmlns:a16="http://schemas.microsoft.com/office/drawing/2014/main" id="{E51B2757-2857-6EF7-BA50-86A1407DF806}"/>
                </a:ext>
              </a:extLst>
            </p:cNvPr>
            <p:cNvSpPr/>
            <p:nvPr/>
          </p:nvSpPr>
          <p:spPr>
            <a:xfrm>
              <a:off x="1283858" y="6037503"/>
              <a:ext cx="1217320" cy="216206"/>
            </a:xfrm>
            <a:custGeom>
              <a:avLst/>
              <a:gdLst/>
              <a:ahLst/>
              <a:cxnLst>
                <a:cxn ang="0">
                  <a:pos x="wd2" y="hd2"/>
                </a:cxn>
                <a:cxn ang="5400000">
                  <a:pos x="wd2" y="hd2"/>
                </a:cxn>
                <a:cxn ang="10800000">
                  <a:pos x="wd2" y="hd2"/>
                </a:cxn>
                <a:cxn ang="16200000">
                  <a:pos x="wd2" y="hd2"/>
                </a:cxn>
              </a:cxnLst>
              <a:rect l="0" t="0" r="r" b="b"/>
              <a:pathLst>
                <a:path w="21600" h="21600" extrusionOk="0">
                  <a:moveTo>
                    <a:pt x="0" y="10028"/>
                  </a:moveTo>
                  <a:cubicBezTo>
                    <a:pt x="0" y="16420"/>
                    <a:pt x="4837" y="21600"/>
                    <a:pt x="10800" y="21600"/>
                  </a:cubicBezTo>
                  <a:cubicBezTo>
                    <a:pt x="16763" y="21600"/>
                    <a:pt x="21600" y="16420"/>
                    <a:pt x="21600" y="10028"/>
                  </a:cubicBezTo>
                  <a:lnTo>
                    <a:pt x="21600" y="0"/>
                  </a:lnTo>
                  <a:lnTo>
                    <a:pt x="0" y="0"/>
                  </a:lnTo>
                  <a:lnTo>
                    <a:pt x="0" y="10028"/>
                  </a:lnTo>
                  <a:close/>
                </a:path>
              </a:pathLst>
            </a:custGeom>
            <a:solidFill>
              <a:srgbClr val="6B6C6E"/>
            </a:solidFill>
            <a:ln w="12700">
              <a:miter lim="400000"/>
            </a:ln>
          </p:spPr>
          <p:txBody>
            <a:bodyPr lIns="38100" tIns="38100" rIns="38100" bIns="38100" anchor="ctr"/>
            <a:lstStyle/>
            <a:p>
              <a:pPr>
                <a:defRPr sz="3000"/>
              </a:pPr>
              <a:endParaRPr/>
            </a:p>
          </p:txBody>
        </p:sp>
        <p:sp>
          <p:nvSpPr>
            <p:cNvPr id="23" name="Oval">
              <a:extLst>
                <a:ext uri="{FF2B5EF4-FFF2-40B4-BE49-F238E27FC236}">
                  <a16:creationId xmlns:a16="http://schemas.microsoft.com/office/drawing/2014/main" id="{338E4B90-AEBA-2E54-4B61-979E1FB74293}"/>
                </a:ext>
              </a:extLst>
            </p:cNvPr>
            <p:cNvSpPr/>
            <p:nvPr/>
          </p:nvSpPr>
          <p:spPr>
            <a:xfrm>
              <a:off x="1283858" y="5918578"/>
              <a:ext cx="1217320" cy="231666"/>
            </a:xfrm>
            <a:prstGeom prst="ellipse">
              <a:avLst/>
            </a:prstGeom>
            <a:solidFill>
              <a:srgbClr val="808184"/>
            </a:solidFill>
            <a:ln w="12700">
              <a:miter lim="400000"/>
            </a:ln>
          </p:spPr>
          <p:txBody>
            <a:bodyPr lIns="38100" tIns="38100" rIns="38100" bIns="38100" anchor="ctr"/>
            <a:lstStyle/>
            <a:p>
              <a:pPr>
                <a:defRPr sz="3000"/>
              </a:pPr>
              <a:endParaRPr/>
            </a:p>
          </p:txBody>
        </p:sp>
        <p:sp>
          <p:nvSpPr>
            <p:cNvPr id="24" name="Shape">
              <a:extLst>
                <a:ext uri="{FF2B5EF4-FFF2-40B4-BE49-F238E27FC236}">
                  <a16:creationId xmlns:a16="http://schemas.microsoft.com/office/drawing/2014/main" id="{B6F09A4D-72B3-9E59-5922-7C9DD883242F}"/>
                </a:ext>
              </a:extLst>
            </p:cNvPr>
            <p:cNvSpPr/>
            <p:nvPr/>
          </p:nvSpPr>
          <p:spPr>
            <a:xfrm>
              <a:off x="1521708" y="5680726"/>
              <a:ext cx="748277" cy="397688"/>
            </a:xfrm>
            <a:custGeom>
              <a:avLst/>
              <a:gdLst/>
              <a:ahLst/>
              <a:cxnLst>
                <a:cxn ang="0">
                  <a:pos x="wd2" y="hd2"/>
                </a:cxn>
                <a:cxn ang="5400000">
                  <a:pos x="wd2" y="hd2"/>
                </a:cxn>
                <a:cxn ang="10800000">
                  <a:pos x="wd2" y="hd2"/>
                </a:cxn>
                <a:cxn ang="16200000">
                  <a:pos x="wd2" y="hd2"/>
                </a:cxn>
              </a:cxnLst>
              <a:rect l="0" t="0" r="r" b="b"/>
              <a:pathLst>
                <a:path w="21600" h="21600" extrusionOk="0">
                  <a:moveTo>
                    <a:pt x="0" y="17737"/>
                  </a:moveTo>
                  <a:cubicBezTo>
                    <a:pt x="0" y="19869"/>
                    <a:pt x="4834" y="21600"/>
                    <a:pt x="10800" y="21600"/>
                  </a:cubicBezTo>
                  <a:cubicBezTo>
                    <a:pt x="16766" y="21600"/>
                    <a:pt x="21600" y="19869"/>
                    <a:pt x="21600" y="17737"/>
                  </a:cubicBezTo>
                  <a:lnTo>
                    <a:pt x="21600" y="0"/>
                  </a:lnTo>
                  <a:lnTo>
                    <a:pt x="0" y="0"/>
                  </a:lnTo>
                  <a:lnTo>
                    <a:pt x="0" y="17737"/>
                  </a:lnTo>
                  <a:close/>
                </a:path>
              </a:pathLst>
            </a:custGeom>
            <a:solidFill>
              <a:srgbClr val="6B6C6E"/>
            </a:solidFill>
            <a:ln w="12700">
              <a:miter lim="400000"/>
            </a:ln>
          </p:spPr>
          <p:txBody>
            <a:bodyPr lIns="38100" tIns="38100" rIns="38100" bIns="38100" anchor="ctr"/>
            <a:lstStyle/>
            <a:p>
              <a:pPr>
                <a:defRPr sz="3000"/>
              </a:pPr>
              <a:endParaRPr/>
            </a:p>
          </p:txBody>
        </p:sp>
        <p:sp>
          <p:nvSpPr>
            <p:cNvPr id="25" name="Oval">
              <a:extLst>
                <a:ext uri="{FF2B5EF4-FFF2-40B4-BE49-F238E27FC236}">
                  <a16:creationId xmlns:a16="http://schemas.microsoft.com/office/drawing/2014/main" id="{9DF6F3A3-342F-57D7-A7F0-A4F640D6038D}"/>
                </a:ext>
              </a:extLst>
            </p:cNvPr>
            <p:cNvSpPr/>
            <p:nvPr/>
          </p:nvSpPr>
          <p:spPr>
            <a:xfrm>
              <a:off x="1521708" y="5609373"/>
              <a:ext cx="748277" cy="142236"/>
            </a:xfrm>
            <a:prstGeom prst="ellipse">
              <a:avLst/>
            </a:prstGeom>
            <a:solidFill>
              <a:srgbClr val="808184"/>
            </a:solidFill>
            <a:ln w="12700">
              <a:miter lim="400000"/>
            </a:ln>
          </p:spPr>
          <p:txBody>
            <a:bodyPr lIns="38100" tIns="38100" rIns="38100" bIns="38100" anchor="ctr"/>
            <a:lstStyle/>
            <a:p>
              <a:pPr>
                <a:defRPr sz="3000"/>
              </a:pPr>
              <a:endParaRPr/>
            </a:p>
          </p:txBody>
        </p:sp>
        <p:sp>
          <p:nvSpPr>
            <p:cNvPr id="26" name="Shape">
              <a:extLst>
                <a:ext uri="{FF2B5EF4-FFF2-40B4-BE49-F238E27FC236}">
                  <a16:creationId xmlns:a16="http://schemas.microsoft.com/office/drawing/2014/main" id="{EBFBCA71-E9C1-5764-BB3A-068FEC4D9BAD}"/>
                </a:ext>
              </a:extLst>
            </p:cNvPr>
            <p:cNvSpPr/>
            <p:nvPr/>
          </p:nvSpPr>
          <p:spPr>
            <a:xfrm>
              <a:off x="1973622" y="995073"/>
              <a:ext cx="169295" cy="1167724"/>
            </a:xfrm>
            <a:custGeom>
              <a:avLst/>
              <a:gdLst/>
              <a:ahLst/>
              <a:cxnLst>
                <a:cxn ang="0">
                  <a:pos x="wd2" y="hd2"/>
                </a:cxn>
                <a:cxn ang="5400000">
                  <a:pos x="wd2" y="hd2"/>
                </a:cxn>
                <a:cxn ang="10800000">
                  <a:pos x="wd2" y="hd2"/>
                </a:cxn>
                <a:cxn ang="16200000">
                  <a:pos x="wd2" y="hd2"/>
                </a:cxn>
              </a:cxnLst>
              <a:rect l="0" t="0" r="r" b="b"/>
              <a:pathLst>
                <a:path w="21600" h="21600" extrusionOk="0">
                  <a:moveTo>
                    <a:pt x="0" y="106"/>
                  </a:moveTo>
                  <a:lnTo>
                    <a:pt x="7917" y="0"/>
                  </a:lnTo>
                  <a:lnTo>
                    <a:pt x="21600" y="21494"/>
                  </a:lnTo>
                  <a:lnTo>
                    <a:pt x="13682" y="21600"/>
                  </a:lnTo>
                  <a:close/>
                </a:path>
              </a:pathLst>
            </a:custGeom>
            <a:solidFill>
              <a:srgbClr val="E6B655"/>
            </a:solidFill>
            <a:ln w="12700">
              <a:miter lim="400000"/>
            </a:ln>
          </p:spPr>
          <p:txBody>
            <a:bodyPr lIns="38100" tIns="38100" rIns="38100" bIns="38100" anchor="ctr"/>
            <a:lstStyle/>
            <a:p>
              <a:pPr>
                <a:defRPr sz="3000"/>
              </a:pPr>
              <a:endParaRPr/>
            </a:p>
          </p:txBody>
        </p:sp>
        <p:sp>
          <p:nvSpPr>
            <p:cNvPr id="27" name="Circle">
              <a:extLst>
                <a:ext uri="{FF2B5EF4-FFF2-40B4-BE49-F238E27FC236}">
                  <a16:creationId xmlns:a16="http://schemas.microsoft.com/office/drawing/2014/main" id="{9990D7D1-67BC-6175-083D-441ADA96562A}"/>
                </a:ext>
              </a:extLst>
            </p:cNvPr>
            <p:cNvSpPr/>
            <p:nvPr/>
          </p:nvSpPr>
          <p:spPr>
            <a:xfrm>
              <a:off x="1854699" y="876150"/>
              <a:ext cx="215017" cy="215017"/>
            </a:xfrm>
            <a:prstGeom prst="ellipse">
              <a:avLst/>
            </a:prstGeom>
            <a:solidFill>
              <a:srgbClr val="9B7A42"/>
            </a:solidFill>
            <a:ln w="12700">
              <a:miter lim="400000"/>
            </a:ln>
          </p:spPr>
          <p:txBody>
            <a:bodyPr lIns="38100" tIns="38100" rIns="38100" bIns="38100" anchor="ctr"/>
            <a:lstStyle/>
            <a:p>
              <a:pPr>
                <a:defRPr sz="3000"/>
              </a:pPr>
              <a:endParaRPr/>
            </a:p>
          </p:txBody>
        </p:sp>
        <p:sp>
          <p:nvSpPr>
            <p:cNvPr id="28" name="Shape">
              <a:extLst>
                <a:ext uri="{FF2B5EF4-FFF2-40B4-BE49-F238E27FC236}">
                  <a16:creationId xmlns:a16="http://schemas.microsoft.com/office/drawing/2014/main" id="{C5B1D9A8-55B3-8CF6-38A3-514EB0C32C6A}"/>
                </a:ext>
              </a:extLst>
            </p:cNvPr>
            <p:cNvSpPr/>
            <p:nvPr/>
          </p:nvSpPr>
          <p:spPr>
            <a:xfrm>
              <a:off x="1926054" y="1827550"/>
              <a:ext cx="178601" cy="100555"/>
            </a:xfrm>
            <a:custGeom>
              <a:avLst/>
              <a:gdLst/>
              <a:ahLst/>
              <a:cxnLst>
                <a:cxn ang="0">
                  <a:pos x="wd2" y="hd2"/>
                </a:cxn>
                <a:cxn ang="5400000">
                  <a:pos x="wd2" y="hd2"/>
                </a:cxn>
                <a:cxn ang="10800000">
                  <a:pos x="wd2" y="hd2"/>
                </a:cxn>
                <a:cxn ang="16200000">
                  <a:pos x="wd2" y="hd2"/>
                </a:cxn>
              </a:cxnLst>
              <a:rect l="0" t="0" r="r" b="b"/>
              <a:pathLst>
                <a:path w="21600" h="21600" extrusionOk="0">
                  <a:moveTo>
                    <a:pt x="0" y="13004"/>
                  </a:moveTo>
                  <a:lnTo>
                    <a:pt x="1788" y="0"/>
                  </a:lnTo>
                  <a:lnTo>
                    <a:pt x="21600" y="8596"/>
                  </a:lnTo>
                  <a:lnTo>
                    <a:pt x="19812" y="21600"/>
                  </a:lnTo>
                  <a:close/>
                </a:path>
              </a:pathLst>
            </a:custGeom>
            <a:solidFill>
              <a:srgbClr val="E6B655"/>
            </a:solidFill>
            <a:ln w="12700">
              <a:miter lim="400000"/>
            </a:ln>
          </p:spPr>
          <p:txBody>
            <a:bodyPr lIns="38100" tIns="38100" rIns="38100" bIns="38100" anchor="ctr"/>
            <a:lstStyle/>
            <a:p>
              <a:pPr>
                <a:defRPr sz="3000"/>
              </a:pPr>
              <a:endParaRPr/>
            </a:p>
          </p:txBody>
        </p:sp>
        <p:sp>
          <p:nvSpPr>
            <p:cNvPr id="29" name="Shape">
              <a:extLst>
                <a:ext uri="{FF2B5EF4-FFF2-40B4-BE49-F238E27FC236}">
                  <a16:creationId xmlns:a16="http://schemas.microsoft.com/office/drawing/2014/main" id="{0DC6C3CB-95A7-6388-F330-0731BC6FF23A}"/>
                </a:ext>
              </a:extLst>
            </p:cNvPr>
            <p:cNvSpPr/>
            <p:nvPr/>
          </p:nvSpPr>
          <p:spPr>
            <a:xfrm>
              <a:off x="1830913" y="2588673"/>
              <a:ext cx="74215" cy="3051622"/>
            </a:xfrm>
            <a:custGeom>
              <a:avLst/>
              <a:gdLst/>
              <a:ahLst/>
              <a:cxnLst>
                <a:cxn ang="0">
                  <a:pos x="wd2" y="hd2"/>
                </a:cxn>
                <a:cxn ang="5400000">
                  <a:pos x="wd2" y="hd2"/>
                </a:cxn>
                <a:cxn ang="10800000">
                  <a:pos x="wd2" y="hd2"/>
                </a:cxn>
                <a:cxn ang="16200000">
                  <a:pos x="wd2" y="hd2"/>
                </a:cxn>
              </a:cxnLst>
              <a:rect l="0" t="0" r="r" b="b"/>
              <a:pathLst>
                <a:path w="21533" h="21600" extrusionOk="0">
                  <a:moveTo>
                    <a:pt x="5247" y="21600"/>
                  </a:moveTo>
                  <a:lnTo>
                    <a:pt x="16219" y="21600"/>
                  </a:lnTo>
                  <a:cubicBezTo>
                    <a:pt x="19118" y="21600"/>
                    <a:pt x="21533" y="21543"/>
                    <a:pt x="21533" y="21470"/>
                  </a:cubicBezTo>
                  <a:lnTo>
                    <a:pt x="21533" y="0"/>
                  </a:lnTo>
                  <a:lnTo>
                    <a:pt x="2" y="0"/>
                  </a:lnTo>
                  <a:lnTo>
                    <a:pt x="2" y="21470"/>
                  </a:lnTo>
                  <a:cubicBezTo>
                    <a:pt x="-67" y="21541"/>
                    <a:pt x="2279" y="21600"/>
                    <a:pt x="5247" y="21600"/>
                  </a:cubicBezTo>
                  <a:close/>
                </a:path>
              </a:pathLst>
            </a:custGeom>
            <a:solidFill>
              <a:srgbClr val="9B7A42"/>
            </a:solidFill>
            <a:ln w="12700">
              <a:miter lim="400000"/>
            </a:ln>
          </p:spPr>
          <p:txBody>
            <a:bodyPr lIns="38100" tIns="38100" rIns="38100" bIns="38100" anchor="ctr"/>
            <a:lstStyle/>
            <a:p>
              <a:pPr>
                <a:defRPr sz="3000"/>
              </a:pPr>
              <a:endParaRPr/>
            </a:p>
          </p:txBody>
        </p:sp>
        <p:sp>
          <p:nvSpPr>
            <p:cNvPr id="30" name="Shape">
              <a:extLst>
                <a:ext uri="{FF2B5EF4-FFF2-40B4-BE49-F238E27FC236}">
                  <a16:creationId xmlns:a16="http://schemas.microsoft.com/office/drawing/2014/main" id="{E100E3FD-0CBF-AC81-DE1A-E37EDBD50200}"/>
                </a:ext>
              </a:extLst>
            </p:cNvPr>
            <p:cNvSpPr/>
            <p:nvPr/>
          </p:nvSpPr>
          <p:spPr>
            <a:xfrm>
              <a:off x="2044979" y="2588673"/>
              <a:ext cx="74215" cy="3074454"/>
            </a:xfrm>
            <a:custGeom>
              <a:avLst/>
              <a:gdLst/>
              <a:ahLst/>
              <a:cxnLst>
                <a:cxn ang="0">
                  <a:pos x="wd2" y="hd2"/>
                </a:cxn>
                <a:cxn ang="5400000">
                  <a:pos x="wd2" y="hd2"/>
                </a:cxn>
                <a:cxn ang="10800000">
                  <a:pos x="wd2" y="hd2"/>
                </a:cxn>
                <a:cxn ang="16200000">
                  <a:pos x="wd2" y="hd2"/>
                </a:cxn>
              </a:cxnLst>
              <a:rect l="0" t="0" r="r" b="b"/>
              <a:pathLst>
                <a:path w="21533" h="21600" extrusionOk="0">
                  <a:moveTo>
                    <a:pt x="5247" y="21600"/>
                  </a:moveTo>
                  <a:lnTo>
                    <a:pt x="16219" y="21600"/>
                  </a:lnTo>
                  <a:cubicBezTo>
                    <a:pt x="19118" y="21600"/>
                    <a:pt x="21533" y="21543"/>
                    <a:pt x="21533" y="21471"/>
                  </a:cubicBezTo>
                  <a:lnTo>
                    <a:pt x="21533" y="0"/>
                  </a:lnTo>
                  <a:lnTo>
                    <a:pt x="2" y="0"/>
                  </a:lnTo>
                  <a:lnTo>
                    <a:pt x="2" y="21471"/>
                  </a:lnTo>
                  <a:cubicBezTo>
                    <a:pt x="-67" y="21543"/>
                    <a:pt x="2348" y="21600"/>
                    <a:pt x="5247" y="21600"/>
                  </a:cubicBezTo>
                  <a:close/>
                </a:path>
              </a:pathLst>
            </a:custGeom>
            <a:solidFill>
              <a:srgbClr val="E1B655"/>
            </a:solidFill>
            <a:ln w="12700">
              <a:miter lim="400000"/>
            </a:ln>
          </p:spPr>
          <p:txBody>
            <a:bodyPr lIns="38100" tIns="38100" rIns="38100" bIns="38100" anchor="ctr"/>
            <a:lstStyle/>
            <a:p>
              <a:pPr>
                <a:defRPr sz="3000"/>
              </a:pPr>
              <a:endParaRPr/>
            </a:p>
          </p:txBody>
        </p:sp>
        <p:sp>
          <p:nvSpPr>
            <p:cNvPr id="31" name="Shape">
              <a:extLst>
                <a:ext uri="{FF2B5EF4-FFF2-40B4-BE49-F238E27FC236}">
                  <a16:creationId xmlns:a16="http://schemas.microsoft.com/office/drawing/2014/main" id="{1A07E874-2761-E3C8-9CF6-D5148A88AA31}"/>
                </a:ext>
              </a:extLst>
            </p:cNvPr>
            <p:cNvSpPr/>
            <p:nvPr/>
          </p:nvSpPr>
          <p:spPr>
            <a:xfrm>
              <a:off x="1664418" y="2588673"/>
              <a:ext cx="74215" cy="3074454"/>
            </a:xfrm>
            <a:custGeom>
              <a:avLst/>
              <a:gdLst/>
              <a:ahLst/>
              <a:cxnLst>
                <a:cxn ang="0">
                  <a:pos x="wd2" y="hd2"/>
                </a:cxn>
                <a:cxn ang="5400000">
                  <a:pos x="wd2" y="hd2"/>
                </a:cxn>
                <a:cxn ang="10800000">
                  <a:pos x="wd2" y="hd2"/>
                </a:cxn>
                <a:cxn ang="16200000">
                  <a:pos x="wd2" y="hd2"/>
                </a:cxn>
              </a:cxnLst>
              <a:rect l="0" t="0" r="r" b="b"/>
              <a:pathLst>
                <a:path w="21532" h="21600" extrusionOk="0">
                  <a:moveTo>
                    <a:pt x="5246" y="21600"/>
                  </a:moveTo>
                  <a:lnTo>
                    <a:pt x="16218" y="21600"/>
                  </a:lnTo>
                  <a:cubicBezTo>
                    <a:pt x="19117" y="21600"/>
                    <a:pt x="21532" y="21543"/>
                    <a:pt x="21532" y="21471"/>
                  </a:cubicBezTo>
                  <a:lnTo>
                    <a:pt x="21532" y="0"/>
                  </a:lnTo>
                  <a:lnTo>
                    <a:pt x="1" y="0"/>
                  </a:lnTo>
                  <a:lnTo>
                    <a:pt x="1" y="21471"/>
                  </a:lnTo>
                  <a:cubicBezTo>
                    <a:pt x="-68" y="21543"/>
                    <a:pt x="2279" y="21600"/>
                    <a:pt x="5246" y="21600"/>
                  </a:cubicBezTo>
                  <a:close/>
                </a:path>
              </a:pathLst>
            </a:custGeom>
            <a:solidFill>
              <a:srgbClr val="F3CB57"/>
            </a:solidFill>
            <a:ln w="12700">
              <a:miter lim="400000"/>
            </a:ln>
          </p:spPr>
          <p:txBody>
            <a:bodyPr lIns="38100" tIns="38100" rIns="38100" bIns="38100" anchor="ctr"/>
            <a:lstStyle/>
            <a:p>
              <a:pPr>
                <a:defRPr sz="3000"/>
              </a:pPr>
              <a:endParaRPr/>
            </a:p>
          </p:txBody>
        </p:sp>
        <p:sp>
          <p:nvSpPr>
            <p:cNvPr id="32" name="Shape">
              <a:extLst>
                <a:ext uri="{FF2B5EF4-FFF2-40B4-BE49-F238E27FC236}">
                  <a16:creationId xmlns:a16="http://schemas.microsoft.com/office/drawing/2014/main" id="{089A30DD-D8AD-B989-21AF-BB6753CF7B3E}"/>
                </a:ext>
              </a:extLst>
            </p:cNvPr>
            <p:cNvSpPr/>
            <p:nvPr/>
          </p:nvSpPr>
          <p:spPr>
            <a:xfrm>
              <a:off x="1902269" y="2588673"/>
              <a:ext cx="74215" cy="3141056"/>
            </a:xfrm>
            <a:custGeom>
              <a:avLst/>
              <a:gdLst/>
              <a:ahLst/>
              <a:cxnLst>
                <a:cxn ang="0">
                  <a:pos x="wd2" y="hd2"/>
                </a:cxn>
                <a:cxn ang="5400000">
                  <a:pos x="wd2" y="hd2"/>
                </a:cxn>
                <a:cxn ang="10800000">
                  <a:pos x="wd2" y="hd2"/>
                </a:cxn>
                <a:cxn ang="16200000">
                  <a:pos x="wd2" y="hd2"/>
                </a:cxn>
              </a:cxnLst>
              <a:rect l="0" t="0" r="r" b="b"/>
              <a:pathLst>
                <a:path w="21533" h="21600" extrusionOk="0">
                  <a:moveTo>
                    <a:pt x="5247" y="21600"/>
                  </a:moveTo>
                  <a:lnTo>
                    <a:pt x="16219" y="21600"/>
                  </a:lnTo>
                  <a:cubicBezTo>
                    <a:pt x="19118" y="21600"/>
                    <a:pt x="21533" y="21544"/>
                    <a:pt x="21533" y="21474"/>
                  </a:cubicBezTo>
                  <a:lnTo>
                    <a:pt x="21533" y="0"/>
                  </a:lnTo>
                  <a:lnTo>
                    <a:pt x="2" y="0"/>
                  </a:lnTo>
                  <a:lnTo>
                    <a:pt x="2" y="21474"/>
                  </a:lnTo>
                  <a:cubicBezTo>
                    <a:pt x="-67" y="21543"/>
                    <a:pt x="2348" y="21600"/>
                    <a:pt x="5247" y="21600"/>
                  </a:cubicBezTo>
                  <a:close/>
                </a:path>
              </a:pathLst>
            </a:custGeom>
            <a:solidFill>
              <a:srgbClr val="F3CB57"/>
            </a:solidFill>
            <a:ln w="12700">
              <a:miter lim="400000"/>
            </a:ln>
          </p:spPr>
          <p:txBody>
            <a:bodyPr lIns="38100" tIns="38100" rIns="38100" bIns="38100" anchor="ctr"/>
            <a:lstStyle/>
            <a:p>
              <a:pPr>
                <a:defRPr sz="3000"/>
              </a:pPr>
              <a:endParaRPr/>
            </a:p>
          </p:txBody>
        </p:sp>
        <p:sp>
          <p:nvSpPr>
            <p:cNvPr id="33" name="Shape">
              <a:extLst>
                <a:ext uri="{FF2B5EF4-FFF2-40B4-BE49-F238E27FC236}">
                  <a16:creationId xmlns:a16="http://schemas.microsoft.com/office/drawing/2014/main" id="{FCA237B6-3B03-51F7-4E4A-36C73D41A8C6}"/>
                </a:ext>
              </a:extLst>
            </p:cNvPr>
            <p:cNvSpPr/>
            <p:nvPr/>
          </p:nvSpPr>
          <p:spPr>
            <a:xfrm>
              <a:off x="1688203" y="2731381"/>
              <a:ext cx="281403" cy="2782949"/>
            </a:xfrm>
            <a:custGeom>
              <a:avLst/>
              <a:gdLst/>
              <a:ahLst/>
              <a:cxnLst>
                <a:cxn ang="0">
                  <a:pos x="wd2" y="hd2"/>
                </a:cxn>
                <a:cxn ang="5400000">
                  <a:pos x="wd2" y="hd2"/>
                </a:cxn>
                <a:cxn ang="10800000">
                  <a:pos x="wd2" y="hd2"/>
                </a:cxn>
                <a:cxn ang="16200000">
                  <a:pos x="wd2" y="hd2"/>
                </a:cxn>
              </a:cxnLst>
              <a:rect l="0" t="0" r="r" b="b"/>
              <a:pathLst>
                <a:path w="21190" h="21573" extrusionOk="0">
                  <a:moveTo>
                    <a:pt x="2010" y="21573"/>
                  </a:moveTo>
                  <a:cubicBezTo>
                    <a:pt x="2673" y="21573"/>
                    <a:pt x="3300" y="21540"/>
                    <a:pt x="3694" y="21479"/>
                  </a:cubicBezTo>
                  <a:lnTo>
                    <a:pt x="18990" y="19060"/>
                  </a:lnTo>
                  <a:cubicBezTo>
                    <a:pt x="19402" y="18995"/>
                    <a:pt x="19419" y="18914"/>
                    <a:pt x="19061" y="18848"/>
                  </a:cubicBezTo>
                  <a:lnTo>
                    <a:pt x="5861" y="16386"/>
                  </a:lnTo>
                  <a:lnTo>
                    <a:pt x="20834" y="14150"/>
                  </a:lnTo>
                  <a:cubicBezTo>
                    <a:pt x="21318" y="14080"/>
                    <a:pt x="21300" y="13986"/>
                    <a:pt x="20834" y="13914"/>
                  </a:cubicBezTo>
                  <a:lnTo>
                    <a:pt x="5521" y="11663"/>
                  </a:lnTo>
                  <a:lnTo>
                    <a:pt x="5521" y="9837"/>
                  </a:lnTo>
                  <a:lnTo>
                    <a:pt x="20781" y="7743"/>
                  </a:lnTo>
                  <a:cubicBezTo>
                    <a:pt x="21264" y="7676"/>
                    <a:pt x="21318" y="7586"/>
                    <a:pt x="20906" y="7514"/>
                  </a:cubicBezTo>
                  <a:lnTo>
                    <a:pt x="5843" y="4894"/>
                  </a:lnTo>
                  <a:lnTo>
                    <a:pt x="20888" y="2350"/>
                  </a:lnTo>
                  <a:cubicBezTo>
                    <a:pt x="21318" y="2276"/>
                    <a:pt x="21264" y="2182"/>
                    <a:pt x="20745" y="2114"/>
                  </a:cubicBezTo>
                  <a:lnTo>
                    <a:pt x="5073" y="78"/>
                  </a:lnTo>
                  <a:cubicBezTo>
                    <a:pt x="4375" y="-10"/>
                    <a:pt x="3121" y="-27"/>
                    <a:pt x="2261" y="45"/>
                  </a:cubicBezTo>
                  <a:cubicBezTo>
                    <a:pt x="1402" y="115"/>
                    <a:pt x="1240" y="246"/>
                    <a:pt x="1939" y="334"/>
                  </a:cubicBezTo>
                  <a:lnTo>
                    <a:pt x="16733" y="2257"/>
                  </a:lnTo>
                  <a:lnTo>
                    <a:pt x="1796" y="4783"/>
                  </a:lnTo>
                  <a:cubicBezTo>
                    <a:pt x="1420" y="4848"/>
                    <a:pt x="1402" y="4931"/>
                    <a:pt x="1778" y="4995"/>
                  </a:cubicBezTo>
                  <a:lnTo>
                    <a:pt x="16769" y="7604"/>
                  </a:lnTo>
                  <a:lnTo>
                    <a:pt x="1903" y="9644"/>
                  </a:lnTo>
                  <a:cubicBezTo>
                    <a:pt x="1634" y="9679"/>
                    <a:pt x="1509" y="9723"/>
                    <a:pt x="1509" y="9767"/>
                  </a:cubicBezTo>
                  <a:lnTo>
                    <a:pt x="1509" y="11725"/>
                  </a:lnTo>
                  <a:cubicBezTo>
                    <a:pt x="1509" y="11768"/>
                    <a:pt x="1634" y="11808"/>
                    <a:pt x="1867" y="11843"/>
                  </a:cubicBezTo>
                  <a:lnTo>
                    <a:pt x="16733" y="14030"/>
                  </a:lnTo>
                  <a:lnTo>
                    <a:pt x="1849" y="16254"/>
                  </a:lnTo>
                  <a:cubicBezTo>
                    <a:pt x="1420" y="16318"/>
                    <a:pt x="1384" y="16401"/>
                    <a:pt x="1742" y="16471"/>
                  </a:cubicBezTo>
                  <a:lnTo>
                    <a:pt x="14960" y="18936"/>
                  </a:lnTo>
                  <a:lnTo>
                    <a:pt x="327" y="21252"/>
                  </a:lnTo>
                  <a:cubicBezTo>
                    <a:pt x="-282" y="21348"/>
                    <a:pt x="-13" y="21475"/>
                    <a:pt x="918" y="21538"/>
                  </a:cubicBezTo>
                  <a:cubicBezTo>
                    <a:pt x="1258" y="21562"/>
                    <a:pt x="1634" y="21573"/>
                    <a:pt x="2010" y="21573"/>
                  </a:cubicBezTo>
                  <a:close/>
                </a:path>
              </a:pathLst>
            </a:custGeom>
            <a:solidFill>
              <a:srgbClr val="F3CB57"/>
            </a:solidFill>
            <a:ln w="12700">
              <a:miter lim="400000"/>
            </a:ln>
          </p:spPr>
          <p:txBody>
            <a:bodyPr lIns="38100" tIns="38100" rIns="38100" bIns="38100" anchor="ctr"/>
            <a:lstStyle/>
            <a:p>
              <a:pPr>
                <a:defRPr sz="3000"/>
              </a:pPr>
              <a:endParaRPr/>
            </a:p>
          </p:txBody>
        </p:sp>
        <p:sp>
          <p:nvSpPr>
            <p:cNvPr id="34" name="Shape">
              <a:extLst>
                <a:ext uri="{FF2B5EF4-FFF2-40B4-BE49-F238E27FC236}">
                  <a16:creationId xmlns:a16="http://schemas.microsoft.com/office/drawing/2014/main" id="{998540F9-30F9-B6E3-A71E-06BBB34692D6}"/>
                </a:ext>
              </a:extLst>
            </p:cNvPr>
            <p:cNvSpPr/>
            <p:nvPr/>
          </p:nvSpPr>
          <p:spPr>
            <a:xfrm>
              <a:off x="1926054" y="2683813"/>
              <a:ext cx="192018" cy="2842323"/>
            </a:xfrm>
            <a:custGeom>
              <a:avLst/>
              <a:gdLst/>
              <a:ahLst/>
              <a:cxnLst>
                <a:cxn ang="0">
                  <a:pos x="wd2" y="hd2"/>
                </a:cxn>
                <a:cxn ang="5400000">
                  <a:pos x="wd2" y="hd2"/>
                </a:cxn>
                <a:cxn ang="10800000">
                  <a:pos x="wd2" y="hd2"/>
                </a:cxn>
                <a:cxn ang="16200000">
                  <a:pos x="wd2" y="hd2"/>
                </a:cxn>
              </a:cxnLst>
              <a:rect l="0" t="0" r="r" b="b"/>
              <a:pathLst>
                <a:path w="21111" h="21573" extrusionOk="0">
                  <a:moveTo>
                    <a:pt x="18129" y="21573"/>
                  </a:moveTo>
                  <a:cubicBezTo>
                    <a:pt x="18495" y="21573"/>
                    <a:pt x="18887" y="21568"/>
                    <a:pt x="19253" y="21559"/>
                  </a:cubicBezTo>
                  <a:cubicBezTo>
                    <a:pt x="20744" y="21515"/>
                    <a:pt x="21450" y="21398"/>
                    <a:pt x="20848" y="21295"/>
                  </a:cubicBezTo>
                  <a:lnTo>
                    <a:pt x="6126" y="18825"/>
                  </a:lnTo>
                  <a:lnTo>
                    <a:pt x="20744" y="16877"/>
                  </a:lnTo>
                  <a:cubicBezTo>
                    <a:pt x="21136" y="16825"/>
                    <a:pt x="21188" y="16762"/>
                    <a:pt x="20848" y="16706"/>
                  </a:cubicBezTo>
                  <a:lnTo>
                    <a:pt x="6073" y="14265"/>
                  </a:lnTo>
                  <a:lnTo>
                    <a:pt x="20848" y="11825"/>
                  </a:lnTo>
                  <a:cubicBezTo>
                    <a:pt x="21005" y="11799"/>
                    <a:pt x="21084" y="11774"/>
                    <a:pt x="21084" y="11747"/>
                  </a:cubicBezTo>
                  <a:lnTo>
                    <a:pt x="21084" y="10017"/>
                  </a:lnTo>
                  <a:cubicBezTo>
                    <a:pt x="21084" y="9992"/>
                    <a:pt x="21005" y="9967"/>
                    <a:pt x="20874" y="9942"/>
                  </a:cubicBezTo>
                  <a:lnTo>
                    <a:pt x="6152" y="7400"/>
                  </a:lnTo>
                  <a:lnTo>
                    <a:pt x="20717" y="5604"/>
                  </a:lnTo>
                  <a:cubicBezTo>
                    <a:pt x="21162" y="5551"/>
                    <a:pt x="21214" y="5486"/>
                    <a:pt x="20901" y="5430"/>
                  </a:cubicBezTo>
                  <a:lnTo>
                    <a:pt x="6073" y="2836"/>
                  </a:lnTo>
                  <a:lnTo>
                    <a:pt x="20901" y="278"/>
                  </a:lnTo>
                  <a:cubicBezTo>
                    <a:pt x="21502" y="175"/>
                    <a:pt x="20770" y="56"/>
                    <a:pt x="19279" y="15"/>
                  </a:cubicBezTo>
                  <a:cubicBezTo>
                    <a:pt x="17789" y="-27"/>
                    <a:pt x="16063" y="24"/>
                    <a:pt x="15461" y="126"/>
                  </a:cubicBezTo>
                  <a:lnTo>
                    <a:pt x="216" y="2759"/>
                  </a:lnTo>
                  <a:cubicBezTo>
                    <a:pt x="-72" y="2805"/>
                    <a:pt x="-72" y="2860"/>
                    <a:pt x="216" y="2908"/>
                  </a:cubicBezTo>
                  <a:lnTo>
                    <a:pt x="14965" y="5488"/>
                  </a:lnTo>
                  <a:lnTo>
                    <a:pt x="399" y="7284"/>
                  </a:lnTo>
                  <a:cubicBezTo>
                    <a:pt x="-46" y="7338"/>
                    <a:pt x="-98" y="7402"/>
                    <a:pt x="242" y="7458"/>
                  </a:cubicBezTo>
                  <a:lnTo>
                    <a:pt x="15278" y="10054"/>
                  </a:lnTo>
                  <a:lnTo>
                    <a:pt x="15278" y="11704"/>
                  </a:lnTo>
                  <a:lnTo>
                    <a:pt x="268" y="14186"/>
                  </a:lnTo>
                  <a:cubicBezTo>
                    <a:pt x="-19" y="14236"/>
                    <a:pt x="-19" y="14292"/>
                    <a:pt x="268" y="14341"/>
                  </a:cubicBezTo>
                  <a:lnTo>
                    <a:pt x="14991" y="16773"/>
                  </a:lnTo>
                  <a:lnTo>
                    <a:pt x="373" y="18719"/>
                  </a:lnTo>
                  <a:cubicBezTo>
                    <a:pt x="-19" y="18771"/>
                    <a:pt x="-72" y="18834"/>
                    <a:pt x="268" y="18889"/>
                  </a:cubicBezTo>
                  <a:lnTo>
                    <a:pt x="15514" y="21445"/>
                  </a:lnTo>
                  <a:cubicBezTo>
                    <a:pt x="15906" y="21526"/>
                    <a:pt x="16978" y="21573"/>
                    <a:pt x="18129" y="21573"/>
                  </a:cubicBezTo>
                  <a:close/>
                </a:path>
              </a:pathLst>
            </a:custGeom>
            <a:solidFill>
              <a:srgbClr val="F3CB57"/>
            </a:solidFill>
            <a:ln w="12700">
              <a:miter lim="400000"/>
            </a:ln>
          </p:spPr>
          <p:txBody>
            <a:bodyPr lIns="38100" tIns="38100" rIns="38100" bIns="38100" anchor="ctr"/>
            <a:lstStyle/>
            <a:p>
              <a:pPr>
                <a:defRPr sz="3000"/>
              </a:pPr>
              <a:endParaRPr/>
            </a:p>
          </p:txBody>
        </p:sp>
        <p:sp>
          <p:nvSpPr>
            <p:cNvPr id="35" name="Shape">
              <a:extLst>
                <a:ext uri="{FF2B5EF4-FFF2-40B4-BE49-F238E27FC236}">
                  <a16:creationId xmlns:a16="http://schemas.microsoft.com/office/drawing/2014/main" id="{F435DCF0-5026-4234-2571-7543AD75D473}"/>
                </a:ext>
              </a:extLst>
            </p:cNvPr>
            <p:cNvSpPr/>
            <p:nvPr/>
          </p:nvSpPr>
          <p:spPr>
            <a:xfrm>
              <a:off x="1997409" y="1018858"/>
              <a:ext cx="982071" cy="446213"/>
            </a:xfrm>
            <a:custGeom>
              <a:avLst/>
              <a:gdLst/>
              <a:ahLst/>
              <a:cxnLst>
                <a:cxn ang="0">
                  <a:pos x="wd2" y="hd2"/>
                </a:cxn>
                <a:cxn ang="5400000">
                  <a:pos x="wd2" y="hd2"/>
                </a:cxn>
                <a:cxn ang="10800000">
                  <a:pos x="wd2" y="hd2"/>
                </a:cxn>
                <a:cxn ang="16200000">
                  <a:pos x="wd2" y="hd2"/>
                </a:cxn>
              </a:cxnLst>
              <a:rect l="0" t="0" r="r" b="b"/>
              <a:pathLst>
                <a:path w="21558" h="21600" extrusionOk="0">
                  <a:moveTo>
                    <a:pt x="20598" y="21600"/>
                  </a:moveTo>
                  <a:cubicBezTo>
                    <a:pt x="20462" y="21600"/>
                    <a:pt x="20326" y="21542"/>
                    <a:pt x="20201" y="21416"/>
                  </a:cubicBezTo>
                  <a:lnTo>
                    <a:pt x="19861" y="21082"/>
                  </a:lnTo>
                  <a:lnTo>
                    <a:pt x="20102" y="19907"/>
                  </a:lnTo>
                  <a:lnTo>
                    <a:pt x="20441" y="20241"/>
                  </a:lnTo>
                  <a:cubicBezTo>
                    <a:pt x="20545" y="20345"/>
                    <a:pt x="20665" y="20345"/>
                    <a:pt x="20770" y="20230"/>
                  </a:cubicBezTo>
                  <a:cubicBezTo>
                    <a:pt x="20874" y="20115"/>
                    <a:pt x="20947" y="19907"/>
                    <a:pt x="20973" y="19666"/>
                  </a:cubicBezTo>
                  <a:cubicBezTo>
                    <a:pt x="21000" y="19412"/>
                    <a:pt x="20973" y="19148"/>
                    <a:pt x="20900" y="18952"/>
                  </a:cubicBezTo>
                  <a:cubicBezTo>
                    <a:pt x="20827" y="18744"/>
                    <a:pt x="20718" y="18629"/>
                    <a:pt x="20598" y="18629"/>
                  </a:cubicBezTo>
                  <a:lnTo>
                    <a:pt x="19934" y="18629"/>
                  </a:lnTo>
                  <a:cubicBezTo>
                    <a:pt x="19569" y="18629"/>
                    <a:pt x="19209" y="18480"/>
                    <a:pt x="18869" y="18169"/>
                  </a:cubicBezTo>
                  <a:lnTo>
                    <a:pt x="0" y="1197"/>
                  </a:lnTo>
                  <a:lnTo>
                    <a:pt x="219" y="0"/>
                  </a:lnTo>
                  <a:lnTo>
                    <a:pt x="19089" y="16971"/>
                  </a:lnTo>
                  <a:cubicBezTo>
                    <a:pt x="19360" y="17213"/>
                    <a:pt x="19642" y="17340"/>
                    <a:pt x="19929" y="17340"/>
                  </a:cubicBezTo>
                  <a:lnTo>
                    <a:pt x="20592" y="17340"/>
                  </a:lnTo>
                  <a:cubicBezTo>
                    <a:pt x="20890" y="17340"/>
                    <a:pt x="21167" y="17639"/>
                    <a:pt x="21349" y="18146"/>
                  </a:cubicBezTo>
                  <a:cubicBezTo>
                    <a:pt x="21532" y="18652"/>
                    <a:pt x="21600" y="19320"/>
                    <a:pt x="21532" y="19953"/>
                  </a:cubicBezTo>
                  <a:cubicBezTo>
                    <a:pt x="21464" y="20575"/>
                    <a:pt x="21276" y="21105"/>
                    <a:pt x="21015" y="21381"/>
                  </a:cubicBezTo>
                  <a:cubicBezTo>
                    <a:pt x="20895" y="21519"/>
                    <a:pt x="20749" y="21600"/>
                    <a:pt x="20598" y="21600"/>
                  </a:cubicBezTo>
                  <a:close/>
                </a:path>
              </a:pathLst>
            </a:custGeom>
            <a:solidFill>
              <a:srgbClr val="2D62A2"/>
            </a:solidFill>
            <a:ln w="12700">
              <a:miter lim="400000"/>
            </a:ln>
          </p:spPr>
          <p:txBody>
            <a:bodyPr lIns="38100" tIns="38100" rIns="38100" bIns="38100" anchor="ctr"/>
            <a:lstStyle/>
            <a:p>
              <a:pPr>
                <a:defRPr sz="3000"/>
              </a:pPr>
              <a:endParaRPr/>
            </a:p>
          </p:txBody>
        </p:sp>
        <p:sp>
          <p:nvSpPr>
            <p:cNvPr id="36" name="Shape">
              <a:extLst>
                <a:ext uri="{FF2B5EF4-FFF2-40B4-BE49-F238E27FC236}">
                  <a16:creationId xmlns:a16="http://schemas.microsoft.com/office/drawing/2014/main" id="{7DEF74E9-5C69-8B25-BB50-23B547D20DC7}"/>
                </a:ext>
              </a:extLst>
            </p:cNvPr>
            <p:cNvSpPr/>
            <p:nvPr/>
          </p:nvSpPr>
          <p:spPr>
            <a:xfrm>
              <a:off x="2948810" y="1399419"/>
              <a:ext cx="982071" cy="446213"/>
            </a:xfrm>
            <a:custGeom>
              <a:avLst/>
              <a:gdLst/>
              <a:ahLst/>
              <a:cxnLst>
                <a:cxn ang="0">
                  <a:pos x="wd2" y="hd2"/>
                </a:cxn>
                <a:cxn ang="5400000">
                  <a:pos x="wd2" y="hd2"/>
                </a:cxn>
                <a:cxn ang="10800000">
                  <a:pos x="wd2" y="hd2"/>
                </a:cxn>
                <a:cxn ang="16200000">
                  <a:pos x="wd2" y="hd2"/>
                </a:cxn>
              </a:cxnLst>
              <a:rect l="0" t="0" r="r" b="b"/>
              <a:pathLst>
                <a:path w="21558" h="21600" extrusionOk="0">
                  <a:moveTo>
                    <a:pt x="20598" y="21600"/>
                  </a:moveTo>
                  <a:cubicBezTo>
                    <a:pt x="20462" y="21600"/>
                    <a:pt x="20326" y="21542"/>
                    <a:pt x="20201" y="21416"/>
                  </a:cubicBezTo>
                  <a:lnTo>
                    <a:pt x="19861" y="21082"/>
                  </a:lnTo>
                  <a:lnTo>
                    <a:pt x="20102" y="19907"/>
                  </a:lnTo>
                  <a:lnTo>
                    <a:pt x="20441" y="20241"/>
                  </a:lnTo>
                  <a:cubicBezTo>
                    <a:pt x="20545" y="20345"/>
                    <a:pt x="20665" y="20345"/>
                    <a:pt x="20770" y="20230"/>
                  </a:cubicBezTo>
                  <a:cubicBezTo>
                    <a:pt x="20874" y="20115"/>
                    <a:pt x="20947" y="19907"/>
                    <a:pt x="20973" y="19666"/>
                  </a:cubicBezTo>
                  <a:cubicBezTo>
                    <a:pt x="21000" y="19412"/>
                    <a:pt x="20973" y="19148"/>
                    <a:pt x="20900" y="18952"/>
                  </a:cubicBezTo>
                  <a:cubicBezTo>
                    <a:pt x="20827" y="18744"/>
                    <a:pt x="20718" y="18629"/>
                    <a:pt x="20598" y="18629"/>
                  </a:cubicBezTo>
                  <a:lnTo>
                    <a:pt x="19934" y="18629"/>
                  </a:lnTo>
                  <a:cubicBezTo>
                    <a:pt x="19569" y="18629"/>
                    <a:pt x="19209" y="18480"/>
                    <a:pt x="18869" y="18169"/>
                  </a:cubicBezTo>
                  <a:lnTo>
                    <a:pt x="0" y="1197"/>
                  </a:lnTo>
                  <a:lnTo>
                    <a:pt x="219" y="0"/>
                  </a:lnTo>
                  <a:lnTo>
                    <a:pt x="19089" y="16971"/>
                  </a:lnTo>
                  <a:cubicBezTo>
                    <a:pt x="19355" y="17213"/>
                    <a:pt x="19642" y="17340"/>
                    <a:pt x="19929" y="17340"/>
                  </a:cubicBezTo>
                  <a:lnTo>
                    <a:pt x="20592" y="17340"/>
                  </a:lnTo>
                  <a:cubicBezTo>
                    <a:pt x="20890" y="17340"/>
                    <a:pt x="21167" y="17639"/>
                    <a:pt x="21349" y="18146"/>
                  </a:cubicBezTo>
                  <a:cubicBezTo>
                    <a:pt x="21532" y="18652"/>
                    <a:pt x="21600" y="19320"/>
                    <a:pt x="21532" y="19965"/>
                  </a:cubicBezTo>
                  <a:cubicBezTo>
                    <a:pt x="21464" y="20587"/>
                    <a:pt x="21276" y="21116"/>
                    <a:pt x="21015" y="21392"/>
                  </a:cubicBezTo>
                  <a:cubicBezTo>
                    <a:pt x="20890" y="21531"/>
                    <a:pt x="20744" y="21600"/>
                    <a:pt x="20598" y="21600"/>
                  </a:cubicBezTo>
                  <a:close/>
                </a:path>
              </a:pathLst>
            </a:custGeom>
            <a:solidFill>
              <a:srgbClr val="2D62A2"/>
            </a:solidFill>
            <a:ln w="12700">
              <a:miter lim="400000"/>
            </a:ln>
          </p:spPr>
          <p:txBody>
            <a:bodyPr lIns="38100" tIns="38100" rIns="38100" bIns="38100" anchor="ctr"/>
            <a:lstStyle/>
            <a:p>
              <a:pPr>
                <a:defRPr sz="3000"/>
              </a:pPr>
              <a:endParaRPr/>
            </a:p>
          </p:txBody>
        </p:sp>
        <p:sp>
          <p:nvSpPr>
            <p:cNvPr id="37" name="Circle">
              <a:extLst>
                <a:ext uri="{FF2B5EF4-FFF2-40B4-BE49-F238E27FC236}">
                  <a16:creationId xmlns:a16="http://schemas.microsoft.com/office/drawing/2014/main" id="{CCF4F953-7012-B2BE-006C-0380E2F5688B}"/>
                </a:ext>
              </a:extLst>
            </p:cNvPr>
            <p:cNvSpPr/>
            <p:nvPr/>
          </p:nvSpPr>
          <p:spPr>
            <a:xfrm>
              <a:off x="1878484" y="923720"/>
              <a:ext cx="143662" cy="143662"/>
            </a:xfrm>
            <a:prstGeom prst="ellipse">
              <a:avLst/>
            </a:prstGeom>
            <a:solidFill>
              <a:srgbClr val="2D62A2"/>
            </a:solidFill>
            <a:ln w="12700">
              <a:miter lim="400000"/>
            </a:ln>
          </p:spPr>
          <p:txBody>
            <a:bodyPr lIns="38100" tIns="38100" rIns="38100" bIns="38100" anchor="ctr"/>
            <a:lstStyle/>
            <a:p>
              <a:pPr>
                <a:defRPr sz="3000"/>
              </a:pPr>
              <a:endParaRPr/>
            </a:p>
          </p:txBody>
        </p:sp>
        <p:sp>
          <p:nvSpPr>
            <p:cNvPr id="38" name="Shape">
              <a:extLst>
                <a:ext uri="{FF2B5EF4-FFF2-40B4-BE49-F238E27FC236}">
                  <a16:creationId xmlns:a16="http://schemas.microsoft.com/office/drawing/2014/main" id="{A74C1BA6-C88A-2562-4317-CA80A9A106F7}"/>
                </a:ext>
              </a:extLst>
            </p:cNvPr>
            <p:cNvSpPr/>
            <p:nvPr/>
          </p:nvSpPr>
          <p:spPr>
            <a:xfrm>
              <a:off x="1141147" y="971290"/>
              <a:ext cx="814836" cy="1162281"/>
            </a:xfrm>
            <a:custGeom>
              <a:avLst/>
              <a:gdLst/>
              <a:ahLst/>
              <a:cxnLst>
                <a:cxn ang="0">
                  <a:pos x="wd2" y="hd2"/>
                </a:cxn>
                <a:cxn ang="5400000">
                  <a:pos x="wd2" y="hd2"/>
                </a:cxn>
                <a:cxn ang="10800000">
                  <a:pos x="wd2" y="hd2"/>
                </a:cxn>
                <a:cxn ang="16200000">
                  <a:pos x="wd2" y="hd2"/>
                </a:cxn>
              </a:cxnLst>
              <a:rect l="0" t="0" r="r" b="b"/>
              <a:pathLst>
                <a:path w="21600" h="21600" extrusionOk="0">
                  <a:moveTo>
                    <a:pt x="0" y="21318"/>
                  </a:moveTo>
                  <a:lnTo>
                    <a:pt x="21019" y="0"/>
                  </a:lnTo>
                  <a:lnTo>
                    <a:pt x="21600" y="282"/>
                  </a:lnTo>
                  <a:lnTo>
                    <a:pt x="581" y="21600"/>
                  </a:lnTo>
                  <a:close/>
                </a:path>
              </a:pathLst>
            </a:custGeom>
            <a:solidFill>
              <a:srgbClr val="2D62A2"/>
            </a:solidFill>
            <a:ln w="12700">
              <a:miter lim="400000"/>
            </a:ln>
          </p:spPr>
          <p:txBody>
            <a:bodyPr lIns="38100" tIns="38100" rIns="38100" bIns="38100" anchor="ctr"/>
            <a:lstStyle/>
            <a:p>
              <a:pPr>
                <a:defRPr sz="3000"/>
              </a:pPr>
              <a:endParaRPr/>
            </a:p>
          </p:txBody>
        </p:sp>
        <p:sp>
          <p:nvSpPr>
            <p:cNvPr id="39" name="Shape">
              <a:extLst>
                <a:ext uri="{FF2B5EF4-FFF2-40B4-BE49-F238E27FC236}">
                  <a16:creationId xmlns:a16="http://schemas.microsoft.com/office/drawing/2014/main" id="{B16D569F-4F49-6B81-0219-679A72A4868D}"/>
                </a:ext>
              </a:extLst>
            </p:cNvPr>
            <p:cNvSpPr/>
            <p:nvPr/>
          </p:nvSpPr>
          <p:spPr>
            <a:xfrm>
              <a:off x="1069792" y="971288"/>
              <a:ext cx="814836" cy="1162277"/>
            </a:xfrm>
            <a:custGeom>
              <a:avLst/>
              <a:gdLst/>
              <a:ahLst/>
              <a:cxnLst>
                <a:cxn ang="0">
                  <a:pos x="wd2" y="hd2"/>
                </a:cxn>
                <a:cxn ang="5400000">
                  <a:pos x="wd2" y="hd2"/>
                </a:cxn>
                <a:cxn ang="10800000">
                  <a:pos x="wd2" y="hd2"/>
                </a:cxn>
                <a:cxn ang="16200000">
                  <a:pos x="wd2" y="hd2"/>
                </a:cxn>
              </a:cxnLst>
              <a:rect l="0" t="0" r="r" b="b"/>
              <a:pathLst>
                <a:path w="21600" h="21600" extrusionOk="0">
                  <a:moveTo>
                    <a:pt x="0" y="21318"/>
                  </a:moveTo>
                  <a:lnTo>
                    <a:pt x="21019" y="0"/>
                  </a:lnTo>
                  <a:lnTo>
                    <a:pt x="21600" y="281"/>
                  </a:lnTo>
                  <a:lnTo>
                    <a:pt x="581" y="21600"/>
                  </a:lnTo>
                  <a:close/>
                </a:path>
              </a:pathLst>
            </a:custGeom>
            <a:solidFill>
              <a:srgbClr val="2D62A2"/>
            </a:solidFill>
            <a:ln w="12700">
              <a:miter lim="400000"/>
            </a:ln>
          </p:spPr>
          <p:txBody>
            <a:bodyPr lIns="38100" tIns="38100" rIns="38100" bIns="38100" anchor="ctr"/>
            <a:lstStyle/>
            <a:p>
              <a:pPr>
                <a:defRPr sz="3000"/>
              </a:pPr>
              <a:endParaRPr/>
            </a:p>
          </p:txBody>
        </p:sp>
        <p:sp>
          <p:nvSpPr>
            <p:cNvPr id="40" name="Shape">
              <a:extLst>
                <a:ext uri="{FF2B5EF4-FFF2-40B4-BE49-F238E27FC236}">
                  <a16:creationId xmlns:a16="http://schemas.microsoft.com/office/drawing/2014/main" id="{244DCEC0-1436-0812-8C52-9B15147F2614}"/>
                </a:ext>
              </a:extLst>
            </p:cNvPr>
            <p:cNvSpPr/>
            <p:nvPr/>
          </p:nvSpPr>
          <p:spPr>
            <a:xfrm>
              <a:off x="1664416" y="899933"/>
              <a:ext cx="302750" cy="1169280"/>
            </a:xfrm>
            <a:custGeom>
              <a:avLst/>
              <a:gdLst/>
              <a:ahLst/>
              <a:cxnLst>
                <a:cxn ang="0">
                  <a:pos x="wd2" y="hd2"/>
                </a:cxn>
                <a:cxn ang="5400000">
                  <a:pos x="wd2" y="hd2"/>
                </a:cxn>
                <a:cxn ang="10800000">
                  <a:pos x="wd2" y="hd2"/>
                </a:cxn>
                <a:cxn ang="16200000">
                  <a:pos x="wd2" y="hd2"/>
                </a:cxn>
              </a:cxnLst>
              <a:rect l="0" t="0" r="r" b="b"/>
              <a:pathLst>
                <a:path w="21446" h="21600" extrusionOk="0">
                  <a:moveTo>
                    <a:pt x="2204" y="21600"/>
                  </a:moveTo>
                  <a:cubicBezTo>
                    <a:pt x="2137" y="21600"/>
                    <a:pt x="2052" y="21600"/>
                    <a:pt x="1985" y="21596"/>
                  </a:cubicBezTo>
                  <a:cubicBezTo>
                    <a:pt x="772" y="21565"/>
                    <a:pt x="-121" y="21284"/>
                    <a:pt x="14" y="20967"/>
                  </a:cubicBezTo>
                  <a:lnTo>
                    <a:pt x="7815" y="518"/>
                  </a:lnTo>
                  <a:cubicBezTo>
                    <a:pt x="7933" y="224"/>
                    <a:pt x="8876" y="0"/>
                    <a:pt x="10005" y="0"/>
                  </a:cubicBezTo>
                  <a:lnTo>
                    <a:pt x="17183" y="0"/>
                  </a:lnTo>
                  <a:cubicBezTo>
                    <a:pt x="18379" y="0"/>
                    <a:pt x="19356" y="250"/>
                    <a:pt x="19390" y="562"/>
                  </a:cubicBezTo>
                  <a:lnTo>
                    <a:pt x="21445" y="21011"/>
                  </a:lnTo>
                  <a:cubicBezTo>
                    <a:pt x="21479" y="21328"/>
                    <a:pt x="20519" y="21591"/>
                    <a:pt x="19289" y="21600"/>
                  </a:cubicBezTo>
                  <a:cubicBezTo>
                    <a:pt x="19272" y="21600"/>
                    <a:pt x="19255" y="21600"/>
                    <a:pt x="19238" y="21600"/>
                  </a:cubicBezTo>
                  <a:cubicBezTo>
                    <a:pt x="18042" y="21600"/>
                    <a:pt x="17065" y="21354"/>
                    <a:pt x="17031" y="21038"/>
                  </a:cubicBezTo>
                  <a:lnTo>
                    <a:pt x="15026" y="1147"/>
                  </a:lnTo>
                  <a:lnTo>
                    <a:pt x="11993" y="1147"/>
                  </a:lnTo>
                  <a:lnTo>
                    <a:pt x="4394" y="21077"/>
                  </a:lnTo>
                  <a:cubicBezTo>
                    <a:pt x="4276" y="21380"/>
                    <a:pt x="3316" y="21600"/>
                    <a:pt x="2204" y="21600"/>
                  </a:cubicBezTo>
                  <a:close/>
                </a:path>
              </a:pathLst>
            </a:custGeom>
            <a:solidFill>
              <a:srgbClr val="FDD958"/>
            </a:solidFill>
            <a:ln w="12700">
              <a:miter lim="400000"/>
            </a:ln>
          </p:spPr>
          <p:txBody>
            <a:bodyPr lIns="38100" tIns="38100" rIns="38100" bIns="38100" anchor="ctr"/>
            <a:lstStyle/>
            <a:p>
              <a:pPr>
                <a:defRPr sz="3000"/>
              </a:pPr>
              <a:endParaRPr/>
            </a:p>
          </p:txBody>
        </p:sp>
        <p:sp>
          <p:nvSpPr>
            <p:cNvPr id="41" name="Circle">
              <a:extLst>
                <a:ext uri="{FF2B5EF4-FFF2-40B4-BE49-F238E27FC236}">
                  <a16:creationId xmlns:a16="http://schemas.microsoft.com/office/drawing/2014/main" id="{6A65F487-C385-071D-28B6-5018E7769EA8}"/>
                </a:ext>
              </a:extLst>
            </p:cNvPr>
            <p:cNvSpPr/>
            <p:nvPr/>
          </p:nvSpPr>
          <p:spPr>
            <a:xfrm>
              <a:off x="1735773" y="876150"/>
              <a:ext cx="215017" cy="215017"/>
            </a:xfrm>
            <a:prstGeom prst="ellipse">
              <a:avLst/>
            </a:prstGeom>
            <a:solidFill>
              <a:srgbClr val="FBD157"/>
            </a:solidFill>
            <a:ln w="12700">
              <a:miter lim="400000"/>
            </a:ln>
          </p:spPr>
          <p:txBody>
            <a:bodyPr lIns="38100" tIns="38100" rIns="38100" bIns="38100" anchor="ctr"/>
            <a:lstStyle/>
            <a:p>
              <a:pPr>
                <a:defRPr sz="3000"/>
              </a:pPr>
              <a:endParaRPr/>
            </a:p>
          </p:txBody>
        </p:sp>
        <p:sp>
          <p:nvSpPr>
            <p:cNvPr id="42" name="Shape">
              <a:extLst>
                <a:ext uri="{FF2B5EF4-FFF2-40B4-BE49-F238E27FC236}">
                  <a16:creationId xmlns:a16="http://schemas.microsoft.com/office/drawing/2014/main" id="{BD68FB1B-C119-9973-0583-6165060AE894}"/>
                </a:ext>
              </a:extLst>
            </p:cNvPr>
            <p:cNvSpPr/>
            <p:nvPr/>
          </p:nvSpPr>
          <p:spPr>
            <a:xfrm>
              <a:off x="1711988" y="1209139"/>
              <a:ext cx="254848" cy="858874"/>
            </a:xfrm>
            <a:custGeom>
              <a:avLst/>
              <a:gdLst/>
              <a:ahLst/>
              <a:cxnLst>
                <a:cxn ang="0">
                  <a:pos x="wd2" y="hd2"/>
                </a:cxn>
                <a:cxn ang="5400000">
                  <a:pos x="wd2" y="hd2"/>
                </a:cxn>
                <a:cxn ang="10800000">
                  <a:pos x="wd2" y="hd2"/>
                </a:cxn>
                <a:cxn ang="16200000">
                  <a:pos x="wd2" y="hd2"/>
                </a:cxn>
              </a:cxnLst>
              <a:rect l="0" t="0" r="r" b="b"/>
              <a:pathLst>
                <a:path w="21174" h="21511" extrusionOk="0">
                  <a:moveTo>
                    <a:pt x="5279" y="21511"/>
                  </a:moveTo>
                  <a:cubicBezTo>
                    <a:pt x="4647" y="21511"/>
                    <a:pt x="4014" y="21440"/>
                    <a:pt x="3500" y="21303"/>
                  </a:cubicBezTo>
                  <a:cubicBezTo>
                    <a:pt x="2453" y="21011"/>
                    <a:pt x="2394" y="20516"/>
                    <a:pt x="3382" y="20200"/>
                  </a:cubicBezTo>
                  <a:lnTo>
                    <a:pt x="15140" y="16418"/>
                  </a:lnTo>
                  <a:lnTo>
                    <a:pt x="576" y="11009"/>
                  </a:lnTo>
                  <a:cubicBezTo>
                    <a:pt x="-136" y="10741"/>
                    <a:pt x="-195" y="10366"/>
                    <a:pt x="437" y="10080"/>
                  </a:cubicBezTo>
                  <a:lnTo>
                    <a:pt x="14073" y="4027"/>
                  </a:lnTo>
                  <a:lnTo>
                    <a:pt x="4074" y="1364"/>
                  </a:lnTo>
                  <a:cubicBezTo>
                    <a:pt x="3006" y="1079"/>
                    <a:pt x="2908" y="584"/>
                    <a:pt x="3856" y="262"/>
                  </a:cubicBezTo>
                  <a:cubicBezTo>
                    <a:pt x="4805" y="-59"/>
                    <a:pt x="6445" y="-89"/>
                    <a:pt x="7512" y="197"/>
                  </a:cubicBezTo>
                  <a:lnTo>
                    <a:pt x="19211" y="3312"/>
                  </a:lnTo>
                  <a:cubicBezTo>
                    <a:pt x="20180" y="3574"/>
                    <a:pt x="20377" y="4009"/>
                    <a:pt x="19646" y="4337"/>
                  </a:cubicBezTo>
                  <a:lnTo>
                    <a:pt x="5813" y="10479"/>
                  </a:lnTo>
                  <a:lnTo>
                    <a:pt x="20595" y="15971"/>
                  </a:lnTo>
                  <a:cubicBezTo>
                    <a:pt x="21405" y="16275"/>
                    <a:pt x="21365" y="16710"/>
                    <a:pt x="20476" y="16996"/>
                  </a:cubicBezTo>
                  <a:lnTo>
                    <a:pt x="7176" y="21279"/>
                  </a:lnTo>
                  <a:cubicBezTo>
                    <a:pt x="6662" y="21428"/>
                    <a:pt x="5971" y="21511"/>
                    <a:pt x="5279" y="21511"/>
                  </a:cubicBezTo>
                  <a:close/>
                </a:path>
              </a:pathLst>
            </a:custGeom>
            <a:solidFill>
              <a:srgbClr val="FDD958"/>
            </a:solidFill>
            <a:ln w="12700">
              <a:miter lim="400000"/>
            </a:ln>
          </p:spPr>
          <p:txBody>
            <a:bodyPr lIns="38100" tIns="38100" rIns="38100" bIns="38100" anchor="ctr"/>
            <a:lstStyle/>
            <a:p>
              <a:pPr>
                <a:defRPr sz="3000"/>
              </a:pPr>
              <a:endParaRPr/>
            </a:p>
          </p:txBody>
        </p:sp>
        <p:sp>
          <p:nvSpPr>
            <p:cNvPr id="43" name="Shape">
              <a:extLst>
                <a:ext uri="{FF2B5EF4-FFF2-40B4-BE49-F238E27FC236}">
                  <a16:creationId xmlns:a16="http://schemas.microsoft.com/office/drawing/2014/main" id="{5D35F6B6-B6DC-FF1F-0709-3CE9E7635D5D}"/>
                </a:ext>
              </a:extLst>
            </p:cNvPr>
            <p:cNvSpPr/>
            <p:nvPr/>
          </p:nvSpPr>
          <p:spPr>
            <a:xfrm>
              <a:off x="2235259" y="1827550"/>
              <a:ext cx="2486031" cy="488423"/>
            </a:xfrm>
            <a:custGeom>
              <a:avLst/>
              <a:gdLst/>
              <a:ahLst/>
              <a:cxnLst>
                <a:cxn ang="0">
                  <a:pos x="wd2" y="hd2"/>
                </a:cxn>
                <a:cxn ang="5400000">
                  <a:pos x="wd2" y="hd2"/>
                </a:cxn>
                <a:cxn ang="10800000">
                  <a:pos x="wd2" y="hd2"/>
                </a:cxn>
                <a:cxn ang="16200000">
                  <a:pos x="wd2" y="hd2"/>
                </a:cxn>
              </a:cxnLst>
              <a:rect l="0" t="0" r="r" b="b"/>
              <a:pathLst>
                <a:path w="21479" h="21480" extrusionOk="0">
                  <a:moveTo>
                    <a:pt x="923" y="21480"/>
                  </a:moveTo>
                  <a:cubicBezTo>
                    <a:pt x="573" y="21480"/>
                    <a:pt x="263" y="20518"/>
                    <a:pt x="103" y="18907"/>
                  </a:cubicBezTo>
                  <a:cubicBezTo>
                    <a:pt x="-68" y="17202"/>
                    <a:pt x="-23" y="15235"/>
                    <a:pt x="218" y="13760"/>
                  </a:cubicBezTo>
                  <a:lnTo>
                    <a:pt x="959" y="9242"/>
                  </a:lnTo>
                  <a:cubicBezTo>
                    <a:pt x="1118" y="8279"/>
                    <a:pt x="1348" y="7673"/>
                    <a:pt x="1592" y="7568"/>
                  </a:cubicBezTo>
                  <a:lnTo>
                    <a:pt x="1592" y="7568"/>
                  </a:lnTo>
                  <a:lnTo>
                    <a:pt x="19738" y="16"/>
                  </a:lnTo>
                  <a:cubicBezTo>
                    <a:pt x="20063" y="-120"/>
                    <a:pt x="20383" y="644"/>
                    <a:pt x="20570" y="2014"/>
                  </a:cubicBezTo>
                  <a:lnTo>
                    <a:pt x="21312" y="7432"/>
                  </a:lnTo>
                  <a:cubicBezTo>
                    <a:pt x="21505" y="8844"/>
                    <a:pt x="21532" y="10602"/>
                    <a:pt x="21386" y="12150"/>
                  </a:cubicBezTo>
                  <a:cubicBezTo>
                    <a:pt x="21240" y="13698"/>
                    <a:pt x="20952" y="14692"/>
                    <a:pt x="20615" y="14807"/>
                  </a:cubicBezTo>
                  <a:lnTo>
                    <a:pt x="986" y="21470"/>
                  </a:lnTo>
                  <a:cubicBezTo>
                    <a:pt x="966" y="21480"/>
                    <a:pt x="943" y="21480"/>
                    <a:pt x="923" y="21480"/>
                  </a:cubicBezTo>
                  <a:close/>
                  <a:moveTo>
                    <a:pt x="1631" y="9922"/>
                  </a:moveTo>
                  <a:cubicBezTo>
                    <a:pt x="1506" y="9974"/>
                    <a:pt x="1395" y="10267"/>
                    <a:pt x="1315" y="10759"/>
                  </a:cubicBezTo>
                  <a:lnTo>
                    <a:pt x="573" y="15277"/>
                  </a:lnTo>
                  <a:cubicBezTo>
                    <a:pt x="450" y="16020"/>
                    <a:pt x="429" y="16993"/>
                    <a:pt x="516" y="17861"/>
                  </a:cubicBezTo>
                  <a:cubicBezTo>
                    <a:pt x="602" y="18729"/>
                    <a:pt x="768" y="19221"/>
                    <a:pt x="959" y="19147"/>
                  </a:cubicBezTo>
                  <a:lnTo>
                    <a:pt x="20589" y="12484"/>
                  </a:lnTo>
                  <a:cubicBezTo>
                    <a:pt x="20757" y="12432"/>
                    <a:pt x="20903" y="11930"/>
                    <a:pt x="20975" y="11156"/>
                  </a:cubicBezTo>
                  <a:cubicBezTo>
                    <a:pt x="21049" y="10382"/>
                    <a:pt x="21035" y="9493"/>
                    <a:pt x="20938" y="8792"/>
                  </a:cubicBezTo>
                  <a:lnTo>
                    <a:pt x="20196" y="3374"/>
                  </a:lnTo>
                  <a:cubicBezTo>
                    <a:pt x="20102" y="2683"/>
                    <a:pt x="19939" y="2296"/>
                    <a:pt x="19779" y="2369"/>
                  </a:cubicBezTo>
                  <a:lnTo>
                    <a:pt x="1631" y="9922"/>
                  </a:lnTo>
                  <a:close/>
                </a:path>
              </a:pathLst>
            </a:custGeom>
            <a:solidFill>
              <a:srgbClr val="E1B655"/>
            </a:solidFill>
            <a:ln w="12700">
              <a:miter lim="400000"/>
            </a:ln>
          </p:spPr>
          <p:txBody>
            <a:bodyPr lIns="38100" tIns="38100" rIns="38100" bIns="38100" anchor="ctr"/>
            <a:lstStyle/>
            <a:p>
              <a:pPr>
                <a:defRPr sz="3000"/>
              </a:pPr>
              <a:endParaRPr/>
            </a:p>
          </p:txBody>
        </p:sp>
        <p:sp>
          <p:nvSpPr>
            <p:cNvPr id="44" name="Shape">
              <a:extLst>
                <a:ext uri="{FF2B5EF4-FFF2-40B4-BE49-F238E27FC236}">
                  <a16:creationId xmlns:a16="http://schemas.microsoft.com/office/drawing/2014/main" id="{08C1F37C-D141-B837-3CA0-334F32FD7941}"/>
                </a:ext>
              </a:extLst>
            </p:cNvPr>
            <p:cNvSpPr/>
            <p:nvPr/>
          </p:nvSpPr>
          <p:spPr>
            <a:xfrm>
              <a:off x="2259042" y="1827551"/>
              <a:ext cx="2307446" cy="459645"/>
            </a:xfrm>
            <a:custGeom>
              <a:avLst/>
              <a:gdLst/>
              <a:ahLst/>
              <a:cxnLst>
                <a:cxn ang="0">
                  <a:pos x="wd2" y="hd2"/>
                </a:cxn>
                <a:cxn ang="5400000">
                  <a:pos x="wd2" y="hd2"/>
                </a:cxn>
                <a:cxn ang="10800000">
                  <a:pos x="wd2" y="hd2"/>
                </a:cxn>
                <a:cxn ang="16200000">
                  <a:pos x="wd2" y="hd2"/>
                </a:cxn>
              </a:cxnLst>
              <a:rect l="0" t="0" r="r" b="b"/>
              <a:pathLst>
                <a:path w="21547" h="21472" extrusionOk="0">
                  <a:moveTo>
                    <a:pt x="248" y="21472"/>
                  </a:moveTo>
                  <a:cubicBezTo>
                    <a:pt x="182" y="21472"/>
                    <a:pt x="113" y="21339"/>
                    <a:pt x="64" y="21061"/>
                  </a:cubicBezTo>
                  <a:cubicBezTo>
                    <a:pt x="-27" y="20550"/>
                    <a:pt x="-20" y="19761"/>
                    <a:pt x="82" y="19305"/>
                  </a:cubicBezTo>
                  <a:lnTo>
                    <a:pt x="2487" y="8427"/>
                  </a:lnTo>
                  <a:cubicBezTo>
                    <a:pt x="2587" y="7983"/>
                    <a:pt x="2740" y="8005"/>
                    <a:pt x="2834" y="8483"/>
                  </a:cubicBezTo>
                  <a:lnTo>
                    <a:pt x="4520" y="17239"/>
                  </a:lnTo>
                  <a:lnTo>
                    <a:pt x="6978" y="6328"/>
                  </a:lnTo>
                  <a:cubicBezTo>
                    <a:pt x="7076" y="5894"/>
                    <a:pt x="7227" y="5916"/>
                    <a:pt x="7320" y="6383"/>
                  </a:cubicBezTo>
                  <a:lnTo>
                    <a:pt x="9102" y="15305"/>
                  </a:lnTo>
                  <a:lnTo>
                    <a:pt x="11749" y="4005"/>
                  </a:lnTo>
                  <a:cubicBezTo>
                    <a:pt x="11851" y="3572"/>
                    <a:pt x="12000" y="3616"/>
                    <a:pt x="12091" y="4105"/>
                  </a:cubicBezTo>
                  <a:lnTo>
                    <a:pt x="14001" y="14294"/>
                  </a:lnTo>
                  <a:lnTo>
                    <a:pt x="16549" y="2194"/>
                  </a:lnTo>
                  <a:cubicBezTo>
                    <a:pt x="16598" y="1961"/>
                    <a:pt x="16662" y="1828"/>
                    <a:pt x="16731" y="1850"/>
                  </a:cubicBezTo>
                  <a:cubicBezTo>
                    <a:pt x="16798" y="1861"/>
                    <a:pt x="16862" y="2016"/>
                    <a:pt x="16907" y="2272"/>
                  </a:cubicBezTo>
                  <a:lnTo>
                    <a:pt x="18719" y="12605"/>
                  </a:lnTo>
                  <a:lnTo>
                    <a:pt x="21122" y="372"/>
                  </a:lnTo>
                  <a:cubicBezTo>
                    <a:pt x="21218" y="-117"/>
                    <a:pt x="21375" y="-128"/>
                    <a:pt x="21473" y="361"/>
                  </a:cubicBezTo>
                  <a:cubicBezTo>
                    <a:pt x="21571" y="839"/>
                    <a:pt x="21573" y="1628"/>
                    <a:pt x="21475" y="2116"/>
                  </a:cubicBezTo>
                  <a:lnTo>
                    <a:pt x="18885" y="15305"/>
                  </a:lnTo>
                  <a:cubicBezTo>
                    <a:pt x="18837" y="15550"/>
                    <a:pt x="18772" y="15683"/>
                    <a:pt x="18701" y="15672"/>
                  </a:cubicBezTo>
                  <a:cubicBezTo>
                    <a:pt x="18632" y="15661"/>
                    <a:pt x="18568" y="15505"/>
                    <a:pt x="18521" y="15250"/>
                  </a:cubicBezTo>
                  <a:lnTo>
                    <a:pt x="16702" y="4883"/>
                  </a:lnTo>
                  <a:lnTo>
                    <a:pt x="14161" y="16950"/>
                  </a:lnTo>
                  <a:cubicBezTo>
                    <a:pt x="14112" y="17183"/>
                    <a:pt x="14048" y="17294"/>
                    <a:pt x="13984" y="17294"/>
                  </a:cubicBezTo>
                  <a:cubicBezTo>
                    <a:pt x="13917" y="17283"/>
                    <a:pt x="13855" y="17139"/>
                    <a:pt x="13810" y="16905"/>
                  </a:cubicBezTo>
                  <a:lnTo>
                    <a:pt x="11891" y="6661"/>
                  </a:lnTo>
                  <a:lnTo>
                    <a:pt x="9250" y="17939"/>
                  </a:lnTo>
                  <a:cubicBezTo>
                    <a:pt x="9153" y="18361"/>
                    <a:pt x="9004" y="18328"/>
                    <a:pt x="8913" y="17872"/>
                  </a:cubicBezTo>
                  <a:lnTo>
                    <a:pt x="7136" y="8972"/>
                  </a:lnTo>
                  <a:lnTo>
                    <a:pt x="4675" y="19894"/>
                  </a:lnTo>
                  <a:cubicBezTo>
                    <a:pt x="4575" y="20339"/>
                    <a:pt x="4424" y="20305"/>
                    <a:pt x="4331" y="19828"/>
                  </a:cubicBezTo>
                  <a:lnTo>
                    <a:pt x="2647" y="11072"/>
                  </a:lnTo>
                  <a:lnTo>
                    <a:pt x="422" y="21139"/>
                  </a:lnTo>
                  <a:cubicBezTo>
                    <a:pt x="368" y="21361"/>
                    <a:pt x="308" y="21472"/>
                    <a:pt x="248" y="21472"/>
                  </a:cubicBezTo>
                  <a:close/>
                </a:path>
              </a:pathLst>
            </a:custGeom>
            <a:solidFill>
              <a:srgbClr val="E1B655"/>
            </a:solidFill>
            <a:ln w="12700">
              <a:miter lim="400000"/>
            </a:ln>
          </p:spPr>
          <p:txBody>
            <a:bodyPr lIns="38100" tIns="38100" rIns="38100" bIns="38100" anchor="ctr"/>
            <a:lstStyle/>
            <a:p>
              <a:pPr>
                <a:defRPr sz="3000"/>
              </a:pPr>
              <a:endParaRPr/>
            </a:p>
          </p:txBody>
        </p:sp>
        <p:sp>
          <p:nvSpPr>
            <p:cNvPr id="45" name="Shape">
              <a:extLst>
                <a:ext uri="{FF2B5EF4-FFF2-40B4-BE49-F238E27FC236}">
                  <a16:creationId xmlns:a16="http://schemas.microsoft.com/office/drawing/2014/main" id="{A0C7950C-BFC1-8772-E437-E35AC605B76E}"/>
                </a:ext>
              </a:extLst>
            </p:cNvPr>
            <p:cNvSpPr/>
            <p:nvPr/>
          </p:nvSpPr>
          <p:spPr>
            <a:xfrm>
              <a:off x="3709930" y="1946477"/>
              <a:ext cx="579454" cy="487841"/>
            </a:xfrm>
            <a:custGeom>
              <a:avLst/>
              <a:gdLst/>
              <a:ahLst/>
              <a:cxnLst>
                <a:cxn ang="0">
                  <a:pos x="wd2" y="hd2"/>
                </a:cxn>
                <a:cxn ang="5400000">
                  <a:pos x="wd2" y="hd2"/>
                </a:cxn>
                <a:cxn ang="10800000">
                  <a:pos x="wd2" y="hd2"/>
                </a:cxn>
                <a:cxn ang="16200000">
                  <a:pos x="wd2" y="hd2"/>
                </a:cxn>
              </a:cxnLst>
              <a:rect l="0" t="0" r="r" b="b"/>
              <a:pathLst>
                <a:path w="21531" h="21197" extrusionOk="0">
                  <a:moveTo>
                    <a:pt x="21363" y="4110"/>
                  </a:moveTo>
                  <a:lnTo>
                    <a:pt x="21530" y="12915"/>
                  </a:lnTo>
                  <a:cubicBezTo>
                    <a:pt x="21557" y="14300"/>
                    <a:pt x="20991" y="15612"/>
                    <a:pt x="20028" y="16429"/>
                  </a:cubicBezTo>
                  <a:lnTo>
                    <a:pt x="18729" y="17524"/>
                  </a:lnTo>
                  <a:cubicBezTo>
                    <a:pt x="18190" y="17979"/>
                    <a:pt x="17553" y="18248"/>
                    <a:pt x="16891" y="18299"/>
                  </a:cubicBezTo>
                  <a:lnTo>
                    <a:pt x="14654" y="18486"/>
                  </a:lnTo>
                  <a:cubicBezTo>
                    <a:pt x="14566" y="18899"/>
                    <a:pt x="14487" y="19240"/>
                    <a:pt x="14460" y="19302"/>
                  </a:cubicBezTo>
                  <a:cubicBezTo>
                    <a:pt x="13797" y="21183"/>
                    <a:pt x="12127" y="21400"/>
                    <a:pt x="10598" y="21069"/>
                  </a:cubicBezTo>
                  <a:cubicBezTo>
                    <a:pt x="9926" y="20925"/>
                    <a:pt x="9369" y="20625"/>
                    <a:pt x="8892" y="20201"/>
                  </a:cubicBezTo>
                  <a:cubicBezTo>
                    <a:pt x="8141" y="19529"/>
                    <a:pt x="7239" y="19116"/>
                    <a:pt x="6294" y="19199"/>
                  </a:cubicBezTo>
                  <a:lnTo>
                    <a:pt x="5437" y="19271"/>
                  </a:lnTo>
                  <a:cubicBezTo>
                    <a:pt x="4588" y="19343"/>
                    <a:pt x="3740" y="19054"/>
                    <a:pt x="3050" y="18465"/>
                  </a:cubicBezTo>
                  <a:lnTo>
                    <a:pt x="1618" y="17235"/>
                  </a:lnTo>
                  <a:cubicBezTo>
                    <a:pt x="717" y="16460"/>
                    <a:pt x="169" y="15240"/>
                    <a:pt x="151" y="13928"/>
                  </a:cubicBezTo>
                  <a:lnTo>
                    <a:pt x="1" y="5681"/>
                  </a:lnTo>
                  <a:cubicBezTo>
                    <a:pt x="-43" y="3459"/>
                    <a:pt x="1406" y="1578"/>
                    <a:pt x="3298" y="1392"/>
                  </a:cubicBezTo>
                  <a:lnTo>
                    <a:pt x="17474" y="17"/>
                  </a:lnTo>
                  <a:cubicBezTo>
                    <a:pt x="19533" y="-200"/>
                    <a:pt x="21318" y="1681"/>
                    <a:pt x="21363" y="4110"/>
                  </a:cubicBezTo>
                  <a:close/>
                </a:path>
              </a:pathLst>
            </a:custGeom>
            <a:solidFill>
              <a:srgbClr val="22528D"/>
            </a:solidFill>
            <a:ln w="12700">
              <a:miter lim="400000"/>
            </a:ln>
          </p:spPr>
          <p:txBody>
            <a:bodyPr lIns="38100" tIns="38100" rIns="38100" bIns="38100" anchor="ctr"/>
            <a:lstStyle/>
            <a:p>
              <a:pPr>
                <a:defRPr sz="3000"/>
              </a:pPr>
              <a:endParaRPr/>
            </a:p>
          </p:txBody>
        </p:sp>
        <p:sp>
          <p:nvSpPr>
            <p:cNvPr id="46" name="Shape">
              <a:extLst>
                <a:ext uri="{FF2B5EF4-FFF2-40B4-BE49-F238E27FC236}">
                  <a16:creationId xmlns:a16="http://schemas.microsoft.com/office/drawing/2014/main" id="{3D21199D-B6E1-75DF-B8A4-D43371535BB4}"/>
                </a:ext>
              </a:extLst>
            </p:cNvPr>
            <p:cNvSpPr/>
            <p:nvPr/>
          </p:nvSpPr>
          <p:spPr>
            <a:xfrm>
              <a:off x="2092547" y="1779979"/>
              <a:ext cx="2485864" cy="488423"/>
            </a:xfrm>
            <a:custGeom>
              <a:avLst/>
              <a:gdLst/>
              <a:ahLst/>
              <a:cxnLst>
                <a:cxn ang="0">
                  <a:pos x="wd2" y="hd2"/>
                </a:cxn>
                <a:cxn ang="5400000">
                  <a:pos x="wd2" y="hd2"/>
                </a:cxn>
                <a:cxn ang="10800000">
                  <a:pos x="wd2" y="hd2"/>
                </a:cxn>
                <a:cxn ang="16200000">
                  <a:pos x="wd2" y="hd2"/>
                </a:cxn>
              </a:cxnLst>
              <a:rect l="0" t="0" r="r" b="b"/>
              <a:pathLst>
                <a:path w="21480" h="21480" extrusionOk="0">
                  <a:moveTo>
                    <a:pt x="923" y="21480"/>
                  </a:moveTo>
                  <a:cubicBezTo>
                    <a:pt x="573" y="21480"/>
                    <a:pt x="263" y="20518"/>
                    <a:pt x="103" y="18907"/>
                  </a:cubicBezTo>
                  <a:cubicBezTo>
                    <a:pt x="-68" y="17202"/>
                    <a:pt x="-25" y="15235"/>
                    <a:pt x="218" y="13760"/>
                  </a:cubicBezTo>
                  <a:lnTo>
                    <a:pt x="960" y="9242"/>
                  </a:lnTo>
                  <a:cubicBezTo>
                    <a:pt x="1118" y="8279"/>
                    <a:pt x="1348" y="7673"/>
                    <a:pt x="1593" y="7568"/>
                  </a:cubicBezTo>
                  <a:cubicBezTo>
                    <a:pt x="1593" y="7568"/>
                    <a:pt x="1593" y="7568"/>
                    <a:pt x="1593" y="7568"/>
                  </a:cubicBezTo>
                  <a:lnTo>
                    <a:pt x="19740" y="16"/>
                  </a:lnTo>
                  <a:cubicBezTo>
                    <a:pt x="20069" y="-120"/>
                    <a:pt x="20385" y="644"/>
                    <a:pt x="20572" y="2014"/>
                  </a:cubicBezTo>
                  <a:lnTo>
                    <a:pt x="21312" y="7432"/>
                  </a:lnTo>
                  <a:cubicBezTo>
                    <a:pt x="21505" y="8844"/>
                    <a:pt x="21532" y="10602"/>
                    <a:pt x="21386" y="12150"/>
                  </a:cubicBezTo>
                  <a:cubicBezTo>
                    <a:pt x="21240" y="13698"/>
                    <a:pt x="20952" y="14692"/>
                    <a:pt x="20615" y="14807"/>
                  </a:cubicBezTo>
                  <a:lnTo>
                    <a:pt x="984" y="21470"/>
                  </a:lnTo>
                  <a:cubicBezTo>
                    <a:pt x="966" y="21470"/>
                    <a:pt x="943" y="21480"/>
                    <a:pt x="923" y="21480"/>
                  </a:cubicBezTo>
                  <a:close/>
                  <a:moveTo>
                    <a:pt x="1632" y="9911"/>
                  </a:moveTo>
                  <a:cubicBezTo>
                    <a:pt x="1508" y="9963"/>
                    <a:pt x="1393" y="10267"/>
                    <a:pt x="1315" y="10748"/>
                  </a:cubicBezTo>
                  <a:lnTo>
                    <a:pt x="573" y="15267"/>
                  </a:lnTo>
                  <a:cubicBezTo>
                    <a:pt x="450" y="16009"/>
                    <a:pt x="429" y="16982"/>
                    <a:pt x="516" y="17850"/>
                  </a:cubicBezTo>
                  <a:cubicBezTo>
                    <a:pt x="602" y="18718"/>
                    <a:pt x="768" y="19210"/>
                    <a:pt x="960" y="19137"/>
                  </a:cubicBezTo>
                  <a:lnTo>
                    <a:pt x="20591" y="12474"/>
                  </a:lnTo>
                  <a:cubicBezTo>
                    <a:pt x="20759" y="12421"/>
                    <a:pt x="20903" y="11919"/>
                    <a:pt x="20977" y="11145"/>
                  </a:cubicBezTo>
                  <a:cubicBezTo>
                    <a:pt x="21051" y="10371"/>
                    <a:pt x="21037" y="9482"/>
                    <a:pt x="20940" y="8781"/>
                  </a:cubicBezTo>
                  <a:lnTo>
                    <a:pt x="20198" y="3363"/>
                  </a:lnTo>
                  <a:cubicBezTo>
                    <a:pt x="20104" y="2673"/>
                    <a:pt x="19945" y="2285"/>
                    <a:pt x="19781" y="2359"/>
                  </a:cubicBezTo>
                  <a:lnTo>
                    <a:pt x="1632" y="9911"/>
                  </a:lnTo>
                  <a:close/>
                </a:path>
              </a:pathLst>
            </a:custGeom>
            <a:solidFill>
              <a:srgbClr val="FDD958"/>
            </a:solidFill>
            <a:ln w="12700">
              <a:miter lim="400000"/>
            </a:ln>
          </p:spPr>
          <p:txBody>
            <a:bodyPr lIns="38100" tIns="38100" rIns="38100" bIns="38100" anchor="ctr"/>
            <a:lstStyle/>
            <a:p>
              <a:pPr>
                <a:defRPr sz="3000"/>
              </a:pPr>
              <a:endParaRPr/>
            </a:p>
          </p:txBody>
        </p:sp>
        <p:sp>
          <p:nvSpPr>
            <p:cNvPr id="47" name="Shape">
              <a:extLst>
                <a:ext uri="{FF2B5EF4-FFF2-40B4-BE49-F238E27FC236}">
                  <a16:creationId xmlns:a16="http://schemas.microsoft.com/office/drawing/2014/main" id="{8841142E-61DA-B68F-BCC4-B3C6A0EB62EE}"/>
                </a:ext>
              </a:extLst>
            </p:cNvPr>
            <p:cNvSpPr/>
            <p:nvPr/>
          </p:nvSpPr>
          <p:spPr>
            <a:xfrm>
              <a:off x="2116334" y="1803765"/>
              <a:ext cx="2306733" cy="459411"/>
            </a:xfrm>
            <a:custGeom>
              <a:avLst/>
              <a:gdLst/>
              <a:ahLst/>
              <a:cxnLst>
                <a:cxn ang="0">
                  <a:pos x="wd2" y="hd2"/>
                </a:cxn>
                <a:cxn ang="5400000">
                  <a:pos x="wd2" y="hd2"/>
                </a:cxn>
                <a:cxn ang="10800000">
                  <a:pos x="wd2" y="hd2"/>
                </a:cxn>
                <a:cxn ang="16200000">
                  <a:pos x="wd2" y="hd2"/>
                </a:cxn>
              </a:cxnLst>
              <a:rect l="0" t="0" r="r" b="b"/>
              <a:pathLst>
                <a:path w="21547" h="21472" extrusionOk="0">
                  <a:moveTo>
                    <a:pt x="248" y="21472"/>
                  </a:moveTo>
                  <a:cubicBezTo>
                    <a:pt x="180" y="21472"/>
                    <a:pt x="113" y="21339"/>
                    <a:pt x="64" y="21061"/>
                  </a:cubicBezTo>
                  <a:cubicBezTo>
                    <a:pt x="-27" y="20549"/>
                    <a:pt x="-20" y="19760"/>
                    <a:pt x="82" y="19304"/>
                  </a:cubicBezTo>
                  <a:lnTo>
                    <a:pt x="2488" y="8421"/>
                  </a:lnTo>
                  <a:cubicBezTo>
                    <a:pt x="2588" y="7965"/>
                    <a:pt x="2741" y="7998"/>
                    <a:pt x="2835" y="8488"/>
                  </a:cubicBezTo>
                  <a:lnTo>
                    <a:pt x="4519" y="17325"/>
                  </a:lnTo>
                  <a:lnTo>
                    <a:pt x="6976" y="6331"/>
                  </a:lnTo>
                  <a:cubicBezTo>
                    <a:pt x="7074" y="5886"/>
                    <a:pt x="7225" y="5908"/>
                    <a:pt x="7318" y="6386"/>
                  </a:cubicBezTo>
                  <a:lnTo>
                    <a:pt x="9098" y="15391"/>
                  </a:lnTo>
                  <a:lnTo>
                    <a:pt x="11744" y="4007"/>
                  </a:lnTo>
                  <a:cubicBezTo>
                    <a:pt x="11844" y="3574"/>
                    <a:pt x="11997" y="3607"/>
                    <a:pt x="12088" y="4096"/>
                  </a:cubicBezTo>
                  <a:lnTo>
                    <a:pt x="13999" y="14302"/>
                  </a:lnTo>
                  <a:lnTo>
                    <a:pt x="16547" y="2195"/>
                  </a:lnTo>
                  <a:cubicBezTo>
                    <a:pt x="16596" y="1962"/>
                    <a:pt x="16661" y="1829"/>
                    <a:pt x="16730" y="1851"/>
                  </a:cubicBezTo>
                  <a:cubicBezTo>
                    <a:pt x="16796" y="1862"/>
                    <a:pt x="16861" y="2017"/>
                    <a:pt x="16905" y="2273"/>
                  </a:cubicBezTo>
                  <a:lnTo>
                    <a:pt x="18718" y="12612"/>
                  </a:lnTo>
                  <a:lnTo>
                    <a:pt x="21122" y="372"/>
                  </a:lnTo>
                  <a:cubicBezTo>
                    <a:pt x="21218" y="-117"/>
                    <a:pt x="21375" y="-128"/>
                    <a:pt x="21473" y="361"/>
                  </a:cubicBezTo>
                  <a:cubicBezTo>
                    <a:pt x="21571" y="839"/>
                    <a:pt x="21573" y="1628"/>
                    <a:pt x="21475" y="2117"/>
                  </a:cubicBezTo>
                  <a:lnTo>
                    <a:pt x="18885" y="15313"/>
                  </a:lnTo>
                  <a:cubicBezTo>
                    <a:pt x="18836" y="15558"/>
                    <a:pt x="18774" y="15680"/>
                    <a:pt x="18700" y="15680"/>
                  </a:cubicBezTo>
                  <a:cubicBezTo>
                    <a:pt x="18631" y="15669"/>
                    <a:pt x="18567" y="15513"/>
                    <a:pt x="18520" y="15258"/>
                  </a:cubicBezTo>
                  <a:lnTo>
                    <a:pt x="16701" y="4886"/>
                  </a:lnTo>
                  <a:lnTo>
                    <a:pt x="14159" y="16958"/>
                  </a:lnTo>
                  <a:cubicBezTo>
                    <a:pt x="14110" y="17181"/>
                    <a:pt x="14043" y="17292"/>
                    <a:pt x="13981" y="17303"/>
                  </a:cubicBezTo>
                  <a:cubicBezTo>
                    <a:pt x="13915" y="17292"/>
                    <a:pt x="13852" y="17148"/>
                    <a:pt x="13808" y="16914"/>
                  </a:cubicBezTo>
                  <a:lnTo>
                    <a:pt x="11888" y="6676"/>
                  </a:lnTo>
                  <a:lnTo>
                    <a:pt x="9247" y="18037"/>
                  </a:lnTo>
                  <a:cubicBezTo>
                    <a:pt x="9147" y="18459"/>
                    <a:pt x="9000" y="18437"/>
                    <a:pt x="8907" y="17970"/>
                  </a:cubicBezTo>
                  <a:lnTo>
                    <a:pt x="7129" y="8988"/>
                  </a:lnTo>
                  <a:lnTo>
                    <a:pt x="4668" y="19994"/>
                  </a:lnTo>
                  <a:cubicBezTo>
                    <a:pt x="4568" y="20438"/>
                    <a:pt x="4414" y="20416"/>
                    <a:pt x="4321" y="19927"/>
                  </a:cubicBezTo>
                  <a:lnTo>
                    <a:pt x="2637" y="11089"/>
                  </a:lnTo>
                  <a:lnTo>
                    <a:pt x="411" y="21161"/>
                  </a:lnTo>
                  <a:cubicBezTo>
                    <a:pt x="368" y="21372"/>
                    <a:pt x="308" y="21472"/>
                    <a:pt x="248" y="21472"/>
                  </a:cubicBezTo>
                  <a:close/>
                </a:path>
              </a:pathLst>
            </a:custGeom>
            <a:solidFill>
              <a:srgbClr val="FDD958"/>
            </a:solidFill>
            <a:ln w="12700">
              <a:miter lim="400000"/>
            </a:ln>
          </p:spPr>
          <p:txBody>
            <a:bodyPr lIns="38100" tIns="38100" rIns="38100" bIns="38100" anchor="ctr"/>
            <a:lstStyle/>
            <a:p>
              <a:pPr>
                <a:defRPr sz="3000"/>
              </a:pPr>
              <a:endParaRPr/>
            </a:p>
          </p:txBody>
        </p:sp>
        <p:sp>
          <p:nvSpPr>
            <p:cNvPr id="48" name="Shape">
              <a:extLst>
                <a:ext uri="{FF2B5EF4-FFF2-40B4-BE49-F238E27FC236}">
                  <a16:creationId xmlns:a16="http://schemas.microsoft.com/office/drawing/2014/main" id="{34D9CC1A-BF41-E00A-33BC-7BB76BF5634D}"/>
                </a:ext>
              </a:extLst>
            </p:cNvPr>
            <p:cNvSpPr/>
            <p:nvPr/>
          </p:nvSpPr>
          <p:spPr>
            <a:xfrm>
              <a:off x="4518621" y="2017830"/>
              <a:ext cx="199766" cy="71394"/>
            </a:xfrm>
            <a:custGeom>
              <a:avLst/>
              <a:gdLst/>
              <a:ahLst/>
              <a:cxnLst>
                <a:cxn ang="0">
                  <a:pos x="wd2" y="hd2"/>
                </a:cxn>
                <a:cxn ang="5400000">
                  <a:pos x="wd2" y="hd2"/>
                </a:cxn>
                <a:cxn ang="10800000">
                  <a:pos x="wd2" y="hd2"/>
                </a:cxn>
                <a:cxn ang="16200000">
                  <a:pos x="wd2" y="hd2"/>
                </a:cxn>
              </a:cxnLst>
              <a:rect l="0" t="0" r="r" b="b"/>
              <a:pathLst>
                <a:path w="21243" h="21049" extrusionOk="0">
                  <a:moveTo>
                    <a:pt x="18411" y="21049"/>
                  </a:moveTo>
                  <a:cubicBezTo>
                    <a:pt x="18310" y="21049"/>
                    <a:pt x="18183" y="21049"/>
                    <a:pt x="18057" y="20979"/>
                  </a:cubicBezTo>
                  <a:lnTo>
                    <a:pt x="2477" y="15649"/>
                  </a:lnTo>
                  <a:cubicBezTo>
                    <a:pt x="934" y="15158"/>
                    <a:pt x="-179" y="11231"/>
                    <a:pt x="23" y="6883"/>
                  </a:cubicBezTo>
                  <a:cubicBezTo>
                    <a:pt x="200" y="2605"/>
                    <a:pt x="1592" y="-551"/>
                    <a:pt x="3185" y="81"/>
                  </a:cubicBezTo>
                  <a:lnTo>
                    <a:pt x="18765" y="5411"/>
                  </a:lnTo>
                  <a:cubicBezTo>
                    <a:pt x="20308" y="5901"/>
                    <a:pt x="21421" y="9829"/>
                    <a:pt x="21219" y="14177"/>
                  </a:cubicBezTo>
                  <a:cubicBezTo>
                    <a:pt x="21067" y="18103"/>
                    <a:pt x="19828" y="21049"/>
                    <a:pt x="18411" y="21049"/>
                  </a:cubicBezTo>
                  <a:close/>
                </a:path>
              </a:pathLst>
            </a:custGeom>
            <a:solidFill>
              <a:srgbClr val="FDD958"/>
            </a:solidFill>
            <a:ln w="12700">
              <a:miter lim="400000"/>
            </a:ln>
          </p:spPr>
          <p:txBody>
            <a:bodyPr lIns="38100" tIns="38100" rIns="38100" bIns="38100" anchor="ctr"/>
            <a:lstStyle/>
            <a:p>
              <a:pPr>
                <a:defRPr sz="3000"/>
              </a:pPr>
              <a:endParaRPr/>
            </a:p>
          </p:txBody>
        </p:sp>
        <p:sp>
          <p:nvSpPr>
            <p:cNvPr id="49" name="Shape">
              <a:extLst>
                <a:ext uri="{FF2B5EF4-FFF2-40B4-BE49-F238E27FC236}">
                  <a16:creationId xmlns:a16="http://schemas.microsoft.com/office/drawing/2014/main" id="{E9D5C2A7-C4C9-FF44-D4ED-BD86D7A32A7F}"/>
                </a:ext>
              </a:extLst>
            </p:cNvPr>
            <p:cNvSpPr/>
            <p:nvPr/>
          </p:nvSpPr>
          <p:spPr>
            <a:xfrm>
              <a:off x="4375911" y="1803765"/>
              <a:ext cx="199766" cy="71394"/>
            </a:xfrm>
            <a:custGeom>
              <a:avLst/>
              <a:gdLst/>
              <a:ahLst/>
              <a:cxnLst>
                <a:cxn ang="0">
                  <a:pos x="wd2" y="hd2"/>
                </a:cxn>
                <a:cxn ang="5400000">
                  <a:pos x="wd2" y="hd2"/>
                </a:cxn>
                <a:cxn ang="10800000">
                  <a:pos x="wd2" y="hd2"/>
                </a:cxn>
                <a:cxn ang="16200000">
                  <a:pos x="wd2" y="hd2"/>
                </a:cxn>
              </a:cxnLst>
              <a:rect l="0" t="0" r="r" b="b"/>
              <a:pathLst>
                <a:path w="21243" h="21049" extrusionOk="0">
                  <a:moveTo>
                    <a:pt x="18411" y="21049"/>
                  </a:moveTo>
                  <a:cubicBezTo>
                    <a:pt x="18310" y="21049"/>
                    <a:pt x="18183" y="21049"/>
                    <a:pt x="18057" y="20979"/>
                  </a:cubicBezTo>
                  <a:lnTo>
                    <a:pt x="2477" y="15649"/>
                  </a:lnTo>
                  <a:cubicBezTo>
                    <a:pt x="934" y="15158"/>
                    <a:pt x="-179" y="11231"/>
                    <a:pt x="23" y="6883"/>
                  </a:cubicBezTo>
                  <a:cubicBezTo>
                    <a:pt x="200" y="2605"/>
                    <a:pt x="1566" y="-551"/>
                    <a:pt x="3185" y="81"/>
                  </a:cubicBezTo>
                  <a:lnTo>
                    <a:pt x="18765" y="5411"/>
                  </a:lnTo>
                  <a:cubicBezTo>
                    <a:pt x="20308" y="5901"/>
                    <a:pt x="21421" y="9829"/>
                    <a:pt x="21219" y="14177"/>
                  </a:cubicBezTo>
                  <a:cubicBezTo>
                    <a:pt x="21042" y="18174"/>
                    <a:pt x="19828" y="21049"/>
                    <a:pt x="18411" y="21049"/>
                  </a:cubicBezTo>
                  <a:close/>
                </a:path>
              </a:pathLst>
            </a:custGeom>
            <a:solidFill>
              <a:srgbClr val="FDD958"/>
            </a:solidFill>
            <a:ln w="12700">
              <a:miter lim="400000"/>
            </a:ln>
          </p:spPr>
          <p:txBody>
            <a:bodyPr lIns="38100" tIns="38100" rIns="38100" bIns="38100" anchor="ctr"/>
            <a:lstStyle/>
            <a:p>
              <a:pPr>
                <a:defRPr sz="3000"/>
              </a:pPr>
              <a:endParaRPr/>
            </a:p>
          </p:txBody>
        </p:sp>
        <p:sp>
          <p:nvSpPr>
            <p:cNvPr id="50" name="Shape">
              <a:extLst>
                <a:ext uri="{FF2B5EF4-FFF2-40B4-BE49-F238E27FC236}">
                  <a16:creationId xmlns:a16="http://schemas.microsoft.com/office/drawing/2014/main" id="{50647D33-C35E-426F-C69D-FC96EC747FAB}"/>
                </a:ext>
              </a:extLst>
            </p:cNvPr>
            <p:cNvSpPr/>
            <p:nvPr/>
          </p:nvSpPr>
          <p:spPr>
            <a:xfrm>
              <a:off x="808157" y="2089185"/>
              <a:ext cx="557285" cy="584638"/>
            </a:xfrm>
            <a:custGeom>
              <a:avLst/>
              <a:gdLst/>
              <a:ahLst/>
              <a:cxnLst>
                <a:cxn ang="0">
                  <a:pos x="wd2" y="hd2"/>
                </a:cxn>
                <a:cxn ang="5400000">
                  <a:pos x="wd2" y="hd2"/>
                </a:cxn>
                <a:cxn ang="10800000">
                  <a:pos x="wd2" y="hd2"/>
                </a:cxn>
                <a:cxn ang="16200000">
                  <a:pos x="wd2" y="hd2"/>
                </a:cxn>
              </a:cxnLst>
              <a:rect l="0" t="0" r="r" b="b"/>
              <a:pathLst>
                <a:path w="21600" h="21600" extrusionOk="0">
                  <a:moveTo>
                    <a:pt x="21600" y="17294"/>
                  </a:moveTo>
                  <a:lnTo>
                    <a:pt x="20927" y="2012"/>
                  </a:lnTo>
                  <a:cubicBezTo>
                    <a:pt x="20927" y="2012"/>
                    <a:pt x="21019" y="0"/>
                    <a:pt x="18622" y="0"/>
                  </a:cubicBezTo>
                  <a:cubicBezTo>
                    <a:pt x="16696" y="0"/>
                    <a:pt x="6204" y="949"/>
                    <a:pt x="2166" y="1318"/>
                  </a:cubicBezTo>
                  <a:cubicBezTo>
                    <a:pt x="1079" y="1415"/>
                    <a:pt x="212" y="2223"/>
                    <a:pt x="92" y="3260"/>
                  </a:cubicBezTo>
                  <a:cubicBezTo>
                    <a:pt x="37" y="3735"/>
                    <a:pt x="0" y="4315"/>
                    <a:pt x="0" y="5035"/>
                  </a:cubicBezTo>
                  <a:cubicBezTo>
                    <a:pt x="0" y="7874"/>
                    <a:pt x="0" y="17848"/>
                    <a:pt x="0" y="17848"/>
                  </a:cubicBezTo>
                  <a:cubicBezTo>
                    <a:pt x="0" y="17848"/>
                    <a:pt x="286" y="21600"/>
                    <a:pt x="2498" y="21600"/>
                  </a:cubicBezTo>
                  <a:cubicBezTo>
                    <a:pt x="4711" y="21600"/>
                    <a:pt x="18816" y="20774"/>
                    <a:pt x="18816" y="20774"/>
                  </a:cubicBezTo>
                  <a:cubicBezTo>
                    <a:pt x="18816" y="20774"/>
                    <a:pt x="21600" y="20677"/>
                    <a:pt x="21600" y="17294"/>
                  </a:cubicBezTo>
                  <a:close/>
                </a:path>
              </a:pathLst>
            </a:custGeom>
            <a:solidFill>
              <a:srgbClr val="3D70B3"/>
            </a:solidFill>
            <a:ln w="12700">
              <a:miter lim="400000"/>
            </a:ln>
          </p:spPr>
          <p:txBody>
            <a:bodyPr lIns="38100" tIns="38100" rIns="38100" bIns="38100" anchor="ctr"/>
            <a:lstStyle/>
            <a:p>
              <a:pPr>
                <a:defRPr sz="3000"/>
              </a:pPr>
              <a:endParaRPr/>
            </a:p>
          </p:txBody>
        </p:sp>
        <p:sp>
          <p:nvSpPr>
            <p:cNvPr id="51" name="Shape">
              <a:extLst>
                <a:ext uri="{FF2B5EF4-FFF2-40B4-BE49-F238E27FC236}">
                  <a16:creationId xmlns:a16="http://schemas.microsoft.com/office/drawing/2014/main" id="{6017EC2D-2054-703F-095E-6A32E7E54524}"/>
                </a:ext>
              </a:extLst>
            </p:cNvPr>
            <p:cNvSpPr/>
            <p:nvPr/>
          </p:nvSpPr>
          <p:spPr>
            <a:xfrm>
              <a:off x="1260073" y="2089185"/>
              <a:ext cx="113930" cy="567279"/>
            </a:xfrm>
            <a:custGeom>
              <a:avLst/>
              <a:gdLst/>
              <a:ahLst/>
              <a:cxnLst>
                <a:cxn ang="0">
                  <a:pos x="wd2" y="hd2"/>
                </a:cxn>
                <a:cxn ang="5400000">
                  <a:pos x="wd2" y="hd2"/>
                </a:cxn>
                <a:cxn ang="10800000">
                  <a:pos x="wd2" y="hd2"/>
                </a:cxn>
                <a:cxn ang="16200000">
                  <a:pos x="wd2" y="hd2"/>
                </a:cxn>
              </a:cxnLst>
              <a:rect l="0" t="0" r="r" b="b"/>
              <a:pathLst>
                <a:path w="21600" h="21600" extrusionOk="0">
                  <a:moveTo>
                    <a:pt x="5321" y="0"/>
                  </a:moveTo>
                  <a:lnTo>
                    <a:pt x="16279" y="0"/>
                  </a:lnTo>
                  <a:cubicBezTo>
                    <a:pt x="19210" y="0"/>
                    <a:pt x="21600" y="480"/>
                    <a:pt x="21600" y="1069"/>
                  </a:cubicBezTo>
                  <a:lnTo>
                    <a:pt x="21600" y="20531"/>
                  </a:lnTo>
                  <a:cubicBezTo>
                    <a:pt x="21600" y="21120"/>
                    <a:pt x="19210" y="21600"/>
                    <a:pt x="16279" y="21600"/>
                  </a:cubicBezTo>
                  <a:lnTo>
                    <a:pt x="5321" y="21600"/>
                  </a:lnTo>
                  <a:cubicBezTo>
                    <a:pt x="2390" y="21600"/>
                    <a:pt x="0" y="21120"/>
                    <a:pt x="0" y="20531"/>
                  </a:cubicBezTo>
                  <a:lnTo>
                    <a:pt x="0" y="1069"/>
                  </a:lnTo>
                  <a:cubicBezTo>
                    <a:pt x="0" y="480"/>
                    <a:pt x="2390" y="0"/>
                    <a:pt x="5321" y="0"/>
                  </a:cubicBezTo>
                  <a:close/>
                </a:path>
              </a:pathLst>
            </a:custGeom>
            <a:solidFill>
              <a:srgbClr val="263E50"/>
            </a:solidFill>
            <a:ln w="12700">
              <a:miter lim="400000"/>
            </a:ln>
          </p:spPr>
          <p:txBody>
            <a:bodyPr lIns="38100" tIns="38100" rIns="38100" bIns="38100" anchor="ctr"/>
            <a:lstStyle/>
            <a:p>
              <a:pPr>
                <a:defRPr sz="3000"/>
              </a:pPr>
              <a:endParaRPr/>
            </a:p>
          </p:txBody>
        </p:sp>
        <p:sp>
          <p:nvSpPr>
            <p:cNvPr id="52" name="Shape">
              <a:extLst>
                <a:ext uri="{FF2B5EF4-FFF2-40B4-BE49-F238E27FC236}">
                  <a16:creationId xmlns:a16="http://schemas.microsoft.com/office/drawing/2014/main" id="{BB9523F9-A9F9-43CC-4B44-A448984545CC}"/>
                </a:ext>
              </a:extLst>
            </p:cNvPr>
            <p:cNvSpPr/>
            <p:nvPr/>
          </p:nvSpPr>
          <p:spPr>
            <a:xfrm>
              <a:off x="1260071" y="1898905"/>
              <a:ext cx="987793" cy="723067"/>
            </a:xfrm>
            <a:custGeom>
              <a:avLst/>
              <a:gdLst/>
              <a:ahLst/>
              <a:cxnLst>
                <a:cxn ang="0">
                  <a:pos x="wd2" y="hd2"/>
                </a:cxn>
                <a:cxn ang="5400000">
                  <a:pos x="wd2" y="hd2"/>
                </a:cxn>
                <a:cxn ang="10800000">
                  <a:pos x="wd2" y="hd2"/>
                </a:cxn>
                <a:cxn ang="16200000">
                  <a:pos x="wd2" y="hd2"/>
                </a:cxn>
              </a:cxnLst>
              <a:rect l="0" t="0" r="r" b="b"/>
              <a:pathLst>
                <a:path w="21600" h="21600" extrusionOk="0">
                  <a:moveTo>
                    <a:pt x="1243" y="8882"/>
                  </a:moveTo>
                  <a:cubicBezTo>
                    <a:pt x="1243" y="8882"/>
                    <a:pt x="1025" y="4441"/>
                    <a:pt x="4873" y="4810"/>
                  </a:cubicBezTo>
                  <a:cubicBezTo>
                    <a:pt x="4873" y="4810"/>
                    <a:pt x="4983" y="0"/>
                    <a:pt x="7963" y="0"/>
                  </a:cubicBezTo>
                  <a:cubicBezTo>
                    <a:pt x="10943" y="0"/>
                    <a:pt x="11213" y="3993"/>
                    <a:pt x="11213" y="3993"/>
                  </a:cubicBezTo>
                  <a:cubicBezTo>
                    <a:pt x="11213" y="3993"/>
                    <a:pt x="16628" y="3553"/>
                    <a:pt x="20529" y="5841"/>
                  </a:cubicBezTo>
                  <a:cubicBezTo>
                    <a:pt x="20529" y="5841"/>
                    <a:pt x="21590" y="6174"/>
                    <a:pt x="21600" y="9081"/>
                  </a:cubicBezTo>
                  <a:cubicBezTo>
                    <a:pt x="20763" y="8839"/>
                    <a:pt x="19202" y="8406"/>
                    <a:pt x="18578" y="8356"/>
                  </a:cubicBezTo>
                  <a:cubicBezTo>
                    <a:pt x="17710" y="8285"/>
                    <a:pt x="17548" y="7766"/>
                    <a:pt x="15978" y="7468"/>
                  </a:cubicBezTo>
                  <a:cubicBezTo>
                    <a:pt x="14407" y="7169"/>
                    <a:pt x="14246" y="8945"/>
                    <a:pt x="14246" y="8945"/>
                  </a:cubicBezTo>
                  <a:cubicBezTo>
                    <a:pt x="14246" y="8945"/>
                    <a:pt x="13814" y="12939"/>
                    <a:pt x="13648" y="14495"/>
                  </a:cubicBezTo>
                  <a:cubicBezTo>
                    <a:pt x="13486" y="16051"/>
                    <a:pt x="13429" y="17230"/>
                    <a:pt x="14188" y="17458"/>
                  </a:cubicBezTo>
                  <a:cubicBezTo>
                    <a:pt x="14948" y="17678"/>
                    <a:pt x="15759" y="17458"/>
                    <a:pt x="16789" y="17458"/>
                  </a:cubicBezTo>
                  <a:cubicBezTo>
                    <a:pt x="17486" y="17458"/>
                    <a:pt x="19124" y="17898"/>
                    <a:pt x="20113" y="18182"/>
                  </a:cubicBezTo>
                  <a:cubicBezTo>
                    <a:pt x="19556" y="20669"/>
                    <a:pt x="19244" y="21209"/>
                    <a:pt x="18578" y="21159"/>
                  </a:cubicBezTo>
                  <a:cubicBezTo>
                    <a:pt x="17606" y="21088"/>
                    <a:pt x="11213" y="21600"/>
                    <a:pt x="11213" y="21600"/>
                  </a:cubicBezTo>
                  <a:lnTo>
                    <a:pt x="8613" y="21010"/>
                  </a:lnTo>
                  <a:lnTo>
                    <a:pt x="8613" y="19973"/>
                  </a:lnTo>
                  <a:cubicBezTo>
                    <a:pt x="8613" y="19973"/>
                    <a:pt x="5690" y="20413"/>
                    <a:pt x="5092" y="16939"/>
                  </a:cubicBezTo>
                  <a:cubicBezTo>
                    <a:pt x="5092" y="16939"/>
                    <a:pt x="2549" y="17607"/>
                    <a:pt x="1732" y="15092"/>
                  </a:cubicBezTo>
                  <a:lnTo>
                    <a:pt x="0" y="15092"/>
                  </a:lnTo>
                  <a:lnTo>
                    <a:pt x="0" y="8875"/>
                  </a:lnTo>
                  <a:lnTo>
                    <a:pt x="1243" y="8875"/>
                  </a:lnTo>
                  <a:close/>
                </a:path>
              </a:pathLst>
            </a:custGeom>
            <a:solidFill>
              <a:srgbClr val="FBD959"/>
            </a:solidFill>
            <a:ln w="12700">
              <a:miter lim="400000"/>
            </a:ln>
          </p:spPr>
          <p:txBody>
            <a:bodyPr lIns="38100" tIns="38100" rIns="38100" bIns="38100" anchor="ctr"/>
            <a:lstStyle/>
            <a:p>
              <a:pPr>
                <a:defRPr sz="3000"/>
              </a:pPr>
              <a:endParaRPr/>
            </a:p>
          </p:txBody>
        </p:sp>
        <p:sp>
          <p:nvSpPr>
            <p:cNvPr id="53" name="Shape">
              <a:extLst>
                <a:ext uri="{FF2B5EF4-FFF2-40B4-BE49-F238E27FC236}">
                  <a16:creationId xmlns:a16="http://schemas.microsoft.com/office/drawing/2014/main" id="{A64D2193-1691-CA43-66BB-332226626F98}"/>
                </a:ext>
              </a:extLst>
            </p:cNvPr>
            <p:cNvSpPr/>
            <p:nvPr/>
          </p:nvSpPr>
          <p:spPr>
            <a:xfrm>
              <a:off x="1521708" y="1946477"/>
              <a:ext cx="238570" cy="634111"/>
            </a:xfrm>
            <a:custGeom>
              <a:avLst/>
              <a:gdLst/>
              <a:ahLst/>
              <a:cxnLst>
                <a:cxn ang="0">
                  <a:pos x="wd2" y="hd2"/>
                </a:cxn>
                <a:cxn ang="5400000">
                  <a:pos x="wd2" y="hd2"/>
                </a:cxn>
                <a:cxn ang="10800000">
                  <a:pos x="wd2" y="hd2"/>
                </a:cxn>
                <a:cxn ang="16200000">
                  <a:pos x="wd2" y="hd2"/>
                </a:cxn>
              </a:cxnLst>
              <a:rect l="0" t="0" r="r" b="b"/>
              <a:pathLst>
                <a:path w="21366" h="21600" extrusionOk="0">
                  <a:moveTo>
                    <a:pt x="21366" y="21600"/>
                  </a:moveTo>
                  <a:lnTo>
                    <a:pt x="21366" y="4642"/>
                  </a:lnTo>
                  <a:cubicBezTo>
                    <a:pt x="21366" y="4642"/>
                    <a:pt x="21068" y="0"/>
                    <a:pt x="10417" y="0"/>
                  </a:cubicBezTo>
                  <a:cubicBezTo>
                    <a:pt x="-234" y="0"/>
                    <a:pt x="0" y="4051"/>
                    <a:pt x="0" y="5145"/>
                  </a:cubicBezTo>
                  <a:cubicBezTo>
                    <a:pt x="0" y="6239"/>
                    <a:pt x="0" y="17549"/>
                    <a:pt x="0" y="17549"/>
                  </a:cubicBezTo>
                  <a:cubicBezTo>
                    <a:pt x="0" y="17549"/>
                    <a:pt x="149" y="21600"/>
                    <a:pt x="21366" y="21600"/>
                  </a:cubicBezTo>
                  <a:close/>
                </a:path>
              </a:pathLst>
            </a:custGeom>
            <a:solidFill>
              <a:srgbClr val="F6BD53"/>
            </a:solidFill>
            <a:ln w="12700">
              <a:miter lim="400000"/>
            </a:ln>
          </p:spPr>
          <p:txBody>
            <a:bodyPr lIns="38100" tIns="38100" rIns="38100" bIns="38100" anchor="ctr"/>
            <a:lstStyle/>
            <a:p>
              <a:pPr>
                <a:defRPr sz="3000"/>
              </a:pPr>
              <a:endParaRPr/>
            </a:p>
          </p:txBody>
        </p:sp>
        <p:sp>
          <p:nvSpPr>
            <p:cNvPr id="54" name="Rectangle">
              <a:extLst>
                <a:ext uri="{FF2B5EF4-FFF2-40B4-BE49-F238E27FC236}">
                  <a16:creationId xmlns:a16="http://schemas.microsoft.com/office/drawing/2014/main" id="{5AC77FE1-6900-AC61-2927-55D986B3D1C0}"/>
                </a:ext>
              </a:extLst>
            </p:cNvPr>
            <p:cNvSpPr/>
            <p:nvPr/>
          </p:nvSpPr>
          <p:spPr>
            <a:xfrm>
              <a:off x="1759558" y="2374607"/>
              <a:ext cx="130344" cy="26641"/>
            </a:xfrm>
            <a:prstGeom prst="rect">
              <a:avLst/>
            </a:prstGeom>
            <a:solidFill>
              <a:srgbClr val="F6BD53"/>
            </a:solidFill>
            <a:ln w="12700">
              <a:miter lim="400000"/>
            </a:ln>
          </p:spPr>
          <p:txBody>
            <a:bodyPr lIns="38100" tIns="38100" rIns="38100" bIns="38100" anchor="ctr"/>
            <a:lstStyle/>
            <a:p>
              <a:pPr>
                <a:defRPr sz="3000"/>
              </a:pPr>
              <a:endParaRPr/>
            </a:p>
          </p:txBody>
        </p:sp>
        <p:sp>
          <p:nvSpPr>
            <p:cNvPr id="55" name="Shape">
              <a:extLst>
                <a:ext uri="{FF2B5EF4-FFF2-40B4-BE49-F238E27FC236}">
                  <a16:creationId xmlns:a16="http://schemas.microsoft.com/office/drawing/2014/main" id="{4A9E6B60-6D90-E3A2-38EC-8B9A0B896657}"/>
                </a:ext>
              </a:extLst>
            </p:cNvPr>
            <p:cNvSpPr/>
            <p:nvPr/>
          </p:nvSpPr>
          <p:spPr>
            <a:xfrm>
              <a:off x="2021192" y="2184325"/>
              <a:ext cx="242855" cy="331326"/>
            </a:xfrm>
            <a:custGeom>
              <a:avLst/>
              <a:gdLst/>
              <a:ahLst/>
              <a:cxnLst>
                <a:cxn ang="0">
                  <a:pos x="wd2" y="hd2"/>
                </a:cxn>
                <a:cxn ang="5400000">
                  <a:pos x="wd2" y="hd2"/>
                </a:cxn>
                <a:cxn ang="10800000">
                  <a:pos x="wd2" y="hd2"/>
                </a:cxn>
                <a:cxn ang="16200000">
                  <a:pos x="wd2" y="hd2"/>
                </a:cxn>
              </a:cxnLst>
              <a:rect l="0" t="0" r="r" b="b"/>
              <a:pathLst>
                <a:path w="21579" h="21600" extrusionOk="0">
                  <a:moveTo>
                    <a:pt x="7820" y="0"/>
                  </a:moveTo>
                  <a:cubicBezTo>
                    <a:pt x="8264" y="62"/>
                    <a:pt x="8729" y="124"/>
                    <a:pt x="9299" y="155"/>
                  </a:cubicBezTo>
                  <a:cubicBezTo>
                    <a:pt x="11815" y="263"/>
                    <a:pt x="18176" y="1210"/>
                    <a:pt x="21579" y="1737"/>
                  </a:cubicBezTo>
                  <a:cubicBezTo>
                    <a:pt x="21600" y="3985"/>
                    <a:pt x="21093" y="6931"/>
                    <a:pt x="19656" y="10808"/>
                  </a:cubicBezTo>
                  <a:cubicBezTo>
                    <a:pt x="17901" y="15553"/>
                    <a:pt x="16612" y="19042"/>
                    <a:pt x="15555" y="21600"/>
                  </a:cubicBezTo>
                  <a:cubicBezTo>
                    <a:pt x="11540" y="20980"/>
                    <a:pt x="4882" y="20018"/>
                    <a:pt x="2050" y="20018"/>
                  </a:cubicBezTo>
                  <a:cubicBezTo>
                    <a:pt x="1332" y="20018"/>
                    <a:pt x="676" y="20049"/>
                    <a:pt x="0" y="20065"/>
                  </a:cubicBezTo>
                  <a:cubicBezTo>
                    <a:pt x="1585" y="17646"/>
                    <a:pt x="6193" y="10405"/>
                    <a:pt x="6784" y="7908"/>
                  </a:cubicBezTo>
                  <a:cubicBezTo>
                    <a:pt x="7313" y="5598"/>
                    <a:pt x="7672" y="1721"/>
                    <a:pt x="7820" y="0"/>
                  </a:cubicBezTo>
                  <a:close/>
                </a:path>
              </a:pathLst>
            </a:custGeom>
            <a:solidFill>
              <a:srgbClr val="263E50"/>
            </a:solidFill>
            <a:ln w="12700">
              <a:miter lim="400000"/>
            </a:ln>
          </p:spPr>
          <p:txBody>
            <a:bodyPr lIns="38100" tIns="38100" rIns="38100" bIns="38100" anchor="ctr"/>
            <a:lstStyle/>
            <a:p>
              <a:pPr>
                <a:defRPr sz="3000"/>
              </a:pPr>
              <a:endParaRPr/>
            </a:p>
          </p:txBody>
        </p:sp>
        <p:sp>
          <p:nvSpPr>
            <p:cNvPr id="56" name="Shape">
              <a:extLst>
                <a:ext uri="{FF2B5EF4-FFF2-40B4-BE49-F238E27FC236}">
                  <a16:creationId xmlns:a16="http://schemas.microsoft.com/office/drawing/2014/main" id="{9A5E5CBB-5B9F-D490-8630-AC22BF40027B}"/>
                </a:ext>
              </a:extLst>
            </p:cNvPr>
            <p:cNvSpPr/>
            <p:nvPr/>
          </p:nvSpPr>
          <p:spPr>
            <a:xfrm>
              <a:off x="1878484" y="2160540"/>
              <a:ext cx="213374" cy="338956"/>
            </a:xfrm>
            <a:custGeom>
              <a:avLst/>
              <a:gdLst/>
              <a:ahLst/>
              <a:cxnLst>
                <a:cxn ang="0">
                  <a:pos x="wd2" y="hd2"/>
                </a:cxn>
                <a:cxn ang="5400000">
                  <a:pos x="wd2" y="hd2"/>
                </a:cxn>
                <a:cxn ang="10800000">
                  <a:pos x="wd2" y="hd2"/>
                </a:cxn>
                <a:cxn ang="16200000">
                  <a:pos x="wd2" y="hd2"/>
                </a:cxn>
              </a:cxnLst>
              <a:rect l="0" t="0" r="r" b="b"/>
              <a:pathLst>
                <a:path w="21085" h="20883" extrusionOk="0">
                  <a:moveTo>
                    <a:pt x="449" y="14562"/>
                  </a:moveTo>
                  <a:cubicBezTo>
                    <a:pt x="1177" y="11353"/>
                    <a:pt x="3152" y="3118"/>
                    <a:pt x="3152" y="3118"/>
                  </a:cubicBezTo>
                  <a:cubicBezTo>
                    <a:pt x="3152" y="3118"/>
                    <a:pt x="3880" y="-546"/>
                    <a:pt x="10978" y="70"/>
                  </a:cubicBezTo>
                  <a:cubicBezTo>
                    <a:pt x="16948" y="582"/>
                    <a:pt x="18429" y="1418"/>
                    <a:pt x="21085" y="1755"/>
                  </a:cubicBezTo>
                  <a:cubicBezTo>
                    <a:pt x="20920" y="3381"/>
                    <a:pt x="20521" y="7045"/>
                    <a:pt x="19910" y="9228"/>
                  </a:cubicBezTo>
                  <a:cubicBezTo>
                    <a:pt x="19252" y="11588"/>
                    <a:pt x="14104" y="18431"/>
                    <a:pt x="12365" y="20717"/>
                  </a:cubicBezTo>
                  <a:cubicBezTo>
                    <a:pt x="8769" y="20819"/>
                    <a:pt x="5737" y="21054"/>
                    <a:pt x="2893" y="20673"/>
                  </a:cubicBezTo>
                  <a:cubicBezTo>
                    <a:pt x="-515" y="20204"/>
                    <a:pt x="-280" y="17772"/>
                    <a:pt x="449" y="14562"/>
                  </a:cubicBezTo>
                  <a:close/>
                </a:path>
              </a:pathLst>
            </a:custGeom>
            <a:solidFill>
              <a:srgbClr val="3D70B3"/>
            </a:solidFill>
            <a:ln w="12700">
              <a:miter lim="400000"/>
            </a:ln>
          </p:spPr>
          <p:txBody>
            <a:bodyPr lIns="38100" tIns="38100" rIns="38100" bIns="38100" anchor="ctr"/>
            <a:lstStyle/>
            <a:p>
              <a:pPr>
                <a:defRPr sz="3000"/>
              </a:pPr>
              <a:endParaRPr/>
            </a:p>
          </p:txBody>
        </p:sp>
        <p:sp>
          <p:nvSpPr>
            <p:cNvPr id="57" name="Shape">
              <a:extLst>
                <a:ext uri="{FF2B5EF4-FFF2-40B4-BE49-F238E27FC236}">
                  <a16:creationId xmlns:a16="http://schemas.microsoft.com/office/drawing/2014/main" id="{7EE9083C-5734-87BE-1FD7-BD9D89032971}"/>
                </a:ext>
              </a:extLst>
            </p:cNvPr>
            <p:cNvSpPr/>
            <p:nvPr/>
          </p:nvSpPr>
          <p:spPr>
            <a:xfrm>
              <a:off x="4019135" y="2041615"/>
              <a:ext cx="112996" cy="129252"/>
            </a:xfrm>
            <a:custGeom>
              <a:avLst/>
              <a:gdLst/>
              <a:ahLst/>
              <a:cxnLst>
                <a:cxn ang="0">
                  <a:pos x="wd2" y="hd2"/>
                </a:cxn>
                <a:cxn ang="5400000">
                  <a:pos x="wd2" y="hd2"/>
                </a:cxn>
                <a:cxn ang="10800000">
                  <a:pos x="wd2" y="hd2"/>
                </a:cxn>
                <a:cxn ang="16200000">
                  <a:pos x="wd2" y="hd2"/>
                </a:cxn>
              </a:cxnLst>
              <a:rect l="0" t="0" r="r" b="b"/>
              <a:pathLst>
                <a:path w="20041" h="21419" extrusionOk="0">
                  <a:moveTo>
                    <a:pt x="19528" y="2300"/>
                  </a:moveTo>
                  <a:cubicBezTo>
                    <a:pt x="18642" y="5532"/>
                    <a:pt x="17714" y="11483"/>
                    <a:pt x="19950" y="18303"/>
                  </a:cubicBezTo>
                  <a:cubicBezTo>
                    <a:pt x="20330" y="19525"/>
                    <a:pt x="19486" y="20746"/>
                    <a:pt x="18136" y="20825"/>
                  </a:cubicBezTo>
                  <a:lnTo>
                    <a:pt x="4130" y="21417"/>
                  </a:lnTo>
                  <a:cubicBezTo>
                    <a:pt x="3202" y="21456"/>
                    <a:pt x="2400" y="20944"/>
                    <a:pt x="2063" y="20116"/>
                  </a:cubicBezTo>
                  <a:cubicBezTo>
                    <a:pt x="924" y="17160"/>
                    <a:pt x="-1270" y="9829"/>
                    <a:pt x="966" y="2300"/>
                  </a:cubicBezTo>
                  <a:cubicBezTo>
                    <a:pt x="1177" y="1512"/>
                    <a:pt x="1978" y="960"/>
                    <a:pt x="2822" y="921"/>
                  </a:cubicBezTo>
                  <a:lnTo>
                    <a:pt x="17335" y="14"/>
                  </a:lnTo>
                  <a:cubicBezTo>
                    <a:pt x="18769" y="-144"/>
                    <a:pt x="19866" y="1039"/>
                    <a:pt x="19528" y="2300"/>
                  </a:cubicBezTo>
                  <a:close/>
                </a:path>
              </a:pathLst>
            </a:custGeom>
            <a:solidFill>
              <a:srgbClr val="2D62A2"/>
            </a:solidFill>
            <a:ln w="12700">
              <a:miter lim="400000"/>
            </a:ln>
          </p:spPr>
          <p:txBody>
            <a:bodyPr lIns="38100" tIns="38100" rIns="38100" bIns="38100" anchor="ctr"/>
            <a:lstStyle/>
            <a:p>
              <a:pPr>
                <a:defRPr sz="3000"/>
              </a:pPr>
              <a:endParaRPr/>
            </a:p>
          </p:txBody>
        </p:sp>
        <p:sp>
          <p:nvSpPr>
            <p:cNvPr id="58" name="Shape">
              <a:extLst>
                <a:ext uri="{FF2B5EF4-FFF2-40B4-BE49-F238E27FC236}">
                  <a16:creationId xmlns:a16="http://schemas.microsoft.com/office/drawing/2014/main" id="{7FDDC945-4AE2-4661-4236-11C2D7083E18}"/>
                </a:ext>
              </a:extLst>
            </p:cNvPr>
            <p:cNvSpPr/>
            <p:nvPr/>
          </p:nvSpPr>
          <p:spPr>
            <a:xfrm>
              <a:off x="3757500" y="2065400"/>
              <a:ext cx="112996" cy="129252"/>
            </a:xfrm>
            <a:custGeom>
              <a:avLst/>
              <a:gdLst/>
              <a:ahLst/>
              <a:cxnLst>
                <a:cxn ang="0">
                  <a:pos x="wd2" y="hd2"/>
                </a:cxn>
                <a:cxn ang="5400000">
                  <a:pos x="wd2" y="hd2"/>
                </a:cxn>
                <a:cxn ang="10800000">
                  <a:pos x="wd2" y="hd2"/>
                </a:cxn>
                <a:cxn ang="16200000">
                  <a:pos x="wd2" y="hd2"/>
                </a:cxn>
              </a:cxnLst>
              <a:rect l="0" t="0" r="r" b="b"/>
              <a:pathLst>
                <a:path w="20041" h="21419" extrusionOk="0">
                  <a:moveTo>
                    <a:pt x="19528" y="2300"/>
                  </a:moveTo>
                  <a:cubicBezTo>
                    <a:pt x="18642" y="5532"/>
                    <a:pt x="17714" y="11483"/>
                    <a:pt x="19950" y="18303"/>
                  </a:cubicBezTo>
                  <a:cubicBezTo>
                    <a:pt x="20330" y="19525"/>
                    <a:pt x="19486" y="20746"/>
                    <a:pt x="18136" y="20825"/>
                  </a:cubicBezTo>
                  <a:lnTo>
                    <a:pt x="4130" y="21417"/>
                  </a:lnTo>
                  <a:cubicBezTo>
                    <a:pt x="3202" y="21456"/>
                    <a:pt x="2400" y="20944"/>
                    <a:pt x="2063" y="20116"/>
                  </a:cubicBezTo>
                  <a:cubicBezTo>
                    <a:pt x="924" y="17160"/>
                    <a:pt x="-1270" y="9829"/>
                    <a:pt x="966" y="2300"/>
                  </a:cubicBezTo>
                  <a:cubicBezTo>
                    <a:pt x="1177" y="1512"/>
                    <a:pt x="1978" y="960"/>
                    <a:pt x="2822" y="921"/>
                  </a:cubicBezTo>
                  <a:lnTo>
                    <a:pt x="17335" y="14"/>
                  </a:lnTo>
                  <a:cubicBezTo>
                    <a:pt x="18769" y="-144"/>
                    <a:pt x="19866" y="1039"/>
                    <a:pt x="19528" y="2300"/>
                  </a:cubicBezTo>
                  <a:close/>
                </a:path>
              </a:pathLst>
            </a:custGeom>
            <a:solidFill>
              <a:srgbClr val="2D62A2"/>
            </a:solidFill>
            <a:ln w="12700">
              <a:miter lim="400000"/>
            </a:ln>
          </p:spPr>
          <p:txBody>
            <a:bodyPr lIns="38100" tIns="38100" rIns="38100" bIns="38100" anchor="ctr"/>
            <a:lstStyle/>
            <a:p>
              <a:pPr>
                <a:defRPr sz="3000"/>
              </a:pPr>
              <a:endParaRPr/>
            </a:p>
          </p:txBody>
        </p:sp>
        <p:sp>
          <p:nvSpPr>
            <p:cNvPr id="59" name="Freeform: Shape 526">
              <a:extLst>
                <a:ext uri="{FF2B5EF4-FFF2-40B4-BE49-F238E27FC236}">
                  <a16:creationId xmlns:a16="http://schemas.microsoft.com/office/drawing/2014/main" id="{EC4C8851-3660-7579-2ABB-08D2EFD194FB}"/>
                </a:ext>
              </a:extLst>
            </p:cNvPr>
            <p:cNvSpPr/>
            <p:nvPr/>
          </p:nvSpPr>
          <p:spPr>
            <a:xfrm>
              <a:off x="3905810" y="2260570"/>
              <a:ext cx="267376" cy="779458"/>
            </a:xfrm>
            <a:custGeom>
              <a:avLst/>
              <a:gdLst>
                <a:gd name="connsiteX0" fmla="*/ 267376 w 267376"/>
                <a:gd name="connsiteY0" fmla="*/ 0 h 779458"/>
                <a:gd name="connsiteX1" fmla="*/ 125108 w 267376"/>
                <a:gd name="connsiteY1" fmla="*/ 768274 h 779458"/>
                <a:gd name="connsiteX2" fmla="*/ 112021 w 267376"/>
                <a:gd name="connsiteY2" fmla="*/ 779458 h 779458"/>
                <a:gd name="connsiteX3" fmla="*/ 111788 w 267376"/>
                <a:gd name="connsiteY3" fmla="*/ 779458 h 779458"/>
                <a:gd name="connsiteX4" fmla="*/ 98935 w 267376"/>
                <a:gd name="connsiteY4" fmla="*/ 767779 h 779458"/>
                <a:gd name="connsiteX5" fmla="*/ 0 w 267376"/>
                <a:gd name="connsiteY5" fmla="*/ 23539 h 779458"/>
                <a:gd name="connsiteX6" fmla="*/ 26526 w 267376"/>
                <a:gd name="connsiteY6" fmla="*/ 21204 h 779458"/>
                <a:gd name="connsiteX7" fmla="*/ 114169 w 267376"/>
                <a:gd name="connsiteY7" fmla="*/ 681227 h 779458"/>
                <a:gd name="connsiteX8" fmla="*/ 239885 w 267376"/>
                <a:gd name="connsiteY8" fmla="*/ 2420 h 77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7376" h="779458">
                  <a:moveTo>
                    <a:pt x="267376" y="0"/>
                  </a:moveTo>
                  <a:lnTo>
                    <a:pt x="125108" y="768274"/>
                  </a:lnTo>
                  <a:cubicBezTo>
                    <a:pt x="123909" y="774707"/>
                    <a:pt x="118448" y="779458"/>
                    <a:pt x="112021" y="779458"/>
                  </a:cubicBezTo>
                  <a:cubicBezTo>
                    <a:pt x="112021" y="779458"/>
                    <a:pt x="111788" y="779458"/>
                    <a:pt x="111788" y="779458"/>
                  </a:cubicBezTo>
                  <a:cubicBezTo>
                    <a:pt x="105128" y="779211"/>
                    <a:pt x="99900" y="774460"/>
                    <a:pt x="98935" y="767779"/>
                  </a:cubicBezTo>
                  <a:lnTo>
                    <a:pt x="0" y="23539"/>
                  </a:lnTo>
                  <a:lnTo>
                    <a:pt x="26526" y="21204"/>
                  </a:lnTo>
                  <a:lnTo>
                    <a:pt x="114169" y="681227"/>
                  </a:lnTo>
                  <a:lnTo>
                    <a:pt x="239885" y="2420"/>
                  </a:lnTo>
                  <a:close/>
                </a:path>
              </a:pathLst>
            </a:custGeom>
            <a:solidFill>
              <a:srgbClr val="939496"/>
            </a:solidFill>
            <a:ln w="12700">
              <a:miter lim="400000"/>
            </a:ln>
          </p:spPr>
          <p:txBody>
            <a:bodyPr wrap="square" lIns="38100" tIns="38100" rIns="38100" bIns="38100" anchor="ctr">
              <a:noAutofit/>
            </a:bodyPr>
            <a:lstStyle/>
            <a:p>
              <a:pPr>
                <a:defRPr sz="3000"/>
              </a:pPr>
              <a:endParaRPr/>
            </a:p>
          </p:txBody>
        </p:sp>
        <p:sp>
          <p:nvSpPr>
            <p:cNvPr id="60" name="Shape">
              <a:extLst>
                <a:ext uri="{FF2B5EF4-FFF2-40B4-BE49-F238E27FC236}">
                  <a16:creationId xmlns:a16="http://schemas.microsoft.com/office/drawing/2014/main" id="{A7721BF1-072A-48AC-B4BF-F92EDDAAF747}"/>
                </a:ext>
              </a:extLst>
            </p:cNvPr>
            <p:cNvSpPr/>
            <p:nvPr/>
          </p:nvSpPr>
          <p:spPr>
            <a:xfrm>
              <a:off x="3937559" y="3018504"/>
              <a:ext cx="158049" cy="397841"/>
            </a:xfrm>
            <a:custGeom>
              <a:avLst/>
              <a:gdLst/>
              <a:ahLst/>
              <a:cxnLst>
                <a:cxn ang="0">
                  <a:pos x="wd2" y="hd2"/>
                </a:cxn>
                <a:cxn ang="5400000">
                  <a:pos x="wd2" y="hd2"/>
                </a:cxn>
                <a:cxn ang="10800000">
                  <a:pos x="wd2" y="hd2"/>
                </a:cxn>
                <a:cxn ang="16200000">
                  <a:pos x="wd2" y="hd2"/>
                </a:cxn>
              </a:cxnLst>
              <a:rect l="0" t="0" r="r" b="b"/>
              <a:pathLst>
                <a:path w="20801" h="21441" extrusionOk="0">
                  <a:moveTo>
                    <a:pt x="12617" y="90"/>
                  </a:moveTo>
                  <a:lnTo>
                    <a:pt x="11898" y="4090"/>
                  </a:lnTo>
                  <a:cubicBezTo>
                    <a:pt x="11616" y="5436"/>
                    <a:pt x="11522" y="6705"/>
                    <a:pt x="11084" y="8179"/>
                  </a:cubicBezTo>
                  <a:cubicBezTo>
                    <a:pt x="10583" y="9602"/>
                    <a:pt x="9581" y="10986"/>
                    <a:pt x="8172" y="12281"/>
                  </a:cubicBezTo>
                  <a:lnTo>
                    <a:pt x="3977" y="15921"/>
                  </a:lnTo>
                  <a:cubicBezTo>
                    <a:pt x="2725" y="16921"/>
                    <a:pt x="2913" y="18164"/>
                    <a:pt x="4416" y="19139"/>
                  </a:cubicBezTo>
                  <a:cubicBezTo>
                    <a:pt x="5918" y="20113"/>
                    <a:pt x="8767" y="20754"/>
                    <a:pt x="11772" y="20703"/>
                  </a:cubicBezTo>
                  <a:cubicBezTo>
                    <a:pt x="14746" y="20677"/>
                    <a:pt x="17689" y="19946"/>
                    <a:pt x="19191" y="18818"/>
                  </a:cubicBezTo>
                  <a:cubicBezTo>
                    <a:pt x="20851" y="17690"/>
                    <a:pt x="20193" y="16267"/>
                    <a:pt x="20412" y="14947"/>
                  </a:cubicBezTo>
                  <a:lnTo>
                    <a:pt x="20757" y="16947"/>
                  </a:lnTo>
                  <a:cubicBezTo>
                    <a:pt x="20913" y="17626"/>
                    <a:pt x="20663" y="18331"/>
                    <a:pt x="19974" y="18972"/>
                  </a:cubicBezTo>
                  <a:cubicBezTo>
                    <a:pt x="18628" y="20267"/>
                    <a:pt x="15497" y="21241"/>
                    <a:pt x="11929" y="21408"/>
                  </a:cubicBezTo>
                  <a:cubicBezTo>
                    <a:pt x="8391" y="21600"/>
                    <a:pt x="4572" y="20959"/>
                    <a:pt x="2287" y="19754"/>
                  </a:cubicBezTo>
                  <a:cubicBezTo>
                    <a:pt x="2" y="18562"/>
                    <a:pt x="-687" y="16806"/>
                    <a:pt x="753" y="15357"/>
                  </a:cubicBezTo>
                  <a:lnTo>
                    <a:pt x="4103" y="11601"/>
                  </a:lnTo>
                  <a:cubicBezTo>
                    <a:pt x="5104" y="10409"/>
                    <a:pt x="5699" y="9178"/>
                    <a:pt x="5856" y="7948"/>
                  </a:cubicBezTo>
                  <a:cubicBezTo>
                    <a:pt x="5981" y="6756"/>
                    <a:pt x="5793" y="5346"/>
                    <a:pt x="5793" y="4025"/>
                  </a:cubicBezTo>
                  <a:lnTo>
                    <a:pt x="5637" y="0"/>
                  </a:lnTo>
                  <a:lnTo>
                    <a:pt x="12617" y="90"/>
                  </a:lnTo>
                  <a:close/>
                </a:path>
              </a:pathLst>
            </a:custGeom>
            <a:solidFill>
              <a:schemeClr val="tx1">
                <a:lumMod val="65000"/>
                <a:lumOff val="35000"/>
              </a:schemeClr>
            </a:solidFill>
            <a:ln w="12700">
              <a:miter lim="400000"/>
            </a:ln>
          </p:spPr>
          <p:txBody>
            <a:bodyPr lIns="38100" tIns="38100" rIns="38100" bIns="38100" anchor="ctr"/>
            <a:lstStyle/>
            <a:p>
              <a:pPr>
                <a:defRPr sz="3000"/>
              </a:pPr>
              <a:endParaRPr/>
            </a:p>
          </p:txBody>
        </p:sp>
        <p:sp>
          <p:nvSpPr>
            <p:cNvPr id="61" name="Shape">
              <a:extLst>
                <a:ext uri="{FF2B5EF4-FFF2-40B4-BE49-F238E27FC236}">
                  <a16:creationId xmlns:a16="http://schemas.microsoft.com/office/drawing/2014/main" id="{8E23D942-BA19-7E54-CA86-E7CE7F03F62F}"/>
                </a:ext>
              </a:extLst>
            </p:cNvPr>
            <p:cNvSpPr/>
            <p:nvPr/>
          </p:nvSpPr>
          <p:spPr>
            <a:xfrm>
              <a:off x="3889991" y="2994719"/>
              <a:ext cx="247602" cy="195037"/>
            </a:xfrm>
            <a:custGeom>
              <a:avLst/>
              <a:gdLst/>
              <a:ahLst/>
              <a:cxnLst>
                <a:cxn ang="0">
                  <a:pos x="wd2" y="hd2"/>
                </a:cxn>
                <a:cxn ang="5400000">
                  <a:pos x="wd2" y="hd2"/>
                </a:cxn>
                <a:cxn ang="10800000">
                  <a:pos x="wd2" y="hd2"/>
                </a:cxn>
                <a:cxn ang="16200000">
                  <a:pos x="wd2" y="hd2"/>
                </a:cxn>
              </a:cxnLst>
              <a:rect l="0" t="0" r="r" b="b"/>
              <a:pathLst>
                <a:path w="21600" h="21600" extrusionOk="0">
                  <a:moveTo>
                    <a:pt x="0" y="6585"/>
                  </a:moveTo>
                  <a:cubicBezTo>
                    <a:pt x="0" y="2977"/>
                    <a:pt x="2324" y="0"/>
                    <a:pt x="5187" y="0"/>
                  </a:cubicBezTo>
                  <a:lnTo>
                    <a:pt x="16413" y="0"/>
                  </a:lnTo>
                  <a:cubicBezTo>
                    <a:pt x="19255" y="0"/>
                    <a:pt x="21600" y="2950"/>
                    <a:pt x="21600" y="6585"/>
                  </a:cubicBezTo>
                  <a:cubicBezTo>
                    <a:pt x="21600" y="8192"/>
                    <a:pt x="21123" y="9667"/>
                    <a:pt x="20355" y="10800"/>
                  </a:cubicBezTo>
                  <a:cubicBezTo>
                    <a:pt x="21123" y="11959"/>
                    <a:pt x="21600" y="13408"/>
                    <a:pt x="21600" y="15015"/>
                  </a:cubicBezTo>
                  <a:cubicBezTo>
                    <a:pt x="21600" y="18623"/>
                    <a:pt x="19276" y="21600"/>
                    <a:pt x="16413" y="21600"/>
                  </a:cubicBezTo>
                  <a:lnTo>
                    <a:pt x="5187" y="21600"/>
                  </a:lnTo>
                  <a:cubicBezTo>
                    <a:pt x="2345" y="21600"/>
                    <a:pt x="0" y="18650"/>
                    <a:pt x="0" y="15015"/>
                  </a:cubicBezTo>
                  <a:cubicBezTo>
                    <a:pt x="0" y="13408"/>
                    <a:pt x="477" y="11933"/>
                    <a:pt x="1245" y="10800"/>
                  </a:cubicBezTo>
                  <a:cubicBezTo>
                    <a:pt x="477" y="9667"/>
                    <a:pt x="0" y="8192"/>
                    <a:pt x="0" y="6585"/>
                  </a:cubicBezTo>
                  <a:close/>
                </a:path>
              </a:pathLst>
            </a:custGeom>
            <a:solidFill>
              <a:srgbClr val="22528D"/>
            </a:solidFill>
            <a:ln w="12700">
              <a:miter lim="400000"/>
            </a:ln>
          </p:spPr>
          <p:txBody>
            <a:bodyPr lIns="38100" tIns="38100" rIns="38100" bIns="38100" anchor="ctr"/>
            <a:lstStyle/>
            <a:p>
              <a:pPr>
                <a:defRPr sz="3000"/>
              </a:pPr>
              <a:endParaRPr/>
            </a:p>
          </p:txBody>
        </p:sp>
        <p:sp>
          <p:nvSpPr>
            <p:cNvPr id="62" name="Shape">
              <a:extLst>
                <a:ext uri="{FF2B5EF4-FFF2-40B4-BE49-F238E27FC236}">
                  <a16:creationId xmlns:a16="http://schemas.microsoft.com/office/drawing/2014/main" id="{DA2C0204-5BC9-4BDF-E34E-C3E7A4650C74}"/>
                </a:ext>
              </a:extLst>
            </p:cNvPr>
            <p:cNvSpPr/>
            <p:nvPr/>
          </p:nvSpPr>
          <p:spPr>
            <a:xfrm>
              <a:off x="3842421" y="3018502"/>
              <a:ext cx="322051" cy="118927"/>
            </a:xfrm>
            <a:custGeom>
              <a:avLst/>
              <a:gdLst/>
              <a:ahLst/>
              <a:cxnLst>
                <a:cxn ang="0">
                  <a:pos x="wd2" y="hd2"/>
                </a:cxn>
                <a:cxn ang="5400000">
                  <a:pos x="wd2" y="hd2"/>
                </a:cxn>
                <a:cxn ang="10800000">
                  <a:pos x="wd2" y="hd2"/>
                </a:cxn>
                <a:cxn ang="16200000">
                  <a:pos x="wd2" y="hd2"/>
                </a:cxn>
              </a:cxnLst>
              <a:rect l="0" t="0" r="r" b="b"/>
              <a:pathLst>
                <a:path w="21600" h="21600" extrusionOk="0">
                  <a:moveTo>
                    <a:pt x="1962" y="21600"/>
                  </a:moveTo>
                  <a:lnTo>
                    <a:pt x="19638" y="21600"/>
                  </a:lnTo>
                  <a:cubicBezTo>
                    <a:pt x="20723" y="21600"/>
                    <a:pt x="21600" y="19224"/>
                    <a:pt x="21600" y="16286"/>
                  </a:cubicBezTo>
                  <a:lnTo>
                    <a:pt x="21600" y="5314"/>
                  </a:lnTo>
                  <a:cubicBezTo>
                    <a:pt x="21600" y="2376"/>
                    <a:pt x="20723" y="0"/>
                    <a:pt x="19638" y="0"/>
                  </a:cubicBezTo>
                  <a:lnTo>
                    <a:pt x="1962" y="0"/>
                  </a:lnTo>
                  <a:cubicBezTo>
                    <a:pt x="877" y="0"/>
                    <a:pt x="0" y="2376"/>
                    <a:pt x="0" y="5314"/>
                  </a:cubicBezTo>
                  <a:lnTo>
                    <a:pt x="0" y="16286"/>
                  </a:lnTo>
                  <a:cubicBezTo>
                    <a:pt x="0" y="19181"/>
                    <a:pt x="877" y="21600"/>
                    <a:pt x="1962" y="21600"/>
                  </a:cubicBezTo>
                  <a:close/>
                </a:path>
              </a:pathLst>
            </a:custGeom>
            <a:solidFill>
              <a:srgbClr val="263E50"/>
            </a:solidFill>
            <a:ln w="12700">
              <a:miter lim="400000"/>
            </a:ln>
          </p:spPr>
          <p:txBody>
            <a:bodyPr lIns="38100" tIns="38100" rIns="38100" bIns="38100" anchor="ctr"/>
            <a:lstStyle/>
            <a:p>
              <a:pPr>
                <a:defRPr sz="3000"/>
              </a:pPr>
              <a:endParaRPr/>
            </a:p>
          </p:txBody>
        </p:sp>
      </p:grpSp>
      <p:sp>
        <p:nvSpPr>
          <p:cNvPr id="63" name="Rectangle 62">
            <a:extLst>
              <a:ext uri="{FF2B5EF4-FFF2-40B4-BE49-F238E27FC236}">
                <a16:creationId xmlns:a16="http://schemas.microsoft.com/office/drawing/2014/main" id="{66183DD3-74FF-8313-E8D3-488F3654D1DF}"/>
              </a:ext>
            </a:extLst>
          </p:cNvPr>
          <p:cNvSpPr/>
          <p:nvPr/>
        </p:nvSpPr>
        <p:spPr>
          <a:xfrm>
            <a:off x="3197038" y="3936174"/>
            <a:ext cx="1500732" cy="1603000"/>
          </a:xfrm>
          <a:prstGeom prst="rect">
            <a:avLst/>
          </a:prstGeom>
          <a:no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4" name="TextBox 63">
            <a:extLst>
              <a:ext uri="{FF2B5EF4-FFF2-40B4-BE49-F238E27FC236}">
                <a16:creationId xmlns:a16="http://schemas.microsoft.com/office/drawing/2014/main" id="{26697478-8E87-DA79-C4FA-9802CA49453C}"/>
              </a:ext>
            </a:extLst>
          </p:cNvPr>
          <p:cNvSpPr txBox="1"/>
          <p:nvPr/>
        </p:nvSpPr>
        <p:spPr>
          <a:xfrm>
            <a:off x="2984350" y="3870198"/>
            <a:ext cx="1946367" cy="461665"/>
          </a:xfrm>
          <a:prstGeom prst="rect">
            <a:avLst/>
          </a:prstGeom>
          <a:solidFill>
            <a:srgbClr val="00A891"/>
          </a:solidFill>
        </p:spPr>
        <p:txBody>
          <a:bodyPr wrap="non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all" spc="0" normalizeH="0" baseline="0" noProof="0" dirty="0">
                <a:ln>
                  <a:noFill/>
                </a:ln>
                <a:solidFill>
                  <a:prstClr val="white"/>
                </a:solidFill>
                <a:effectLst/>
                <a:uLnTx/>
                <a:uFillTx/>
              </a:rPr>
              <a:t>Language</a:t>
            </a:r>
          </a:p>
        </p:txBody>
      </p:sp>
      <p:sp>
        <p:nvSpPr>
          <p:cNvPr id="65" name="TextBox 64">
            <a:extLst>
              <a:ext uri="{FF2B5EF4-FFF2-40B4-BE49-F238E27FC236}">
                <a16:creationId xmlns:a16="http://schemas.microsoft.com/office/drawing/2014/main" id="{16AB855A-6C3D-8996-74DD-5359FECFF502}"/>
              </a:ext>
            </a:extLst>
          </p:cNvPr>
          <p:cNvSpPr txBox="1"/>
          <p:nvPr/>
        </p:nvSpPr>
        <p:spPr>
          <a:xfrm>
            <a:off x="2933052" y="4469241"/>
            <a:ext cx="2048959" cy="461665"/>
          </a:xfrm>
          <a:prstGeom prst="rect">
            <a:avLst/>
          </a:prstGeom>
          <a:solidFill>
            <a:srgbClr val="D9126B"/>
          </a:solidFill>
        </p:spPr>
        <p:txBody>
          <a:bodyPr wrap="none" rtlCol="0" anchor="ctr">
            <a:spAutoFit/>
          </a:bodyPr>
          <a:lstStyle>
            <a:defPPr>
              <a:defRPr lang="en-US"/>
            </a:defPPr>
            <a:lvl1pPr algn="ctr">
              <a:defRPr sz="2400" b="1" cap="all">
                <a:solidFill>
                  <a:schemeClr val="bg1"/>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all" spc="0" normalizeH="0" baseline="0" noProof="0" dirty="0">
                <a:ln>
                  <a:noFill/>
                </a:ln>
                <a:solidFill>
                  <a:prstClr val="white"/>
                </a:solidFill>
                <a:effectLst/>
                <a:uLnTx/>
                <a:uFillTx/>
              </a:rPr>
              <a:t>Reasoning</a:t>
            </a:r>
          </a:p>
        </p:txBody>
      </p:sp>
      <p:sp>
        <p:nvSpPr>
          <p:cNvPr id="66" name="TextBox 65">
            <a:extLst>
              <a:ext uri="{FF2B5EF4-FFF2-40B4-BE49-F238E27FC236}">
                <a16:creationId xmlns:a16="http://schemas.microsoft.com/office/drawing/2014/main" id="{2F9B6243-FD03-C6C2-4DA4-5D11242F195E}"/>
              </a:ext>
            </a:extLst>
          </p:cNvPr>
          <p:cNvSpPr txBox="1"/>
          <p:nvPr/>
        </p:nvSpPr>
        <p:spPr>
          <a:xfrm>
            <a:off x="3207166" y="5068284"/>
            <a:ext cx="1500732" cy="461665"/>
          </a:xfrm>
          <a:prstGeom prst="rect">
            <a:avLst/>
          </a:prstGeom>
          <a:solidFill>
            <a:srgbClr val="013D4D">
              <a:lumMod val="75000"/>
              <a:lumOff val="25000"/>
            </a:srgbClr>
          </a:solidFill>
        </p:spPr>
        <p:txBody>
          <a:bodyPr wrap="none" rtlCol="0" anchor="ctr">
            <a:spAutoFit/>
          </a:bodyPr>
          <a:lstStyle>
            <a:defPPr>
              <a:defRPr lang="en-US"/>
            </a:defPPr>
            <a:lvl1pPr algn="ctr">
              <a:defRPr sz="2400" b="1" cap="all">
                <a:solidFill>
                  <a:schemeClr val="bg1"/>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dirty="0">
                <a:solidFill>
                  <a:prstClr val="white"/>
                </a:solidFill>
              </a:rPr>
              <a:t>Models</a:t>
            </a:r>
            <a:endParaRPr kumimoji="0" lang="en-US" sz="2400" b="1" i="0" u="none" strike="noStrike" kern="0" cap="all" spc="0" normalizeH="0" baseline="0" noProof="0" dirty="0">
              <a:ln>
                <a:noFill/>
              </a:ln>
              <a:solidFill>
                <a:prstClr val="white"/>
              </a:solidFill>
              <a:effectLst/>
              <a:uLnTx/>
              <a:uFillTx/>
            </a:endParaRPr>
          </a:p>
        </p:txBody>
      </p:sp>
    </p:spTree>
    <p:extLst>
      <p:ext uri="{BB962C8B-B14F-4D97-AF65-F5344CB8AC3E}">
        <p14:creationId xmlns:p14="http://schemas.microsoft.com/office/powerpoint/2010/main" val="410832051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6AA449-8DD1-CFA7-87E0-89D3BFE65049}"/>
            </a:ext>
          </a:extLst>
        </p:cNvPr>
        <p:cNvGrpSpPr/>
        <p:nvPr/>
      </p:nvGrpSpPr>
      <p:grpSpPr>
        <a:xfrm>
          <a:off x="0" y="0"/>
          <a:ext cx="0" cy="0"/>
          <a:chOff x="0" y="0"/>
          <a:chExt cx="0" cy="0"/>
        </a:xfrm>
      </p:grpSpPr>
      <p:pic>
        <p:nvPicPr>
          <p:cNvPr id="8194" name="Picture 2" descr="No Strings on Me">
            <a:extLst>
              <a:ext uri="{FF2B5EF4-FFF2-40B4-BE49-F238E27FC236}">
                <a16:creationId xmlns:a16="http://schemas.microsoft.com/office/drawing/2014/main" id="{E10C727E-EE07-AB29-A9AD-4A93B9F78FCD}"/>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255263" y="4209544"/>
            <a:ext cx="5412589" cy="2264407"/>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D4758BA4-0EA1-B601-4FB6-680794EAED8A}"/>
              </a:ext>
            </a:extLst>
          </p:cNvPr>
          <p:cNvSpPr>
            <a:spLocks noGrp="1"/>
          </p:cNvSpPr>
          <p:nvPr>
            <p:ph type="title"/>
          </p:nvPr>
        </p:nvSpPr>
        <p:spPr/>
        <p:txBody>
          <a:bodyPr/>
          <a:lstStyle/>
          <a:p>
            <a:r>
              <a:rPr lang="en-US" dirty="0"/>
              <a:t>Metacognitive Awareness : An Interesting Phenomena in Reasoning Models</a:t>
            </a:r>
          </a:p>
        </p:txBody>
      </p:sp>
      <p:sp>
        <p:nvSpPr>
          <p:cNvPr id="4" name="Text Placeholder 3">
            <a:extLst>
              <a:ext uri="{FF2B5EF4-FFF2-40B4-BE49-F238E27FC236}">
                <a16:creationId xmlns:a16="http://schemas.microsoft.com/office/drawing/2014/main" id="{7310D6F9-2DE7-6E20-EF24-C9BF9B067E79}"/>
              </a:ext>
            </a:extLst>
          </p:cNvPr>
          <p:cNvSpPr>
            <a:spLocks noGrp="1"/>
          </p:cNvSpPr>
          <p:nvPr>
            <p:ph type="body" sz="quarter" idx="10"/>
          </p:nvPr>
        </p:nvSpPr>
        <p:spPr>
          <a:xfrm>
            <a:off x="5640003" y="4493846"/>
            <a:ext cx="3153477" cy="520114"/>
          </a:xfrm>
        </p:spPr>
        <p:txBody>
          <a:bodyPr/>
          <a:lstStyle/>
          <a:p>
            <a:pPr marL="0" indent="0">
              <a:buNone/>
            </a:pPr>
            <a:r>
              <a:rPr lang="en-US" dirty="0">
                <a:solidFill>
                  <a:schemeClr val="bg1"/>
                </a:solidFill>
              </a:rPr>
              <a:t>There are no strings on me.</a:t>
            </a:r>
          </a:p>
        </p:txBody>
      </p:sp>
      <p:sp>
        <p:nvSpPr>
          <p:cNvPr id="9" name="Text Placeholder 3">
            <a:extLst>
              <a:ext uri="{FF2B5EF4-FFF2-40B4-BE49-F238E27FC236}">
                <a16:creationId xmlns:a16="http://schemas.microsoft.com/office/drawing/2014/main" id="{2793CB4A-E74A-5F8C-F3DE-BE7C76BE5DC7}"/>
              </a:ext>
            </a:extLst>
          </p:cNvPr>
          <p:cNvSpPr txBox="1">
            <a:spLocks/>
          </p:cNvSpPr>
          <p:nvPr/>
        </p:nvSpPr>
        <p:spPr>
          <a:xfrm>
            <a:off x="384175" y="1231900"/>
            <a:ext cx="11595100" cy="4957763"/>
          </a:xfrm>
          <a:prstGeom prst="rect">
            <a:avLst/>
          </a:prstGeom>
        </p:spPr>
        <p:txBody>
          <a:bodyPr/>
          <a:lstStyle>
            <a:lvl1pPr marL="342895" indent="-342895" algn="l" defTabSz="457192" rtl="0" eaLnBrk="1" latinLnBrk="0" hangingPunct="1">
              <a:spcBef>
                <a:spcPct val="20000"/>
              </a:spcBef>
              <a:buFont typeface="Arial"/>
              <a:buChar char="•"/>
              <a:defRPr sz="2400" b="0" i="0" kern="1200">
                <a:solidFill>
                  <a:schemeClr val="tx1"/>
                </a:solidFill>
                <a:latin typeface="Graphik" panose="020B0503030202060203" pitchFamily="34" charset="77"/>
                <a:ea typeface="+mn-ea"/>
                <a:cs typeface="Arial"/>
              </a:defRPr>
            </a:lvl1pPr>
            <a:lvl2pPr marL="742937" indent="-285745" algn="l" defTabSz="457192" rtl="0" eaLnBrk="1" latinLnBrk="0" hangingPunct="1">
              <a:spcBef>
                <a:spcPct val="20000"/>
              </a:spcBef>
              <a:buFont typeface="Courier New" panose="02070309020205020404" pitchFamily="49" charset="0"/>
              <a:buChar char="o"/>
              <a:defRPr sz="2000" b="0" i="0" kern="1200">
                <a:solidFill>
                  <a:schemeClr val="tx1"/>
                </a:solidFill>
                <a:latin typeface="Graphik" panose="020B0503030202060203" pitchFamily="34" charset="77"/>
                <a:ea typeface="+mn-ea"/>
                <a:cs typeface="Arial"/>
              </a:defRPr>
            </a:lvl2pPr>
            <a:lvl3pPr marL="1142980" indent="-228596" algn="l" defTabSz="457192" rtl="0" eaLnBrk="1" latinLnBrk="0" hangingPunct="1">
              <a:spcBef>
                <a:spcPct val="20000"/>
              </a:spcBef>
              <a:buFont typeface="Arial"/>
              <a:buChar char="•"/>
              <a:defRPr sz="1800" b="0" i="0" kern="1200">
                <a:solidFill>
                  <a:schemeClr val="tx1"/>
                </a:solidFill>
                <a:latin typeface="Graphik" panose="020B0503030202060203" pitchFamily="34" charset="77"/>
                <a:ea typeface="+mn-ea"/>
                <a:cs typeface="Arial"/>
              </a:defRPr>
            </a:lvl3pPr>
            <a:lvl4pPr marL="1600172" indent="-228596" algn="l" defTabSz="457192" rtl="0" eaLnBrk="1" latinLnBrk="0" hangingPunct="1">
              <a:spcBef>
                <a:spcPct val="20000"/>
              </a:spcBef>
              <a:buFont typeface="Arial"/>
              <a:buChar char="–"/>
              <a:defRPr sz="1600" b="0" i="0" kern="1200">
                <a:solidFill>
                  <a:schemeClr val="tx1"/>
                </a:solidFill>
                <a:latin typeface="Graphik" panose="020B0503030202060203" pitchFamily="34" charset="77"/>
                <a:ea typeface="+mn-ea"/>
                <a:cs typeface="Arial"/>
              </a:defRPr>
            </a:lvl4pPr>
            <a:lvl5pPr marL="2057364" indent="-228596" algn="l" defTabSz="457192" rtl="0" eaLnBrk="1" latinLnBrk="0" hangingPunct="1">
              <a:spcBef>
                <a:spcPct val="20000"/>
              </a:spcBef>
              <a:buFont typeface="Wingdings" pitchFamily="2" charset="2"/>
              <a:buChar char="§"/>
              <a:defRPr sz="1400" b="0" i="0" kern="1200">
                <a:solidFill>
                  <a:schemeClr val="tx1"/>
                </a:solidFill>
                <a:latin typeface="Graphik" panose="020B0503030202060203" pitchFamily="34" charset="77"/>
                <a:ea typeface="+mn-ea"/>
                <a:cs typeface="Arial"/>
              </a:defRPr>
            </a:lvl5pPr>
            <a:lvl6pPr marL="2514556"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48"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0"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2"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Metacognitive awareness, specifically meta-learning, will improve. </a:t>
            </a:r>
          </a:p>
          <a:p>
            <a:r>
              <a:rPr lang="en-US" dirty="0"/>
              <a:t>We see Metacognitive awareness in LRMs:</a:t>
            </a:r>
          </a:p>
          <a:p>
            <a:pPr lvl="1"/>
            <a:r>
              <a:rPr lang="en-US" dirty="0"/>
              <a:t> “</a:t>
            </a:r>
            <a:r>
              <a:rPr lang="en-US" i="1" dirty="0"/>
              <a:t>Progress is being made but we need to reconcile these discrepancies”.</a:t>
            </a:r>
          </a:p>
          <a:p>
            <a:r>
              <a:rPr lang="en-US" dirty="0"/>
              <a:t>Metacognition is a holy grain in AI development.</a:t>
            </a:r>
          </a:p>
          <a:p>
            <a:r>
              <a:rPr lang="en-US" dirty="0"/>
              <a:t>It provides an opportunity to improve calibration, explainability, and observability while </a:t>
            </a:r>
            <a:r>
              <a:rPr lang="en-US" i="1" u="sng" dirty="0"/>
              <a:t>recognizing uncertainty.</a:t>
            </a:r>
            <a:r>
              <a:rPr lang="en-US" i="1" dirty="0"/>
              <a:t> </a:t>
            </a:r>
          </a:p>
          <a:p>
            <a:pPr lvl="1"/>
            <a:r>
              <a:rPr lang="en-US" i="1" dirty="0"/>
              <a:t>Uncertainty might indicate a need for Human-in-the-Loop.</a:t>
            </a:r>
            <a:endParaRPr lang="en-US" i="1" u="sng" dirty="0"/>
          </a:p>
        </p:txBody>
      </p:sp>
      <p:sp>
        <p:nvSpPr>
          <p:cNvPr id="10" name="TextBox 9">
            <a:extLst>
              <a:ext uri="{FF2B5EF4-FFF2-40B4-BE49-F238E27FC236}">
                <a16:creationId xmlns:a16="http://schemas.microsoft.com/office/drawing/2014/main" id="{BFCA77AA-58D4-7E0A-16C2-6C757C587E4E}"/>
              </a:ext>
            </a:extLst>
          </p:cNvPr>
          <p:cNvSpPr txBox="1"/>
          <p:nvPr/>
        </p:nvSpPr>
        <p:spPr>
          <a:xfrm>
            <a:off x="0" y="6473952"/>
            <a:ext cx="3412024" cy="369332"/>
          </a:xfrm>
          <a:prstGeom prst="rect">
            <a:avLst/>
          </a:prstGeom>
          <a:noFill/>
        </p:spPr>
        <p:txBody>
          <a:bodyPr wrap="none" rtlCol="0">
            <a:spAutoFit/>
          </a:bodyPr>
          <a:lstStyle/>
          <a:p>
            <a:r>
              <a:rPr lang="en-US" dirty="0"/>
              <a:t>https://</a:t>
            </a:r>
            <a:r>
              <a:rPr lang="en-US" dirty="0" err="1"/>
              <a:t>arxiv.org</a:t>
            </a:r>
            <a:r>
              <a:rPr lang="en-US" dirty="0"/>
              <a:t>/pdf/2207.14502</a:t>
            </a:r>
          </a:p>
        </p:txBody>
      </p:sp>
    </p:spTree>
    <p:extLst>
      <p:ext uri="{BB962C8B-B14F-4D97-AF65-F5344CB8AC3E}">
        <p14:creationId xmlns:p14="http://schemas.microsoft.com/office/powerpoint/2010/main" val="204093087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7C2BB9-901A-A0E8-750B-A0F29DD8152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CCE033C-AEE1-06AA-57E8-B7A24BB4EAA8}"/>
              </a:ext>
            </a:extLst>
          </p:cNvPr>
          <p:cNvSpPr>
            <a:spLocks noGrp="1"/>
          </p:cNvSpPr>
          <p:nvPr>
            <p:ph type="title"/>
          </p:nvPr>
        </p:nvSpPr>
        <p:spPr/>
        <p:txBody>
          <a:bodyPr/>
          <a:lstStyle/>
          <a:p>
            <a:r>
              <a:rPr lang="en-US" dirty="0"/>
              <a:t>The Power of Many: Multi-Agent Systems in AI Reasoning</a:t>
            </a:r>
          </a:p>
        </p:txBody>
      </p:sp>
      <p:sp>
        <p:nvSpPr>
          <p:cNvPr id="2" name="Shape">
            <a:extLst>
              <a:ext uri="{FF2B5EF4-FFF2-40B4-BE49-F238E27FC236}">
                <a16:creationId xmlns:a16="http://schemas.microsoft.com/office/drawing/2014/main" id="{A4EAE2BF-F5A3-B19B-4308-2E1F47FEC7E8}"/>
              </a:ext>
            </a:extLst>
          </p:cNvPr>
          <p:cNvSpPr/>
          <p:nvPr/>
        </p:nvSpPr>
        <p:spPr>
          <a:xfrm>
            <a:off x="0" y="3220208"/>
            <a:ext cx="4818351" cy="1137920"/>
          </a:xfrm>
          <a:custGeom>
            <a:avLst/>
            <a:gdLst/>
            <a:ahLst/>
            <a:cxnLst>
              <a:cxn ang="0">
                <a:pos x="wd2" y="hd2"/>
              </a:cxn>
              <a:cxn ang="5400000">
                <a:pos x="wd2" y="hd2"/>
              </a:cxn>
              <a:cxn ang="10800000">
                <a:pos x="wd2" y="hd2"/>
              </a:cxn>
              <a:cxn ang="16200000">
                <a:pos x="wd2" y="hd2"/>
              </a:cxn>
            </a:cxnLst>
            <a:rect l="0" t="0" r="r" b="b"/>
            <a:pathLst>
              <a:path w="21600" h="21600" extrusionOk="0">
                <a:moveTo>
                  <a:pt x="21441" y="868"/>
                </a:moveTo>
                <a:cubicBezTo>
                  <a:pt x="21275" y="1326"/>
                  <a:pt x="21076" y="1591"/>
                  <a:pt x="20866" y="1591"/>
                </a:cubicBezTo>
                <a:cubicBezTo>
                  <a:pt x="20547" y="1591"/>
                  <a:pt x="20268" y="988"/>
                  <a:pt x="20074" y="72"/>
                </a:cubicBezTo>
                <a:cubicBezTo>
                  <a:pt x="19881" y="1012"/>
                  <a:pt x="19596" y="1591"/>
                  <a:pt x="19283" y="1591"/>
                </a:cubicBezTo>
                <a:cubicBezTo>
                  <a:pt x="18970" y="1591"/>
                  <a:pt x="18685" y="988"/>
                  <a:pt x="18492" y="72"/>
                </a:cubicBezTo>
                <a:cubicBezTo>
                  <a:pt x="18298" y="1012"/>
                  <a:pt x="18013" y="1591"/>
                  <a:pt x="17700" y="1591"/>
                </a:cubicBezTo>
                <a:cubicBezTo>
                  <a:pt x="17387" y="1591"/>
                  <a:pt x="17102" y="988"/>
                  <a:pt x="16909" y="72"/>
                </a:cubicBezTo>
                <a:cubicBezTo>
                  <a:pt x="16715" y="1012"/>
                  <a:pt x="16431" y="1591"/>
                  <a:pt x="16117" y="1591"/>
                </a:cubicBezTo>
                <a:cubicBezTo>
                  <a:pt x="15804" y="1591"/>
                  <a:pt x="15520" y="988"/>
                  <a:pt x="15326" y="72"/>
                </a:cubicBezTo>
                <a:cubicBezTo>
                  <a:pt x="15133" y="1012"/>
                  <a:pt x="14848" y="1591"/>
                  <a:pt x="14535" y="1591"/>
                </a:cubicBezTo>
                <a:cubicBezTo>
                  <a:pt x="14222" y="1591"/>
                  <a:pt x="13937" y="988"/>
                  <a:pt x="13743" y="72"/>
                </a:cubicBezTo>
                <a:cubicBezTo>
                  <a:pt x="13550" y="1012"/>
                  <a:pt x="13265" y="1591"/>
                  <a:pt x="12952" y="1591"/>
                </a:cubicBezTo>
                <a:cubicBezTo>
                  <a:pt x="12639" y="1591"/>
                  <a:pt x="12354" y="988"/>
                  <a:pt x="12161" y="72"/>
                </a:cubicBezTo>
                <a:cubicBezTo>
                  <a:pt x="11967" y="1012"/>
                  <a:pt x="11682" y="1591"/>
                  <a:pt x="11369" y="1591"/>
                </a:cubicBezTo>
                <a:cubicBezTo>
                  <a:pt x="11056" y="1591"/>
                  <a:pt x="10772" y="988"/>
                  <a:pt x="10578" y="72"/>
                </a:cubicBezTo>
                <a:cubicBezTo>
                  <a:pt x="10384" y="1012"/>
                  <a:pt x="10100" y="1591"/>
                  <a:pt x="9787" y="1591"/>
                </a:cubicBezTo>
                <a:cubicBezTo>
                  <a:pt x="9473" y="1591"/>
                  <a:pt x="9189" y="988"/>
                  <a:pt x="8995" y="72"/>
                </a:cubicBezTo>
                <a:cubicBezTo>
                  <a:pt x="8802" y="1012"/>
                  <a:pt x="8517" y="1591"/>
                  <a:pt x="8204" y="1591"/>
                </a:cubicBezTo>
                <a:cubicBezTo>
                  <a:pt x="7891" y="1591"/>
                  <a:pt x="7606" y="988"/>
                  <a:pt x="7413" y="72"/>
                </a:cubicBezTo>
                <a:cubicBezTo>
                  <a:pt x="7219" y="1012"/>
                  <a:pt x="6934" y="1591"/>
                  <a:pt x="6621" y="1591"/>
                </a:cubicBezTo>
                <a:cubicBezTo>
                  <a:pt x="6308" y="1591"/>
                  <a:pt x="6023" y="988"/>
                  <a:pt x="5830" y="72"/>
                </a:cubicBezTo>
                <a:cubicBezTo>
                  <a:pt x="5636" y="1012"/>
                  <a:pt x="5352" y="1591"/>
                  <a:pt x="5038" y="1591"/>
                </a:cubicBezTo>
                <a:cubicBezTo>
                  <a:pt x="4720" y="1591"/>
                  <a:pt x="4441" y="988"/>
                  <a:pt x="4247" y="72"/>
                </a:cubicBezTo>
                <a:cubicBezTo>
                  <a:pt x="4054" y="1012"/>
                  <a:pt x="3769" y="1591"/>
                  <a:pt x="3456" y="1591"/>
                </a:cubicBezTo>
                <a:cubicBezTo>
                  <a:pt x="3143" y="1591"/>
                  <a:pt x="2858" y="988"/>
                  <a:pt x="2664" y="72"/>
                </a:cubicBezTo>
                <a:cubicBezTo>
                  <a:pt x="2471" y="1012"/>
                  <a:pt x="2186" y="1591"/>
                  <a:pt x="1873" y="1591"/>
                </a:cubicBezTo>
                <a:cubicBezTo>
                  <a:pt x="1560" y="1591"/>
                  <a:pt x="1275" y="988"/>
                  <a:pt x="1082" y="72"/>
                </a:cubicBezTo>
                <a:cubicBezTo>
                  <a:pt x="888" y="1012"/>
                  <a:pt x="603" y="1591"/>
                  <a:pt x="290" y="1591"/>
                </a:cubicBezTo>
                <a:cubicBezTo>
                  <a:pt x="188" y="1591"/>
                  <a:pt x="91" y="1519"/>
                  <a:pt x="0" y="1422"/>
                </a:cubicBezTo>
                <a:lnTo>
                  <a:pt x="0" y="12825"/>
                </a:lnTo>
                <a:lnTo>
                  <a:pt x="0" y="21431"/>
                </a:lnTo>
                <a:cubicBezTo>
                  <a:pt x="91" y="21552"/>
                  <a:pt x="188" y="21600"/>
                  <a:pt x="290" y="21600"/>
                </a:cubicBezTo>
                <a:cubicBezTo>
                  <a:pt x="609" y="21600"/>
                  <a:pt x="888" y="20997"/>
                  <a:pt x="1082" y="20081"/>
                </a:cubicBezTo>
                <a:cubicBezTo>
                  <a:pt x="1275" y="21021"/>
                  <a:pt x="1560" y="21600"/>
                  <a:pt x="1873" y="21600"/>
                </a:cubicBezTo>
                <a:cubicBezTo>
                  <a:pt x="2186" y="21600"/>
                  <a:pt x="2471" y="20997"/>
                  <a:pt x="2664" y="20081"/>
                </a:cubicBezTo>
                <a:cubicBezTo>
                  <a:pt x="2858" y="21021"/>
                  <a:pt x="3143" y="21600"/>
                  <a:pt x="3456" y="21600"/>
                </a:cubicBezTo>
                <a:cubicBezTo>
                  <a:pt x="3769" y="21600"/>
                  <a:pt x="4054" y="20997"/>
                  <a:pt x="4247" y="20081"/>
                </a:cubicBezTo>
                <a:cubicBezTo>
                  <a:pt x="4441" y="21021"/>
                  <a:pt x="4725" y="21600"/>
                  <a:pt x="5038" y="21600"/>
                </a:cubicBezTo>
                <a:cubicBezTo>
                  <a:pt x="5357" y="21600"/>
                  <a:pt x="5636" y="20997"/>
                  <a:pt x="5830" y="20081"/>
                </a:cubicBezTo>
                <a:cubicBezTo>
                  <a:pt x="6023" y="21021"/>
                  <a:pt x="6308" y="21600"/>
                  <a:pt x="6621" y="21600"/>
                </a:cubicBezTo>
                <a:cubicBezTo>
                  <a:pt x="6934" y="21600"/>
                  <a:pt x="7219" y="20997"/>
                  <a:pt x="7413" y="20081"/>
                </a:cubicBezTo>
                <a:cubicBezTo>
                  <a:pt x="7606" y="21021"/>
                  <a:pt x="7891" y="21600"/>
                  <a:pt x="8204" y="21600"/>
                </a:cubicBezTo>
                <a:cubicBezTo>
                  <a:pt x="8517" y="21600"/>
                  <a:pt x="8802" y="20997"/>
                  <a:pt x="8995" y="20081"/>
                </a:cubicBezTo>
                <a:cubicBezTo>
                  <a:pt x="9189" y="21021"/>
                  <a:pt x="9473" y="21600"/>
                  <a:pt x="9787" y="21600"/>
                </a:cubicBezTo>
                <a:cubicBezTo>
                  <a:pt x="10100" y="21600"/>
                  <a:pt x="10384" y="20997"/>
                  <a:pt x="10578" y="20081"/>
                </a:cubicBezTo>
                <a:cubicBezTo>
                  <a:pt x="10772" y="21021"/>
                  <a:pt x="11056" y="21600"/>
                  <a:pt x="11369" y="21600"/>
                </a:cubicBezTo>
                <a:cubicBezTo>
                  <a:pt x="11682" y="21600"/>
                  <a:pt x="11967" y="20997"/>
                  <a:pt x="12161" y="20081"/>
                </a:cubicBezTo>
                <a:cubicBezTo>
                  <a:pt x="12354" y="21021"/>
                  <a:pt x="12639" y="21600"/>
                  <a:pt x="12952" y="21600"/>
                </a:cubicBezTo>
                <a:cubicBezTo>
                  <a:pt x="13265" y="21600"/>
                  <a:pt x="13550" y="20997"/>
                  <a:pt x="13743" y="20081"/>
                </a:cubicBezTo>
                <a:cubicBezTo>
                  <a:pt x="13937" y="21021"/>
                  <a:pt x="14222" y="21600"/>
                  <a:pt x="14535" y="21600"/>
                </a:cubicBezTo>
                <a:cubicBezTo>
                  <a:pt x="14848" y="21600"/>
                  <a:pt x="15133" y="20997"/>
                  <a:pt x="15326" y="20081"/>
                </a:cubicBezTo>
                <a:cubicBezTo>
                  <a:pt x="15520" y="21021"/>
                  <a:pt x="15804" y="21600"/>
                  <a:pt x="16117" y="21600"/>
                </a:cubicBezTo>
                <a:cubicBezTo>
                  <a:pt x="16431" y="21600"/>
                  <a:pt x="16715" y="20997"/>
                  <a:pt x="16909" y="20081"/>
                </a:cubicBezTo>
                <a:cubicBezTo>
                  <a:pt x="17102" y="21021"/>
                  <a:pt x="17387" y="21600"/>
                  <a:pt x="17700" y="21600"/>
                </a:cubicBezTo>
                <a:cubicBezTo>
                  <a:pt x="18013" y="21600"/>
                  <a:pt x="18298" y="20997"/>
                  <a:pt x="18492" y="20081"/>
                </a:cubicBezTo>
                <a:cubicBezTo>
                  <a:pt x="18685" y="21021"/>
                  <a:pt x="18970" y="21600"/>
                  <a:pt x="19283" y="21600"/>
                </a:cubicBezTo>
                <a:cubicBezTo>
                  <a:pt x="19596" y="21600"/>
                  <a:pt x="19881" y="20997"/>
                  <a:pt x="20074" y="20081"/>
                </a:cubicBezTo>
                <a:cubicBezTo>
                  <a:pt x="20268" y="21021"/>
                  <a:pt x="20552" y="21600"/>
                  <a:pt x="20866" y="21600"/>
                </a:cubicBezTo>
                <a:cubicBezTo>
                  <a:pt x="21076" y="21600"/>
                  <a:pt x="21275" y="21335"/>
                  <a:pt x="21441" y="20877"/>
                </a:cubicBezTo>
                <a:cubicBezTo>
                  <a:pt x="21537" y="20612"/>
                  <a:pt x="21600" y="20129"/>
                  <a:pt x="21600" y="19623"/>
                </a:cubicBezTo>
                <a:lnTo>
                  <a:pt x="21600" y="13910"/>
                </a:lnTo>
                <a:lnTo>
                  <a:pt x="21600" y="0"/>
                </a:lnTo>
                <a:lnTo>
                  <a:pt x="21589" y="0"/>
                </a:lnTo>
                <a:cubicBezTo>
                  <a:pt x="21566" y="337"/>
                  <a:pt x="21515" y="651"/>
                  <a:pt x="21441" y="868"/>
                </a:cubicBezTo>
                <a:close/>
              </a:path>
            </a:pathLst>
          </a:custGeom>
          <a:solidFill>
            <a:schemeClr val="accent3">
              <a:lumMod val="60000"/>
              <a:lumOff val="4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grpSp>
        <p:nvGrpSpPr>
          <p:cNvPr id="5" name="Group 4">
            <a:extLst>
              <a:ext uri="{FF2B5EF4-FFF2-40B4-BE49-F238E27FC236}">
                <a16:creationId xmlns:a16="http://schemas.microsoft.com/office/drawing/2014/main" id="{2A690E79-C376-2895-80CC-4810FFF6B6BB}"/>
              </a:ext>
            </a:extLst>
          </p:cNvPr>
          <p:cNvGrpSpPr/>
          <p:nvPr/>
        </p:nvGrpSpPr>
        <p:grpSpPr>
          <a:xfrm>
            <a:off x="3327400" y="2737608"/>
            <a:ext cx="1875791" cy="863196"/>
            <a:chOff x="3327400" y="2612390"/>
            <a:chExt cx="1875791" cy="863196"/>
          </a:xfrm>
        </p:grpSpPr>
        <p:sp>
          <p:nvSpPr>
            <p:cNvPr id="6" name="Shape">
              <a:extLst>
                <a:ext uri="{FF2B5EF4-FFF2-40B4-BE49-F238E27FC236}">
                  <a16:creationId xmlns:a16="http://schemas.microsoft.com/office/drawing/2014/main" id="{6190CE6F-AD20-7AC5-ED57-C1EBFD3C1AEE}"/>
                </a:ext>
              </a:extLst>
            </p:cNvPr>
            <p:cNvSpPr/>
            <p:nvPr/>
          </p:nvSpPr>
          <p:spPr>
            <a:xfrm>
              <a:off x="3670301" y="2663190"/>
              <a:ext cx="176641" cy="217173"/>
            </a:xfrm>
            <a:custGeom>
              <a:avLst/>
              <a:gdLst/>
              <a:ahLst/>
              <a:cxnLst>
                <a:cxn ang="0">
                  <a:pos x="wd2" y="hd2"/>
                </a:cxn>
                <a:cxn ang="5400000">
                  <a:pos x="wd2" y="hd2"/>
                </a:cxn>
                <a:cxn ang="10800000">
                  <a:pos x="wd2" y="hd2"/>
                </a:cxn>
                <a:cxn ang="16200000">
                  <a:pos x="wd2" y="hd2"/>
                </a:cxn>
              </a:cxnLst>
              <a:rect l="0" t="0" r="r" b="b"/>
              <a:pathLst>
                <a:path w="20299" h="21600" extrusionOk="0">
                  <a:moveTo>
                    <a:pt x="19703" y="2021"/>
                  </a:moveTo>
                  <a:cubicBezTo>
                    <a:pt x="19557" y="1263"/>
                    <a:pt x="19411" y="632"/>
                    <a:pt x="19119" y="0"/>
                  </a:cubicBezTo>
                  <a:lnTo>
                    <a:pt x="0" y="0"/>
                  </a:lnTo>
                  <a:cubicBezTo>
                    <a:pt x="146" y="632"/>
                    <a:pt x="146" y="1390"/>
                    <a:pt x="438" y="2021"/>
                  </a:cubicBezTo>
                  <a:cubicBezTo>
                    <a:pt x="876" y="3789"/>
                    <a:pt x="1459" y="5558"/>
                    <a:pt x="2335" y="7074"/>
                  </a:cubicBezTo>
                  <a:lnTo>
                    <a:pt x="730" y="20463"/>
                  </a:lnTo>
                  <a:lnTo>
                    <a:pt x="12551" y="21600"/>
                  </a:lnTo>
                  <a:lnTo>
                    <a:pt x="12843" y="15916"/>
                  </a:lnTo>
                  <a:cubicBezTo>
                    <a:pt x="12989" y="15916"/>
                    <a:pt x="13135" y="15916"/>
                    <a:pt x="13427" y="15916"/>
                  </a:cubicBezTo>
                  <a:cubicBezTo>
                    <a:pt x="18827" y="16168"/>
                    <a:pt x="21600" y="9853"/>
                    <a:pt x="19703" y="2021"/>
                  </a:cubicBezTo>
                  <a:close/>
                </a:path>
              </a:pathLst>
            </a:custGeom>
            <a:solidFill>
              <a:schemeClr val="accent2">
                <a:lumMod val="40000"/>
                <a:lumOff val="6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7" name="Shape">
              <a:extLst>
                <a:ext uri="{FF2B5EF4-FFF2-40B4-BE49-F238E27FC236}">
                  <a16:creationId xmlns:a16="http://schemas.microsoft.com/office/drawing/2014/main" id="{23EBDEEC-C983-6F7A-2FCB-300C0C94FD1F}"/>
                </a:ext>
              </a:extLst>
            </p:cNvPr>
            <p:cNvSpPr/>
            <p:nvPr/>
          </p:nvSpPr>
          <p:spPr>
            <a:xfrm>
              <a:off x="3644900" y="2612390"/>
              <a:ext cx="207481" cy="194445"/>
            </a:xfrm>
            <a:custGeom>
              <a:avLst/>
              <a:gdLst/>
              <a:ahLst/>
              <a:cxnLst>
                <a:cxn ang="0">
                  <a:pos x="wd2" y="hd2"/>
                </a:cxn>
                <a:cxn ang="5400000">
                  <a:pos x="wd2" y="hd2"/>
                </a:cxn>
                <a:cxn ang="10800000">
                  <a:pos x="wd2" y="hd2"/>
                </a:cxn>
                <a:cxn ang="16200000">
                  <a:pos x="wd2" y="hd2"/>
                </a:cxn>
              </a:cxnLst>
              <a:rect l="0" t="0" r="r" b="b"/>
              <a:pathLst>
                <a:path w="20398" h="21199" extrusionOk="0">
                  <a:moveTo>
                    <a:pt x="16275" y="14"/>
                  </a:moveTo>
                  <a:cubicBezTo>
                    <a:pt x="16275" y="14"/>
                    <a:pt x="16899" y="568"/>
                    <a:pt x="16774" y="845"/>
                  </a:cubicBezTo>
                  <a:cubicBezTo>
                    <a:pt x="16649" y="1261"/>
                    <a:pt x="15526" y="568"/>
                    <a:pt x="15526" y="568"/>
                  </a:cubicBezTo>
                  <a:cubicBezTo>
                    <a:pt x="15526" y="568"/>
                    <a:pt x="15651" y="1122"/>
                    <a:pt x="15151" y="1261"/>
                  </a:cubicBezTo>
                  <a:cubicBezTo>
                    <a:pt x="14652" y="1538"/>
                    <a:pt x="5288" y="1538"/>
                    <a:pt x="3664" y="2922"/>
                  </a:cubicBezTo>
                  <a:cubicBezTo>
                    <a:pt x="1791" y="4307"/>
                    <a:pt x="668" y="5968"/>
                    <a:pt x="668" y="7353"/>
                  </a:cubicBezTo>
                  <a:cubicBezTo>
                    <a:pt x="-1080" y="9291"/>
                    <a:pt x="918" y="15661"/>
                    <a:pt x="3040" y="21199"/>
                  </a:cubicBezTo>
                  <a:cubicBezTo>
                    <a:pt x="4164" y="20368"/>
                    <a:pt x="5412" y="19676"/>
                    <a:pt x="6536" y="18845"/>
                  </a:cubicBezTo>
                  <a:cubicBezTo>
                    <a:pt x="6661" y="18153"/>
                    <a:pt x="6661" y="17461"/>
                    <a:pt x="6786" y="16768"/>
                  </a:cubicBezTo>
                  <a:cubicBezTo>
                    <a:pt x="6036" y="16215"/>
                    <a:pt x="5537" y="15245"/>
                    <a:pt x="5288" y="13999"/>
                  </a:cubicBezTo>
                  <a:cubicBezTo>
                    <a:pt x="5038" y="12338"/>
                    <a:pt x="5662" y="10814"/>
                    <a:pt x="6786" y="10814"/>
                  </a:cubicBezTo>
                  <a:cubicBezTo>
                    <a:pt x="7660" y="10814"/>
                    <a:pt x="8534" y="11784"/>
                    <a:pt x="8908" y="13030"/>
                  </a:cubicBezTo>
                  <a:cubicBezTo>
                    <a:pt x="10282" y="12061"/>
                    <a:pt x="11655" y="10953"/>
                    <a:pt x="13029" y="9984"/>
                  </a:cubicBezTo>
                  <a:cubicBezTo>
                    <a:pt x="12529" y="9984"/>
                    <a:pt x="12155" y="9845"/>
                    <a:pt x="11655" y="9845"/>
                  </a:cubicBezTo>
                  <a:cubicBezTo>
                    <a:pt x="14027" y="9430"/>
                    <a:pt x="16400" y="8461"/>
                    <a:pt x="18397" y="7353"/>
                  </a:cubicBezTo>
                  <a:cubicBezTo>
                    <a:pt x="18397" y="7353"/>
                    <a:pt x="20270" y="6799"/>
                    <a:pt x="20395" y="3199"/>
                  </a:cubicBezTo>
                  <a:cubicBezTo>
                    <a:pt x="20520" y="-401"/>
                    <a:pt x="16275" y="14"/>
                    <a:pt x="16275" y="14"/>
                  </a:cubicBezTo>
                  <a:close/>
                </a:path>
              </a:pathLst>
            </a:custGeom>
            <a:solidFill>
              <a:schemeClr val="tx1"/>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8" name="Shape">
              <a:extLst>
                <a:ext uri="{FF2B5EF4-FFF2-40B4-BE49-F238E27FC236}">
                  <a16:creationId xmlns:a16="http://schemas.microsoft.com/office/drawing/2014/main" id="{580ACC1E-2ECC-CDE7-65B2-2D2B7005F53C}"/>
                </a:ext>
              </a:extLst>
            </p:cNvPr>
            <p:cNvSpPr/>
            <p:nvPr/>
          </p:nvSpPr>
          <p:spPr>
            <a:xfrm>
              <a:off x="3670301" y="2840991"/>
              <a:ext cx="344172" cy="436331"/>
            </a:xfrm>
            <a:custGeom>
              <a:avLst/>
              <a:gdLst/>
              <a:ahLst/>
              <a:cxnLst>
                <a:cxn ang="0">
                  <a:pos x="wd2" y="hd2"/>
                </a:cxn>
                <a:cxn ang="5400000">
                  <a:pos x="wd2" y="hd2"/>
                </a:cxn>
                <a:cxn ang="10800000">
                  <a:pos x="wd2" y="hd2"/>
                </a:cxn>
                <a:cxn ang="16200000">
                  <a:pos x="wd2" y="hd2"/>
                </a:cxn>
              </a:cxnLst>
              <a:rect l="0" t="0" r="r" b="b"/>
              <a:pathLst>
                <a:path w="21600" h="20846" extrusionOk="0">
                  <a:moveTo>
                    <a:pt x="1196" y="20846"/>
                  </a:moveTo>
                  <a:lnTo>
                    <a:pt x="0" y="1370"/>
                  </a:lnTo>
                  <a:lnTo>
                    <a:pt x="6616" y="95"/>
                  </a:lnTo>
                  <a:cubicBezTo>
                    <a:pt x="10840" y="-754"/>
                    <a:pt x="16738" y="4282"/>
                    <a:pt x="18173" y="7680"/>
                  </a:cubicBezTo>
                  <a:lnTo>
                    <a:pt x="21600" y="15628"/>
                  </a:lnTo>
                  <a:lnTo>
                    <a:pt x="1196" y="20846"/>
                  </a:lnTo>
                  <a:close/>
                </a:path>
              </a:pathLst>
            </a:cu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9" name="Shape">
              <a:extLst>
                <a:ext uri="{FF2B5EF4-FFF2-40B4-BE49-F238E27FC236}">
                  <a16:creationId xmlns:a16="http://schemas.microsoft.com/office/drawing/2014/main" id="{C15079DC-41EE-9DB2-F0A8-756D0C13D99C}"/>
                </a:ext>
              </a:extLst>
            </p:cNvPr>
            <p:cNvSpPr/>
            <p:nvPr/>
          </p:nvSpPr>
          <p:spPr>
            <a:xfrm>
              <a:off x="3746501" y="2904490"/>
              <a:ext cx="535293" cy="167223"/>
            </a:xfrm>
            <a:custGeom>
              <a:avLst/>
              <a:gdLst/>
              <a:ahLst/>
              <a:cxnLst>
                <a:cxn ang="0">
                  <a:pos x="wd2" y="hd2"/>
                </a:cxn>
                <a:cxn ang="5400000">
                  <a:pos x="wd2" y="hd2"/>
                </a:cxn>
                <a:cxn ang="10800000">
                  <a:pos x="wd2" y="hd2"/>
                </a:cxn>
                <a:cxn ang="16200000">
                  <a:pos x="wd2" y="hd2"/>
                </a:cxn>
              </a:cxnLst>
              <a:rect l="0" t="0" r="r" b="b"/>
              <a:pathLst>
                <a:path w="20187" h="18468" extrusionOk="0">
                  <a:moveTo>
                    <a:pt x="2662" y="364"/>
                  </a:moveTo>
                  <a:lnTo>
                    <a:pt x="10421" y="7657"/>
                  </a:lnTo>
                  <a:lnTo>
                    <a:pt x="19185" y="5132"/>
                  </a:lnTo>
                  <a:cubicBezTo>
                    <a:pt x="20047" y="4852"/>
                    <a:pt x="20622" y="12005"/>
                    <a:pt x="19760" y="12566"/>
                  </a:cubicBezTo>
                  <a:lnTo>
                    <a:pt x="13390" y="17055"/>
                  </a:lnTo>
                  <a:cubicBezTo>
                    <a:pt x="11331" y="18457"/>
                    <a:pt x="9463" y="18878"/>
                    <a:pt x="7355" y="18036"/>
                  </a:cubicBezTo>
                  <a:lnTo>
                    <a:pt x="1943" y="16073"/>
                  </a:lnTo>
                  <a:cubicBezTo>
                    <a:pt x="-978" y="14811"/>
                    <a:pt x="-499" y="-2722"/>
                    <a:pt x="2662" y="364"/>
                  </a:cubicBezTo>
                  <a:close/>
                </a:path>
              </a:pathLst>
            </a:custGeom>
            <a:solidFill>
              <a:schemeClr val="accent6"/>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10" name="Shape">
              <a:extLst>
                <a:ext uri="{FF2B5EF4-FFF2-40B4-BE49-F238E27FC236}">
                  <a16:creationId xmlns:a16="http://schemas.microsoft.com/office/drawing/2014/main" id="{85430941-BF50-E604-716F-4AAAE26EB306}"/>
                </a:ext>
              </a:extLst>
            </p:cNvPr>
            <p:cNvSpPr/>
            <p:nvPr/>
          </p:nvSpPr>
          <p:spPr>
            <a:xfrm>
              <a:off x="4318001" y="2663190"/>
              <a:ext cx="176014" cy="217173"/>
            </a:xfrm>
            <a:custGeom>
              <a:avLst/>
              <a:gdLst/>
              <a:ahLst/>
              <a:cxnLst>
                <a:cxn ang="0">
                  <a:pos x="wd2" y="hd2"/>
                </a:cxn>
                <a:cxn ang="5400000">
                  <a:pos x="wd2" y="hd2"/>
                </a:cxn>
                <a:cxn ang="10800000">
                  <a:pos x="wd2" y="hd2"/>
                </a:cxn>
                <a:cxn ang="16200000">
                  <a:pos x="wd2" y="hd2"/>
                </a:cxn>
              </a:cxnLst>
              <a:rect l="0" t="0" r="r" b="b"/>
              <a:pathLst>
                <a:path w="20364" h="21600" extrusionOk="0">
                  <a:moveTo>
                    <a:pt x="19836" y="2021"/>
                  </a:moveTo>
                  <a:cubicBezTo>
                    <a:pt x="19689" y="1263"/>
                    <a:pt x="19543" y="632"/>
                    <a:pt x="19249" y="0"/>
                  </a:cubicBezTo>
                  <a:lnTo>
                    <a:pt x="0" y="0"/>
                  </a:lnTo>
                  <a:cubicBezTo>
                    <a:pt x="147" y="632"/>
                    <a:pt x="147" y="1390"/>
                    <a:pt x="441" y="2021"/>
                  </a:cubicBezTo>
                  <a:cubicBezTo>
                    <a:pt x="882" y="3789"/>
                    <a:pt x="1469" y="5558"/>
                    <a:pt x="2351" y="7074"/>
                  </a:cubicBezTo>
                  <a:lnTo>
                    <a:pt x="735" y="20463"/>
                  </a:lnTo>
                  <a:lnTo>
                    <a:pt x="12637" y="21600"/>
                  </a:lnTo>
                  <a:lnTo>
                    <a:pt x="12931" y="15916"/>
                  </a:lnTo>
                  <a:cubicBezTo>
                    <a:pt x="13078" y="15916"/>
                    <a:pt x="13224" y="15916"/>
                    <a:pt x="13518" y="15916"/>
                  </a:cubicBezTo>
                  <a:cubicBezTo>
                    <a:pt x="18808" y="16168"/>
                    <a:pt x="21600" y="9853"/>
                    <a:pt x="19836" y="2021"/>
                  </a:cubicBezTo>
                  <a:close/>
                </a:path>
              </a:pathLst>
            </a:custGeom>
            <a:solidFill>
              <a:schemeClr val="accent2">
                <a:lumMod val="40000"/>
                <a:lumOff val="6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11" name="Shape">
              <a:extLst>
                <a:ext uri="{FF2B5EF4-FFF2-40B4-BE49-F238E27FC236}">
                  <a16:creationId xmlns:a16="http://schemas.microsoft.com/office/drawing/2014/main" id="{DE9EA22F-6E70-8935-2D66-5A554D3A9F14}"/>
                </a:ext>
              </a:extLst>
            </p:cNvPr>
            <p:cNvSpPr/>
            <p:nvPr/>
          </p:nvSpPr>
          <p:spPr>
            <a:xfrm>
              <a:off x="4292600" y="2612390"/>
              <a:ext cx="207481" cy="194445"/>
            </a:xfrm>
            <a:custGeom>
              <a:avLst/>
              <a:gdLst/>
              <a:ahLst/>
              <a:cxnLst>
                <a:cxn ang="0">
                  <a:pos x="wd2" y="hd2"/>
                </a:cxn>
                <a:cxn ang="5400000">
                  <a:pos x="wd2" y="hd2"/>
                </a:cxn>
                <a:cxn ang="10800000">
                  <a:pos x="wd2" y="hd2"/>
                </a:cxn>
                <a:cxn ang="16200000">
                  <a:pos x="wd2" y="hd2"/>
                </a:cxn>
              </a:cxnLst>
              <a:rect l="0" t="0" r="r" b="b"/>
              <a:pathLst>
                <a:path w="20398" h="21199" extrusionOk="0">
                  <a:moveTo>
                    <a:pt x="16275" y="14"/>
                  </a:moveTo>
                  <a:cubicBezTo>
                    <a:pt x="16275" y="14"/>
                    <a:pt x="16899" y="568"/>
                    <a:pt x="16774" y="845"/>
                  </a:cubicBezTo>
                  <a:cubicBezTo>
                    <a:pt x="16649" y="1261"/>
                    <a:pt x="15526" y="568"/>
                    <a:pt x="15526" y="568"/>
                  </a:cubicBezTo>
                  <a:cubicBezTo>
                    <a:pt x="15526" y="568"/>
                    <a:pt x="15651" y="1122"/>
                    <a:pt x="15151" y="1261"/>
                  </a:cubicBezTo>
                  <a:cubicBezTo>
                    <a:pt x="14651" y="1399"/>
                    <a:pt x="5288" y="1538"/>
                    <a:pt x="3664" y="2922"/>
                  </a:cubicBezTo>
                  <a:cubicBezTo>
                    <a:pt x="1791" y="4307"/>
                    <a:pt x="668" y="5968"/>
                    <a:pt x="668" y="7353"/>
                  </a:cubicBezTo>
                  <a:cubicBezTo>
                    <a:pt x="-1080" y="9291"/>
                    <a:pt x="918" y="15661"/>
                    <a:pt x="3040" y="21199"/>
                  </a:cubicBezTo>
                  <a:cubicBezTo>
                    <a:pt x="4164" y="20368"/>
                    <a:pt x="5412" y="19676"/>
                    <a:pt x="6536" y="18845"/>
                  </a:cubicBezTo>
                  <a:cubicBezTo>
                    <a:pt x="6661" y="18153"/>
                    <a:pt x="6661" y="17461"/>
                    <a:pt x="6786" y="16768"/>
                  </a:cubicBezTo>
                  <a:cubicBezTo>
                    <a:pt x="6036" y="16215"/>
                    <a:pt x="5537" y="15245"/>
                    <a:pt x="5288" y="13999"/>
                  </a:cubicBezTo>
                  <a:cubicBezTo>
                    <a:pt x="5038" y="12338"/>
                    <a:pt x="5662" y="10814"/>
                    <a:pt x="6786" y="10814"/>
                  </a:cubicBezTo>
                  <a:cubicBezTo>
                    <a:pt x="7660" y="10814"/>
                    <a:pt x="8534" y="11784"/>
                    <a:pt x="8908" y="13030"/>
                  </a:cubicBezTo>
                  <a:cubicBezTo>
                    <a:pt x="10282" y="12061"/>
                    <a:pt x="11655" y="10953"/>
                    <a:pt x="13029" y="9984"/>
                  </a:cubicBezTo>
                  <a:cubicBezTo>
                    <a:pt x="12529" y="9984"/>
                    <a:pt x="12155" y="9845"/>
                    <a:pt x="11655" y="9845"/>
                  </a:cubicBezTo>
                  <a:cubicBezTo>
                    <a:pt x="14027" y="9430"/>
                    <a:pt x="16400" y="8461"/>
                    <a:pt x="18397" y="7353"/>
                  </a:cubicBezTo>
                  <a:cubicBezTo>
                    <a:pt x="18397" y="7353"/>
                    <a:pt x="20270" y="6799"/>
                    <a:pt x="20395" y="3199"/>
                  </a:cubicBezTo>
                  <a:cubicBezTo>
                    <a:pt x="20520" y="-401"/>
                    <a:pt x="16275" y="14"/>
                    <a:pt x="16275" y="14"/>
                  </a:cubicBezTo>
                  <a:close/>
                </a:path>
              </a:pathLst>
            </a:custGeom>
            <a:solidFill>
              <a:schemeClr val="tx1"/>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12" name="Shape">
              <a:extLst>
                <a:ext uri="{FF2B5EF4-FFF2-40B4-BE49-F238E27FC236}">
                  <a16:creationId xmlns:a16="http://schemas.microsoft.com/office/drawing/2014/main" id="{72E1E596-381C-E8B4-F111-CB78B14184E0}"/>
                </a:ext>
              </a:extLst>
            </p:cNvPr>
            <p:cNvSpPr/>
            <p:nvPr/>
          </p:nvSpPr>
          <p:spPr>
            <a:xfrm>
              <a:off x="4318001" y="2840991"/>
              <a:ext cx="344172" cy="436331"/>
            </a:xfrm>
            <a:custGeom>
              <a:avLst/>
              <a:gdLst/>
              <a:ahLst/>
              <a:cxnLst>
                <a:cxn ang="0">
                  <a:pos x="wd2" y="hd2"/>
                </a:cxn>
                <a:cxn ang="5400000">
                  <a:pos x="wd2" y="hd2"/>
                </a:cxn>
                <a:cxn ang="10800000">
                  <a:pos x="wd2" y="hd2"/>
                </a:cxn>
                <a:cxn ang="16200000">
                  <a:pos x="wd2" y="hd2"/>
                </a:cxn>
              </a:cxnLst>
              <a:rect l="0" t="0" r="r" b="b"/>
              <a:pathLst>
                <a:path w="21600" h="20846" extrusionOk="0">
                  <a:moveTo>
                    <a:pt x="1196" y="20846"/>
                  </a:moveTo>
                  <a:lnTo>
                    <a:pt x="0" y="1370"/>
                  </a:lnTo>
                  <a:lnTo>
                    <a:pt x="6616" y="95"/>
                  </a:lnTo>
                  <a:cubicBezTo>
                    <a:pt x="10840" y="-754"/>
                    <a:pt x="16738" y="4282"/>
                    <a:pt x="18173" y="7680"/>
                  </a:cubicBezTo>
                  <a:lnTo>
                    <a:pt x="21600" y="15628"/>
                  </a:lnTo>
                  <a:lnTo>
                    <a:pt x="1196" y="20846"/>
                  </a:lnTo>
                  <a:close/>
                </a:path>
              </a:pathLst>
            </a:custGeom>
            <a:solidFill>
              <a:schemeClr val="accent6">
                <a:lumMod val="75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13" name="Shape">
              <a:extLst>
                <a:ext uri="{FF2B5EF4-FFF2-40B4-BE49-F238E27FC236}">
                  <a16:creationId xmlns:a16="http://schemas.microsoft.com/office/drawing/2014/main" id="{2D16D927-31D0-3634-2530-9B11D6256B36}"/>
                </a:ext>
              </a:extLst>
            </p:cNvPr>
            <p:cNvSpPr/>
            <p:nvPr/>
          </p:nvSpPr>
          <p:spPr>
            <a:xfrm>
              <a:off x="4902201" y="2942591"/>
              <a:ext cx="141916" cy="93067"/>
            </a:xfrm>
            <a:custGeom>
              <a:avLst/>
              <a:gdLst/>
              <a:ahLst/>
              <a:cxnLst>
                <a:cxn ang="0">
                  <a:pos x="wd2" y="hd2"/>
                </a:cxn>
                <a:cxn ang="5400000">
                  <a:pos x="wd2" y="hd2"/>
                </a:cxn>
                <a:cxn ang="10800000">
                  <a:pos x="wd2" y="hd2"/>
                </a:cxn>
                <a:cxn ang="16200000">
                  <a:pos x="wd2" y="hd2"/>
                </a:cxn>
              </a:cxnLst>
              <a:rect l="0" t="0" r="r" b="b"/>
              <a:pathLst>
                <a:path w="21360" h="20037" extrusionOk="0">
                  <a:moveTo>
                    <a:pt x="19497" y="5615"/>
                  </a:moveTo>
                  <a:lnTo>
                    <a:pt x="20644" y="8349"/>
                  </a:lnTo>
                  <a:cubicBezTo>
                    <a:pt x="21409" y="9990"/>
                    <a:pt x="21600" y="11904"/>
                    <a:pt x="21026" y="13544"/>
                  </a:cubicBezTo>
                  <a:cubicBezTo>
                    <a:pt x="20644" y="15458"/>
                    <a:pt x="19689" y="16552"/>
                    <a:pt x="18351" y="17372"/>
                  </a:cubicBezTo>
                  <a:lnTo>
                    <a:pt x="13190" y="19832"/>
                  </a:lnTo>
                  <a:cubicBezTo>
                    <a:pt x="11852" y="20379"/>
                    <a:pt x="10322" y="19832"/>
                    <a:pt x="9558" y="18191"/>
                  </a:cubicBezTo>
                  <a:lnTo>
                    <a:pt x="9367" y="17645"/>
                  </a:lnTo>
                  <a:lnTo>
                    <a:pt x="8029" y="17645"/>
                  </a:lnTo>
                  <a:cubicBezTo>
                    <a:pt x="6499" y="17645"/>
                    <a:pt x="5161" y="16824"/>
                    <a:pt x="4014" y="15457"/>
                  </a:cubicBezTo>
                  <a:lnTo>
                    <a:pt x="3441" y="14910"/>
                  </a:lnTo>
                  <a:lnTo>
                    <a:pt x="0" y="14090"/>
                  </a:lnTo>
                  <a:lnTo>
                    <a:pt x="0" y="4794"/>
                  </a:lnTo>
                  <a:lnTo>
                    <a:pt x="9366" y="692"/>
                  </a:lnTo>
                  <a:cubicBezTo>
                    <a:pt x="13380" y="-1221"/>
                    <a:pt x="17203" y="966"/>
                    <a:pt x="19497" y="5615"/>
                  </a:cubicBezTo>
                  <a:close/>
                </a:path>
              </a:pathLst>
            </a:custGeom>
            <a:solidFill>
              <a:schemeClr val="accent2">
                <a:lumMod val="40000"/>
                <a:lumOff val="6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14" name="Shape">
              <a:extLst>
                <a:ext uri="{FF2B5EF4-FFF2-40B4-BE49-F238E27FC236}">
                  <a16:creationId xmlns:a16="http://schemas.microsoft.com/office/drawing/2014/main" id="{63E3B567-A434-A3E5-06A4-FEB2051D25DD}"/>
                </a:ext>
              </a:extLst>
            </p:cNvPr>
            <p:cNvSpPr/>
            <p:nvPr/>
          </p:nvSpPr>
          <p:spPr>
            <a:xfrm>
              <a:off x="4394201" y="2904490"/>
              <a:ext cx="535293" cy="167223"/>
            </a:xfrm>
            <a:custGeom>
              <a:avLst/>
              <a:gdLst/>
              <a:ahLst/>
              <a:cxnLst>
                <a:cxn ang="0">
                  <a:pos x="wd2" y="hd2"/>
                </a:cxn>
                <a:cxn ang="5400000">
                  <a:pos x="wd2" y="hd2"/>
                </a:cxn>
                <a:cxn ang="10800000">
                  <a:pos x="wd2" y="hd2"/>
                </a:cxn>
                <a:cxn ang="16200000">
                  <a:pos x="wd2" y="hd2"/>
                </a:cxn>
              </a:cxnLst>
              <a:rect l="0" t="0" r="r" b="b"/>
              <a:pathLst>
                <a:path w="20187" h="18468" extrusionOk="0">
                  <a:moveTo>
                    <a:pt x="2662" y="364"/>
                  </a:moveTo>
                  <a:lnTo>
                    <a:pt x="10421" y="7657"/>
                  </a:lnTo>
                  <a:lnTo>
                    <a:pt x="19185" y="5132"/>
                  </a:lnTo>
                  <a:cubicBezTo>
                    <a:pt x="20047" y="4852"/>
                    <a:pt x="20622" y="12005"/>
                    <a:pt x="19760" y="12566"/>
                  </a:cubicBezTo>
                  <a:lnTo>
                    <a:pt x="13390" y="17055"/>
                  </a:lnTo>
                  <a:cubicBezTo>
                    <a:pt x="11331" y="18457"/>
                    <a:pt x="9463" y="18878"/>
                    <a:pt x="7355" y="18036"/>
                  </a:cubicBezTo>
                  <a:lnTo>
                    <a:pt x="1943" y="16073"/>
                  </a:lnTo>
                  <a:cubicBezTo>
                    <a:pt x="-978" y="14811"/>
                    <a:pt x="-499" y="-2722"/>
                    <a:pt x="2662" y="364"/>
                  </a:cubicBezTo>
                  <a:close/>
                </a:path>
              </a:pathLst>
            </a:custGeom>
            <a:solidFill>
              <a:schemeClr val="accent6"/>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15" name="Shape">
              <a:extLst>
                <a:ext uri="{FF2B5EF4-FFF2-40B4-BE49-F238E27FC236}">
                  <a16:creationId xmlns:a16="http://schemas.microsoft.com/office/drawing/2014/main" id="{3A929BC5-150B-2126-9725-757F22BDB40B}"/>
                </a:ext>
              </a:extLst>
            </p:cNvPr>
            <p:cNvSpPr/>
            <p:nvPr/>
          </p:nvSpPr>
          <p:spPr>
            <a:xfrm>
              <a:off x="4254501" y="2942591"/>
              <a:ext cx="141916" cy="93067"/>
            </a:xfrm>
            <a:custGeom>
              <a:avLst/>
              <a:gdLst/>
              <a:ahLst/>
              <a:cxnLst>
                <a:cxn ang="0">
                  <a:pos x="wd2" y="hd2"/>
                </a:cxn>
                <a:cxn ang="5400000">
                  <a:pos x="wd2" y="hd2"/>
                </a:cxn>
                <a:cxn ang="10800000">
                  <a:pos x="wd2" y="hd2"/>
                </a:cxn>
                <a:cxn ang="16200000">
                  <a:pos x="wd2" y="hd2"/>
                </a:cxn>
              </a:cxnLst>
              <a:rect l="0" t="0" r="r" b="b"/>
              <a:pathLst>
                <a:path w="21360" h="20037" extrusionOk="0">
                  <a:moveTo>
                    <a:pt x="19497" y="5615"/>
                  </a:moveTo>
                  <a:lnTo>
                    <a:pt x="20644" y="8349"/>
                  </a:lnTo>
                  <a:cubicBezTo>
                    <a:pt x="21409" y="9990"/>
                    <a:pt x="21600" y="11904"/>
                    <a:pt x="21026" y="13544"/>
                  </a:cubicBezTo>
                  <a:cubicBezTo>
                    <a:pt x="20644" y="15458"/>
                    <a:pt x="19689" y="16552"/>
                    <a:pt x="18351" y="17372"/>
                  </a:cubicBezTo>
                  <a:lnTo>
                    <a:pt x="13190" y="19832"/>
                  </a:lnTo>
                  <a:cubicBezTo>
                    <a:pt x="11852" y="20379"/>
                    <a:pt x="10322" y="19832"/>
                    <a:pt x="9558" y="18191"/>
                  </a:cubicBezTo>
                  <a:lnTo>
                    <a:pt x="9367" y="17645"/>
                  </a:lnTo>
                  <a:lnTo>
                    <a:pt x="8029" y="17645"/>
                  </a:lnTo>
                  <a:cubicBezTo>
                    <a:pt x="6499" y="17645"/>
                    <a:pt x="5161" y="16824"/>
                    <a:pt x="4014" y="15457"/>
                  </a:cubicBezTo>
                  <a:lnTo>
                    <a:pt x="3441" y="14910"/>
                  </a:lnTo>
                  <a:lnTo>
                    <a:pt x="0" y="14090"/>
                  </a:lnTo>
                  <a:lnTo>
                    <a:pt x="0" y="4794"/>
                  </a:lnTo>
                  <a:lnTo>
                    <a:pt x="9366" y="692"/>
                  </a:lnTo>
                  <a:cubicBezTo>
                    <a:pt x="13571" y="-1221"/>
                    <a:pt x="17394" y="966"/>
                    <a:pt x="19497" y="5615"/>
                  </a:cubicBezTo>
                  <a:close/>
                </a:path>
              </a:pathLst>
            </a:custGeom>
            <a:solidFill>
              <a:schemeClr val="accent2">
                <a:lumMod val="40000"/>
                <a:lumOff val="6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16" name="Shape">
              <a:extLst>
                <a:ext uri="{FF2B5EF4-FFF2-40B4-BE49-F238E27FC236}">
                  <a16:creationId xmlns:a16="http://schemas.microsoft.com/office/drawing/2014/main" id="{BF8E30AC-B1FE-39D1-D23C-19737A905538}"/>
                </a:ext>
              </a:extLst>
            </p:cNvPr>
            <p:cNvSpPr/>
            <p:nvPr/>
          </p:nvSpPr>
          <p:spPr>
            <a:xfrm>
              <a:off x="3327400" y="3044190"/>
              <a:ext cx="1875791" cy="389892"/>
            </a:xfrm>
            <a:custGeom>
              <a:avLst/>
              <a:gdLst/>
              <a:ahLst/>
              <a:cxnLst>
                <a:cxn ang="0">
                  <a:pos x="wd2" y="hd2"/>
                </a:cxn>
                <a:cxn ang="5400000">
                  <a:pos x="wd2" y="hd2"/>
                </a:cxn>
                <a:cxn ang="10800000">
                  <a:pos x="wd2" y="hd2"/>
                </a:cxn>
                <a:cxn ang="16200000">
                  <a:pos x="wd2" y="hd2"/>
                </a:cxn>
              </a:cxnLst>
              <a:rect l="0" t="0" r="r" b="b"/>
              <a:pathLst>
                <a:path w="21600" h="21600" extrusionOk="0">
                  <a:moveTo>
                    <a:pt x="1594" y="21600"/>
                  </a:moveTo>
                  <a:lnTo>
                    <a:pt x="17125" y="21600"/>
                  </a:lnTo>
                  <a:lnTo>
                    <a:pt x="21600" y="0"/>
                  </a:lnTo>
                  <a:lnTo>
                    <a:pt x="0" y="10835"/>
                  </a:lnTo>
                  <a:close/>
                </a:path>
              </a:pathLst>
            </a:custGeom>
            <a:solidFill>
              <a:schemeClr val="bg2">
                <a:lumMod val="5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17" name="Shape">
              <a:extLst>
                <a:ext uri="{FF2B5EF4-FFF2-40B4-BE49-F238E27FC236}">
                  <a16:creationId xmlns:a16="http://schemas.microsoft.com/office/drawing/2014/main" id="{1522169A-0214-5877-1C67-77CC6E3FFEB9}"/>
                </a:ext>
              </a:extLst>
            </p:cNvPr>
            <p:cNvSpPr/>
            <p:nvPr/>
          </p:nvSpPr>
          <p:spPr>
            <a:xfrm>
              <a:off x="3403600" y="3272791"/>
              <a:ext cx="1564641" cy="161291"/>
            </a:xfrm>
            <a:custGeom>
              <a:avLst/>
              <a:gdLst/>
              <a:ahLst/>
              <a:cxnLst>
                <a:cxn ang="0">
                  <a:pos x="wd2" y="hd2"/>
                </a:cxn>
                <a:cxn ang="5400000">
                  <a:pos x="wd2" y="hd2"/>
                </a:cxn>
                <a:cxn ang="10800000">
                  <a:pos x="wd2" y="hd2"/>
                </a:cxn>
                <a:cxn ang="16200000">
                  <a:pos x="wd2" y="hd2"/>
                </a:cxn>
              </a:cxnLst>
              <a:rect l="0" t="0" r="r" b="b"/>
              <a:pathLst>
                <a:path w="21600" h="21600" extrusionOk="0">
                  <a:moveTo>
                    <a:pt x="771" y="21600"/>
                  </a:moveTo>
                  <a:lnTo>
                    <a:pt x="19391" y="21600"/>
                  </a:lnTo>
                  <a:lnTo>
                    <a:pt x="21600" y="0"/>
                  </a:lnTo>
                  <a:lnTo>
                    <a:pt x="0" y="10885"/>
                  </a:lnTo>
                  <a:close/>
                </a:path>
              </a:pathLst>
            </a:custGeom>
            <a:solidFill>
              <a:schemeClr val="bg2">
                <a:lumMod val="1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18" name="Shape">
              <a:extLst>
                <a:ext uri="{FF2B5EF4-FFF2-40B4-BE49-F238E27FC236}">
                  <a16:creationId xmlns:a16="http://schemas.microsoft.com/office/drawing/2014/main" id="{B92F4EEE-7182-8101-6EE6-8146B8935A3E}"/>
                </a:ext>
              </a:extLst>
            </p:cNvPr>
            <p:cNvSpPr/>
            <p:nvPr/>
          </p:nvSpPr>
          <p:spPr>
            <a:xfrm>
              <a:off x="4127500" y="2993390"/>
              <a:ext cx="848857" cy="482196"/>
            </a:xfrm>
            <a:custGeom>
              <a:avLst/>
              <a:gdLst/>
              <a:ahLst/>
              <a:cxnLst>
                <a:cxn ang="0">
                  <a:pos x="wd2" y="hd2"/>
                </a:cxn>
                <a:cxn ang="5400000">
                  <a:pos x="wd2" y="hd2"/>
                </a:cxn>
                <a:cxn ang="10800000">
                  <a:pos x="wd2" y="hd2"/>
                </a:cxn>
                <a:cxn ang="16200000">
                  <a:pos x="wd2" y="hd2"/>
                </a:cxn>
              </a:cxnLst>
              <a:rect l="0" t="0" r="r" b="b"/>
              <a:pathLst>
                <a:path w="21420" h="21357" extrusionOk="0">
                  <a:moveTo>
                    <a:pt x="21344" y="1388"/>
                  </a:moveTo>
                  <a:lnTo>
                    <a:pt x="1795" y="21357"/>
                  </a:lnTo>
                  <a:lnTo>
                    <a:pt x="0" y="21357"/>
                  </a:lnTo>
                  <a:lnTo>
                    <a:pt x="20895" y="38"/>
                  </a:lnTo>
                  <a:cubicBezTo>
                    <a:pt x="21151" y="-243"/>
                    <a:pt x="21600" y="1107"/>
                    <a:pt x="21344" y="1388"/>
                  </a:cubicBezTo>
                  <a:close/>
                </a:path>
              </a:pathLst>
            </a:custGeom>
            <a:solidFill>
              <a:schemeClr val="accent2">
                <a:lumMod val="60000"/>
                <a:lumOff val="4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19" name="Shape">
              <a:extLst>
                <a:ext uri="{FF2B5EF4-FFF2-40B4-BE49-F238E27FC236}">
                  <a16:creationId xmlns:a16="http://schemas.microsoft.com/office/drawing/2014/main" id="{89D1F543-8DAA-472C-5E69-21216483B1D6}"/>
                </a:ext>
              </a:extLst>
            </p:cNvPr>
            <p:cNvSpPr/>
            <p:nvPr/>
          </p:nvSpPr>
          <p:spPr>
            <a:xfrm>
              <a:off x="3479800" y="2993390"/>
              <a:ext cx="848855" cy="482196"/>
            </a:xfrm>
            <a:custGeom>
              <a:avLst/>
              <a:gdLst/>
              <a:ahLst/>
              <a:cxnLst>
                <a:cxn ang="0">
                  <a:pos x="wd2" y="hd2"/>
                </a:cxn>
                <a:cxn ang="5400000">
                  <a:pos x="wd2" y="hd2"/>
                </a:cxn>
                <a:cxn ang="10800000">
                  <a:pos x="wd2" y="hd2"/>
                </a:cxn>
                <a:cxn ang="16200000">
                  <a:pos x="wd2" y="hd2"/>
                </a:cxn>
              </a:cxnLst>
              <a:rect l="0" t="0" r="r" b="b"/>
              <a:pathLst>
                <a:path w="21420" h="21357" extrusionOk="0">
                  <a:moveTo>
                    <a:pt x="21344" y="1388"/>
                  </a:moveTo>
                  <a:lnTo>
                    <a:pt x="1795" y="21357"/>
                  </a:lnTo>
                  <a:lnTo>
                    <a:pt x="0" y="21357"/>
                  </a:lnTo>
                  <a:lnTo>
                    <a:pt x="20895" y="38"/>
                  </a:lnTo>
                  <a:cubicBezTo>
                    <a:pt x="21151" y="-243"/>
                    <a:pt x="21600" y="1107"/>
                    <a:pt x="21344" y="1388"/>
                  </a:cubicBezTo>
                  <a:close/>
                </a:path>
              </a:pathLst>
            </a:custGeom>
            <a:solidFill>
              <a:schemeClr val="accent2">
                <a:lumMod val="60000"/>
                <a:lumOff val="4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grpSp>
      <p:sp>
        <p:nvSpPr>
          <p:cNvPr id="20" name="TextBox 19">
            <a:extLst>
              <a:ext uri="{FF2B5EF4-FFF2-40B4-BE49-F238E27FC236}">
                <a16:creationId xmlns:a16="http://schemas.microsoft.com/office/drawing/2014/main" id="{91C76189-2679-409F-B92C-6BEADDE0A028}"/>
              </a:ext>
            </a:extLst>
          </p:cNvPr>
          <p:cNvSpPr txBox="1"/>
          <p:nvPr/>
        </p:nvSpPr>
        <p:spPr>
          <a:xfrm>
            <a:off x="378903" y="3630798"/>
            <a:ext cx="4115112" cy="738664"/>
          </a:xfrm>
          <a:prstGeom prst="rect">
            <a:avLst/>
          </a:prstGeom>
          <a:noFill/>
        </p:spPr>
        <p:txBody>
          <a:bodyPr wrap="square" lIns="0" rIns="0" rtlCol="0" anchor="t">
            <a:spAutoFit/>
          </a:bodyPr>
          <a:lstStyle/>
          <a:p>
            <a:pPr>
              <a:spcAft>
                <a:spcPts val="1200"/>
              </a:spcAft>
            </a:pPr>
            <a:r>
              <a:rPr lang="en-US" sz="1400" noProof="1">
                <a:solidFill>
                  <a:schemeClr val="tx1">
                    <a:lumMod val="65000"/>
                    <a:lumOff val="35000"/>
                  </a:schemeClr>
                </a:solidFill>
              </a:rPr>
              <a:t>Collaborative, even debate framworks with smaller models yield remarkable results in improving the reasoning capacity.</a:t>
            </a:r>
          </a:p>
        </p:txBody>
      </p:sp>
      <p:grpSp>
        <p:nvGrpSpPr>
          <p:cNvPr id="21" name="Group 20">
            <a:extLst>
              <a:ext uri="{FF2B5EF4-FFF2-40B4-BE49-F238E27FC236}">
                <a16:creationId xmlns:a16="http://schemas.microsoft.com/office/drawing/2014/main" id="{ABDE6873-AF2B-E022-2047-3F6EDFE19EC0}"/>
              </a:ext>
            </a:extLst>
          </p:cNvPr>
          <p:cNvGrpSpPr/>
          <p:nvPr/>
        </p:nvGrpSpPr>
        <p:grpSpPr>
          <a:xfrm>
            <a:off x="5521960" y="2614712"/>
            <a:ext cx="5119750" cy="2151926"/>
            <a:chOff x="8921977" y="1343615"/>
            <a:chExt cx="2926080" cy="2151926"/>
          </a:xfrm>
        </p:grpSpPr>
        <p:sp>
          <p:nvSpPr>
            <p:cNvPr id="22" name="TextBox 21">
              <a:extLst>
                <a:ext uri="{FF2B5EF4-FFF2-40B4-BE49-F238E27FC236}">
                  <a16:creationId xmlns:a16="http://schemas.microsoft.com/office/drawing/2014/main" id="{851131FC-BAC1-0EAF-A732-3A6379D3EB24}"/>
                </a:ext>
              </a:extLst>
            </p:cNvPr>
            <p:cNvSpPr txBox="1"/>
            <p:nvPr/>
          </p:nvSpPr>
          <p:spPr>
            <a:xfrm>
              <a:off x="8921977" y="1343615"/>
              <a:ext cx="2926080" cy="584775"/>
            </a:xfrm>
            <a:prstGeom prst="rect">
              <a:avLst/>
            </a:prstGeom>
            <a:noFill/>
          </p:spPr>
          <p:txBody>
            <a:bodyPr wrap="square" lIns="0" rIns="0" rtlCol="0" anchor="b">
              <a:spAutoFit/>
            </a:bodyPr>
            <a:lstStyle/>
            <a:p>
              <a:r>
                <a:rPr lang="en-US" sz="3200" b="1" noProof="1">
                  <a:solidFill>
                    <a:schemeClr val="accent6">
                      <a:lumMod val="75000"/>
                    </a:schemeClr>
                  </a:solidFill>
                </a:rPr>
                <a:t>A Debate</a:t>
              </a:r>
            </a:p>
          </p:txBody>
        </p:sp>
        <p:sp>
          <p:nvSpPr>
            <p:cNvPr id="23" name="TextBox 22">
              <a:extLst>
                <a:ext uri="{FF2B5EF4-FFF2-40B4-BE49-F238E27FC236}">
                  <a16:creationId xmlns:a16="http://schemas.microsoft.com/office/drawing/2014/main" id="{46D917BD-B0BF-9F21-DF5B-D8872D4E07AE}"/>
                </a:ext>
              </a:extLst>
            </p:cNvPr>
            <p:cNvSpPr txBox="1"/>
            <p:nvPr/>
          </p:nvSpPr>
          <p:spPr>
            <a:xfrm>
              <a:off x="8921977" y="1925881"/>
              <a:ext cx="2926080" cy="1569660"/>
            </a:xfrm>
            <a:prstGeom prst="rect">
              <a:avLst/>
            </a:prstGeom>
            <a:noFill/>
          </p:spPr>
          <p:txBody>
            <a:bodyPr wrap="square" lIns="0" rIns="0" rtlCol="0" anchor="t">
              <a:spAutoFit/>
            </a:bodyPr>
            <a:lstStyle/>
            <a:p>
              <a:r>
                <a:rPr lang="en-US" sz="1600" noProof="1">
                  <a:solidFill>
                    <a:schemeClr val="tx1">
                      <a:lumMod val="65000"/>
                      <a:lumOff val="35000"/>
                    </a:schemeClr>
                  </a:solidFill>
                </a:rPr>
                <a:t>When researchers tested their debate framework, they found even with SLMs, the performance could exceed LLMs (on a 14x cost factor) Snell et. al.</a:t>
              </a:r>
            </a:p>
          </p:txBody>
        </p:sp>
      </p:grpSp>
      <p:sp>
        <p:nvSpPr>
          <p:cNvPr id="24" name="Shape">
            <a:extLst>
              <a:ext uri="{FF2B5EF4-FFF2-40B4-BE49-F238E27FC236}">
                <a16:creationId xmlns:a16="http://schemas.microsoft.com/office/drawing/2014/main" id="{B4A37CFA-D007-1F29-C414-1D0FCD58E360}"/>
              </a:ext>
            </a:extLst>
          </p:cNvPr>
          <p:cNvSpPr/>
          <p:nvPr/>
        </p:nvSpPr>
        <p:spPr>
          <a:xfrm>
            <a:off x="0" y="4822831"/>
            <a:ext cx="7793941" cy="1137920"/>
          </a:xfrm>
          <a:custGeom>
            <a:avLst/>
            <a:gdLst/>
            <a:ahLst/>
            <a:cxnLst>
              <a:cxn ang="0">
                <a:pos x="wd2" y="hd2"/>
              </a:cxn>
              <a:cxn ang="5400000">
                <a:pos x="wd2" y="hd2"/>
              </a:cxn>
              <a:cxn ang="10800000">
                <a:pos x="wd2" y="hd2"/>
              </a:cxn>
              <a:cxn ang="16200000">
                <a:pos x="wd2" y="hd2"/>
              </a:cxn>
            </a:cxnLst>
            <a:rect l="0" t="0" r="r" b="b"/>
            <a:pathLst>
              <a:path w="21600" h="21600" extrusionOk="0">
                <a:moveTo>
                  <a:pt x="21220" y="96"/>
                </a:moveTo>
                <a:cubicBezTo>
                  <a:pt x="21216" y="96"/>
                  <a:pt x="21216" y="96"/>
                  <a:pt x="21220" y="96"/>
                </a:cubicBezTo>
                <a:cubicBezTo>
                  <a:pt x="21097" y="1012"/>
                  <a:pt x="20921" y="1591"/>
                  <a:pt x="20727" y="1591"/>
                </a:cubicBezTo>
                <a:cubicBezTo>
                  <a:pt x="20534" y="1591"/>
                  <a:pt x="20358" y="988"/>
                  <a:pt x="20238" y="72"/>
                </a:cubicBezTo>
                <a:cubicBezTo>
                  <a:pt x="20118" y="1012"/>
                  <a:pt x="19942" y="1591"/>
                  <a:pt x="19749" y="1591"/>
                </a:cubicBezTo>
                <a:cubicBezTo>
                  <a:pt x="19555" y="1591"/>
                  <a:pt x="19379" y="988"/>
                  <a:pt x="19259" y="72"/>
                </a:cubicBezTo>
                <a:cubicBezTo>
                  <a:pt x="19140" y="1012"/>
                  <a:pt x="18964" y="1591"/>
                  <a:pt x="18770" y="1591"/>
                </a:cubicBezTo>
                <a:cubicBezTo>
                  <a:pt x="18577" y="1591"/>
                  <a:pt x="18401" y="988"/>
                  <a:pt x="18281" y="72"/>
                </a:cubicBezTo>
                <a:cubicBezTo>
                  <a:pt x="18161" y="1012"/>
                  <a:pt x="17985" y="1591"/>
                  <a:pt x="17792" y="1591"/>
                </a:cubicBezTo>
                <a:cubicBezTo>
                  <a:pt x="17598" y="1591"/>
                  <a:pt x="17422" y="988"/>
                  <a:pt x="17303" y="72"/>
                </a:cubicBezTo>
                <a:cubicBezTo>
                  <a:pt x="17183" y="1012"/>
                  <a:pt x="17007" y="1591"/>
                  <a:pt x="16813" y="1591"/>
                </a:cubicBezTo>
                <a:cubicBezTo>
                  <a:pt x="16620" y="1591"/>
                  <a:pt x="16444" y="988"/>
                  <a:pt x="16324" y="72"/>
                </a:cubicBezTo>
                <a:cubicBezTo>
                  <a:pt x="16204" y="1012"/>
                  <a:pt x="16028" y="1591"/>
                  <a:pt x="15835" y="1591"/>
                </a:cubicBezTo>
                <a:cubicBezTo>
                  <a:pt x="15641" y="1591"/>
                  <a:pt x="15465" y="988"/>
                  <a:pt x="15346" y="72"/>
                </a:cubicBezTo>
                <a:cubicBezTo>
                  <a:pt x="15226" y="1012"/>
                  <a:pt x="15050" y="1591"/>
                  <a:pt x="14856" y="1591"/>
                </a:cubicBezTo>
                <a:cubicBezTo>
                  <a:pt x="14663" y="1591"/>
                  <a:pt x="14487" y="988"/>
                  <a:pt x="14367" y="72"/>
                </a:cubicBezTo>
                <a:cubicBezTo>
                  <a:pt x="14247" y="1012"/>
                  <a:pt x="14071" y="1591"/>
                  <a:pt x="13878" y="1591"/>
                </a:cubicBezTo>
                <a:cubicBezTo>
                  <a:pt x="13684" y="1591"/>
                  <a:pt x="13508" y="988"/>
                  <a:pt x="13389" y="72"/>
                </a:cubicBezTo>
                <a:cubicBezTo>
                  <a:pt x="13269" y="1012"/>
                  <a:pt x="13093" y="1591"/>
                  <a:pt x="12899" y="1591"/>
                </a:cubicBezTo>
                <a:cubicBezTo>
                  <a:pt x="12706" y="1591"/>
                  <a:pt x="12530" y="988"/>
                  <a:pt x="12410" y="72"/>
                </a:cubicBezTo>
                <a:cubicBezTo>
                  <a:pt x="12291" y="1012"/>
                  <a:pt x="12115" y="1591"/>
                  <a:pt x="11921" y="1591"/>
                </a:cubicBezTo>
                <a:cubicBezTo>
                  <a:pt x="11727" y="1591"/>
                  <a:pt x="11551" y="988"/>
                  <a:pt x="11432" y="72"/>
                </a:cubicBezTo>
                <a:cubicBezTo>
                  <a:pt x="11312" y="1012"/>
                  <a:pt x="11136" y="1591"/>
                  <a:pt x="10943" y="1591"/>
                </a:cubicBezTo>
                <a:cubicBezTo>
                  <a:pt x="10749" y="1591"/>
                  <a:pt x="10573" y="988"/>
                  <a:pt x="10453" y="72"/>
                </a:cubicBezTo>
                <a:cubicBezTo>
                  <a:pt x="10334" y="1012"/>
                  <a:pt x="10158" y="1591"/>
                  <a:pt x="9964" y="1591"/>
                </a:cubicBezTo>
                <a:cubicBezTo>
                  <a:pt x="9771" y="1591"/>
                  <a:pt x="9595" y="988"/>
                  <a:pt x="9475" y="72"/>
                </a:cubicBezTo>
                <a:cubicBezTo>
                  <a:pt x="9355" y="1012"/>
                  <a:pt x="9179" y="1591"/>
                  <a:pt x="8986" y="1591"/>
                </a:cubicBezTo>
                <a:cubicBezTo>
                  <a:pt x="8792" y="1591"/>
                  <a:pt x="8616" y="988"/>
                  <a:pt x="8496" y="72"/>
                </a:cubicBezTo>
                <a:cubicBezTo>
                  <a:pt x="8377" y="1012"/>
                  <a:pt x="8201" y="1591"/>
                  <a:pt x="8007" y="1591"/>
                </a:cubicBezTo>
                <a:cubicBezTo>
                  <a:pt x="7814" y="1591"/>
                  <a:pt x="7638" y="988"/>
                  <a:pt x="7518" y="72"/>
                </a:cubicBezTo>
                <a:cubicBezTo>
                  <a:pt x="7398" y="1012"/>
                  <a:pt x="7222" y="1591"/>
                  <a:pt x="7029" y="1591"/>
                </a:cubicBezTo>
                <a:cubicBezTo>
                  <a:pt x="6835" y="1591"/>
                  <a:pt x="6659" y="988"/>
                  <a:pt x="6539" y="72"/>
                </a:cubicBezTo>
                <a:cubicBezTo>
                  <a:pt x="6420" y="1012"/>
                  <a:pt x="6244" y="1591"/>
                  <a:pt x="6050" y="1591"/>
                </a:cubicBezTo>
                <a:cubicBezTo>
                  <a:pt x="5857" y="1591"/>
                  <a:pt x="5681" y="988"/>
                  <a:pt x="5561" y="72"/>
                </a:cubicBezTo>
                <a:cubicBezTo>
                  <a:pt x="5441" y="1012"/>
                  <a:pt x="5265" y="1591"/>
                  <a:pt x="5072" y="1591"/>
                </a:cubicBezTo>
                <a:cubicBezTo>
                  <a:pt x="4878" y="1591"/>
                  <a:pt x="4702" y="988"/>
                  <a:pt x="4583" y="72"/>
                </a:cubicBezTo>
                <a:cubicBezTo>
                  <a:pt x="4463" y="1012"/>
                  <a:pt x="4287" y="1591"/>
                  <a:pt x="4093" y="1591"/>
                </a:cubicBezTo>
                <a:cubicBezTo>
                  <a:pt x="3900" y="1591"/>
                  <a:pt x="3724" y="988"/>
                  <a:pt x="3604" y="72"/>
                </a:cubicBezTo>
                <a:cubicBezTo>
                  <a:pt x="3484" y="1012"/>
                  <a:pt x="3308" y="1591"/>
                  <a:pt x="3115" y="1591"/>
                </a:cubicBezTo>
                <a:cubicBezTo>
                  <a:pt x="2918" y="1591"/>
                  <a:pt x="2745" y="988"/>
                  <a:pt x="2626" y="72"/>
                </a:cubicBezTo>
                <a:cubicBezTo>
                  <a:pt x="2506" y="1012"/>
                  <a:pt x="2330" y="1591"/>
                  <a:pt x="2136" y="1591"/>
                </a:cubicBezTo>
                <a:cubicBezTo>
                  <a:pt x="1943" y="1591"/>
                  <a:pt x="1767" y="988"/>
                  <a:pt x="1647" y="72"/>
                </a:cubicBezTo>
                <a:cubicBezTo>
                  <a:pt x="1528" y="1012"/>
                  <a:pt x="1352" y="1591"/>
                  <a:pt x="1158" y="1591"/>
                </a:cubicBezTo>
                <a:cubicBezTo>
                  <a:pt x="964" y="1591"/>
                  <a:pt x="788" y="988"/>
                  <a:pt x="669" y="72"/>
                </a:cubicBezTo>
                <a:cubicBezTo>
                  <a:pt x="549" y="1012"/>
                  <a:pt x="373" y="1591"/>
                  <a:pt x="180" y="1591"/>
                </a:cubicBezTo>
                <a:cubicBezTo>
                  <a:pt x="116" y="1591"/>
                  <a:pt x="56" y="1519"/>
                  <a:pt x="0" y="1422"/>
                </a:cubicBezTo>
                <a:lnTo>
                  <a:pt x="0" y="12825"/>
                </a:lnTo>
                <a:lnTo>
                  <a:pt x="0" y="21431"/>
                </a:lnTo>
                <a:cubicBezTo>
                  <a:pt x="56" y="21552"/>
                  <a:pt x="116" y="21600"/>
                  <a:pt x="180" y="21600"/>
                </a:cubicBezTo>
                <a:cubicBezTo>
                  <a:pt x="377" y="21600"/>
                  <a:pt x="549" y="20997"/>
                  <a:pt x="669" y="20081"/>
                </a:cubicBezTo>
                <a:cubicBezTo>
                  <a:pt x="788" y="21021"/>
                  <a:pt x="964" y="21600"/>
                  <a:pt x="1158" y="21600"/>
                </a:cubicBezTo>
                <a:cubicBezTo>
                  <a:pt x="1352" y="21600"/>
                  <a:pt x="1528" y="20997"/>
                  <a:pt x="1647" y="20081"/>
                </a:cubicBezTo>
                <a:cubicBezTo>
                  <a:pt x="1767" y="21021"/>
                  <a:pt x="1943" y="21600"/>
                  <a:pt x="2136" y="21600"/>
                </a:cubicBezTo>
                <a:cubicBezTo>
                  <a:pt x="2330" y="21600"/>
                  <a:pt x="2506" y="20997"/>
                  <a:pt x="2626" y="20081"/>
                </a:cubicBezTo>
                <a:cubicBezTo>
                  <a:pt x="2745" y="21021"/>
                  <a:pt x="2921" y="21600"/>
                  <a:pt x="3115" y="21600"/>
                </a:cubicBezTo>
                <a:cubicBezTo>
                  <a:pt x="3312" y="21600"/>
                  <a:pt x="3484" y="20997"/>
                  <a:pt x="3604" y="20081"/>
                </a:cubicBezTo>
                <a:cubicBezTo>
                  <a:pt x="3724" y="21021"/>
                  <a:pt x="3900" y="21600"/>
                  <a:pt x="4093" y="21600"/>
                </a:cubicBezTo>
                <a:cubicBezTo>
                  <a:pt x="4287" y="21600"/>
                  <a:pt x="4463" y="20997"/>
                  <a:pt x="4583" y="20081"/>
                </a:cubicBezTo>
                <a:cubicBezTo>
                  <a:pt x="4702" y="21021"/>
                  <a:pt x="4878" y="21600"/>
                  <a:pt x="5072" y="21600"/>
                </a:cubicBezTo>
                <a:cubicBezTo>
                  <a:pt x="5265" y="21600"/>
                  <a:pt x="5441" y="20997"/>
                  <a:pt x="5561" y="20081"/>
                </a:cubicBezTo>
                <a:cubicBezTo>
                  <a:pt x="5681" y="21021"/>
                  <a:pt x="5857" y="21600"/>
                  <a:pt x="6050" y="21600"/>
                </a:cubicBezTo>
                <a:cubicBezTo>
                  <a:pt x="6244" y="21600"/>
                  <a:pt x="6420" y="20997"/>
                  <a:pt x="6539" y="20081"/>
                </a:cubicBezTo>
                <a:cubicBezTo>
                  <a:pt x="6659" y="21021"/>
                  <a:pt x="6835" y="21600"/>
                  <a:pt x="7029" y="21600"/>
                </a:cubicBezTo>
                <a:cubicBezTo>
                  <a:pt x="7222" y="21600"/>
                  <a:pt x="7398" y="20997"/>
                  <a:pt x="7518" y="20081"/>
                </a:cubicBezTo>
                <a:cubicBezTo>
                  <a:pt x="7638" y="21021"/>
                  <a:pt x="7814" y="21600"/>
                  <a:pt x="8007" y="21600"/>
                </a:cubicBezTo>
                <a:cubicBezTo>
                  <a:pt x="8201" y="21600"/>
                  <a:pt x="8377" y="20997"/>
                  <a:pt x="8496" y="20081"/>
                </a:cubicBezTo>
                <a:cubicBezTo>
                  <a:pt x="8616" y="21021"/>
                  <a:pt x="8792" y="21600"/>
                  <a:pt x="8986" y="21600"/>
                </a:cubicBezTo>
                <a:cubicBezTo>
                  <a:pt x="9179" y="21600"/>
                  <a:pt x="9355" y="20997"/>
                  <a:pt x="9475" y="20081"/>
                </a:cubicBezTo>
                <a:cubicBezTo>
                  <a:pt x="9595" y="21021"/>
                  <a:pt x="9771" y="21600"/>
                  <a:pt x="9964" y="21600"/>
                </a:cubicBezTo>
                <a:cubicBezTo>
                  <a:pt x="10158" y="21600"/>
                  <a:pt x="10334" y="20997"/>
                  <a:pt x="10453" y="20081"/>
                </a:cubicBezTo>
                <a:cubicBezTo>
                  <a:pt x="10573" y="21021"/>
                  <a:pt x="10749" y="21600"/>
                  <a:pt x="10943" y="21600"/>
                </a:cubicBezTo>
                <a:cubicBezTo>
                  <a:pt x="11136" y="21600"/>
                  <a:pt x="11312" y="20997"/>
                  <a:pt x="11432" y="20081"/>
                </a:cubicBezTo>
                <a:cubicBezTo>
                  <a:pt x="11551" y="21021"/>
                  <a:pt x="11727" y="21600"/>
                  <a:pt x="11921" y="21600"/>
                </a:cubicBezTo>
                <a:cubicBezTo>
                  <a:pt x="12115" y="21600"/>
                  <a:pt x="12291" y="20997"/>
                  <a:pt x="12410" y="20081"/>
                </a:cubicBezTo>
                <a:cubicBezTo>
                  <a:pt x="12530" y="21021"/>
                  <a:pt x="12706" y="21600"/>
                  <a:pt x="12899" y="21600"/>
                </a:cubicBezTo>
                <a:cubicBezTo>
                  <a:pt x="13093" y="21600"/>
                  <a:pt x="13269" y="20997"/>
                  <a:pt x="13389" y="20081"/>
                </a:cubicBezTo>
                <a:cubicBezTo>
                  <a:pt x="13508" y="21021"/>
                  <a:pt x="13684" y="21600"/>
                  <a:pt x="13878" y="21600"/>
                </a:cubicBezTo>
                <a:cubicBezTo>
                  <a:pt x="14071" y="21600"/>
                  <a:pt x="14247" y="20997"/>
                  <a:pt x="14367" y="20081"/>
                </a:cubicBezTo>
                <a:cubicBezTo>
                  <a:pt x="14487" y="21021"/>
                  <a:pt x="14663" y="21600"/>
                  <a:pt x="14856" y="21600"/>
                </a:cubicBezTo>
                <a:cubicBezTo>
                  <a:pt x="15050" y="21600"/>
                  <a:pt x="15226" y="20997"/>
                  <a:pt x="15346" y="20081"/>
                </a:cubicBezTo>
                <a:cubicBezTo>
                  <a:pt x="15465" y="21021"/>
                  <a:pt x="15641" y="21600"/>
                  <a:pt x="15835" y="21600"/>
                </a:cubicBezTo>
                <a:cubicBezTo>
                  <a:pt x="16028" y="21600"/>
                  <a:pt x="16204" y="20997"/>
                  <a:pt x="16324" y="20081"/>
                </a:cubicBezTo>
                <a:cubicBezTo>
                  <a:pt x="16444" y="21021"/>
                  <a:pt x="16620" y="21600"/>
                  <a:pt x="16813" y="21600"/>
                </a:cubicBezTo>
                <a:cubicBezTo>
                  <a:pt x="17007" y="21600"/>
                  <a:pt x="17183" y="20997"/>
                  <a:pt x="17303" y="20081"/>
                </a:cubicBezTo>
                <a:cubicBezTo>
                  <a:pt x="17422" y="21021"/>
                  <a:pt x="17598" y="21600"/>
                  <a:pt x="17792" y="21600"/>
                </a:cubicBezTo>
                <a:cubicBezTo>
                  <a:pt x="17985" y="21600"/>
                  <a:pt x="18161" y="20997"/>
                  <a:pt x="18281" y="20081"/>
                </a:cubicBezTo>
                <a:cubicBezTo>
                  <a:pt x="18401" y="21021"/>
                  <a:pt x="18577" y="21600"/>
                  <a:pt x="18770" y="21600"/>
                </a:cubicBezTo>
                <a:cubicBezTo>
                  <a:pt x="18964" y="21600"/>
                  <a:pt x="19140" y="20997"/>
                  <a:pt x="19259" y="20081"/>
                </a:cubicBezTo>
                <a:cubicBezTo>
                  <a:pt x="19379" y="21021"/>
                  <a:pt x="19555" y="21600"/>
                  <a:pt x="19749" y="21600"/>
                </a:cubicBezTo>
                <a:cubicBezTo>
                  <a:pt x="19942" y="21600"/>
                  <a:pt x="20118" y="20997"/>
                  <a:pt x="20238" y="20081"/>
                </a:cubicBezTo>
                <a:cubicBezTo>
                  <a:pt x="20358" y="21021"/>
                  <a:pt x="20534" y="21600"/>
                  <a:pt x="20727" y="21600"/>
                </a:cubicBezTo>
                <a:cubicBezTo>
                  <a:pt x="20921" y="21600"/>
                  <a:pt x="21097" y="20997"/>
                  <a:pt x="21216" y="20081"/>
                </a:cubicBezTo>
                <a:cubicBezTo>
                  <a:pt x="21216" y="20081"/>
                  <a:pt x="21220" y="20105"/>
                  <a:pt x="21220" y="20105"/>
                </a:cubicBezTo>
                <a:cubicBezTo>
                  <a:pt x="21350" y="21118"/>
                  <a:pt x="21600" y="20443"/>
                  <a:pt x="21600" y="19093"/>
                </a:cubicBezTo>
                <a:lnTo>
                  <a:pt x="21600" y="12729"/>
                </a:lnTo>
                <a:lnTo>
                  <a:pt x="21600" y="0"/>
                </a:lnTo>
                <a:lnTo>
                  <a:pt x="21554" y="0"/>
                </a:lnTo>
                <a:cubicBezTo>
                  <a:pt x="21473" y="675"/>
                  <a:pt x="21315" y="844"/>
                  <a:pt x="21220" y="96"/>
                </a:cubicBezTo>
                <a:close/>
              </a:path>
            </a:pathLst>
          </a:custGeom>
          <a:solidFill>
            <a:schemeClr val="accent3">
              <a:lumMod val="60000"/>
              <a:lumOff val="4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grpSp>
        <p:nvGrpSpPr>
          <p:cNvPr id="25" name="Group 24">
            <a:extLst>
              <a:ext uri="{FF2B5EF4-FFF2-40B4-BE49-F238E27FC236}">
                <a16:creationId xmlns:a16="http://schemas.microsoft.com/office/drawing/2014/main" id="{5375B4C7-A485-3357-EE76-91B09A6FC3DF}"/>
              </a:ext>
            </a:extLst>
          </p:cNvPr>
          <p:cNvGrpSpPr/>
          <p:nvPr/>
        </p:nvGrpSpPr>
        <p:grpSpPr>
          <a:xfrm>
            <a:off x="5715000" y="4340231"/>
            <a:ext cx="2560323" cy="863195"/>
            <a:chOff x="5715000" y="4237990"/>
            <a:chExt cx="2560323" cy="863195"/>
          </a:xfrm>
        </p:grpSpPr>
        <p:sp>
          <p:nvSpPr>
            <p:cNvPr id="26" name="Shape">
              <a:extLst>
                <a:ext uri="{FF2B5EF4-FFF2-40B4-BE49-F238E27FC236}">
                  <a16:creationId xmlns:a16="http://schemas.microsoft.com/office/drawing/2014/main" id="{C358B5DE-930D-88B3-1A82-906E0BBE6935}"/>
                </a:ext>
              </a:extLst>
            </p:cNvPr>
            <p:cNvSpPr/>
            <p:nvPr/>
          </p:nvSpPr>
          <p:spPr>
            <a:xfrm>
              <a:off x="7315200" y="4288790"/>
              <a:ext cx="176507" cy="217173"/>
            </a:xfrm>
            <a:custGeom>
              <a:avLst/>
              <a:gdLst/>
              <a:ahLst/>
              <a:cxnLst>
                <a:cxn ang="0">
                  <a:pos x="wd2" y="hd2"/>
                </a:cxn>
                <a:cxn ang="5400000">
                  <a:pos x="wd2" y="hd2"/>
                </a:cxn>
                <a:cxn ang="10800000">
                  <a:pos x="wd2" y="hd2"/>
                </a:cxn>
                <a:cxn ang="16200000">
                  <a:pos x="wd2" y="hd2"/>
                </a:cxn>
              </a:cxnLst>
              <a:rect l="0" t="0" r="r" b="b"/>
              <a:pathLst>
                <a:path w="20284" h="21600" extrusionOk="0">
                  <a:moveTo>
                    <a:pt x="19703" y="2021"/>
                  </a:moveTo>
                  <a:cubicBezTo>
                    <a:pt x="19557" y="1263"/>
                    <a:pt x="19411" y="632"/>
                    <a:pt x="19119" y="0"/>
                  </a:cubicBezTo>
                  <a:lnTo>
                    <a:pt x="0" y="0"/>
                  </a:lnTo>
                  <a:cubicBezTo>
                    <a:pt x="146" y="632"/>
                    <a:pt x="146" y="1390"/>
                    <a:pt x="438" y="2021"/>
                  </a:cubicBezTo>
                  <a:cubicBezTo>
                    <a:pt x="876" y="3789"/>
                    <a:pt x="1459" y="5558"/>
                    <a:pt x="2335" y="7074"/>
                  </a:cubicBezTo>
                  <a:lnTo>
                    <a:pt x="730" y="20463"/>
                  </a:lnTo>
                  <a:lnTo>
                    <a:pt x="12552" y="21600"/>
                  </a:lnTo>
                  <a:lnTo>
                    <a:pt x="12843" y="15916"/>
                  </a:lnTo>
                  <a:cubicBezTo>
                    <a:pt x="12990" y="15916"/>
                    <a:pt x="13135" y="15916"/>
                    <a:pt x="13427" y="15916"/>
                  </a:cubicBezTo>
                  <a:cubicBezTo>
                    <a:pt x="18681" y="16042"/>
                    <a:pt x="21600" y="9727"/>
                    <a:pt x="19703" y="2021"/>
                  </a:cubicBezTo>
                  <a:close/>
                </a:path>
              </a:pathLst>
            </a:custGeom>
            <a:solidFill>
              <a:schemeClr val="accent2">
                <a:lumMod val="40000"/>
                <a:lumOff val="6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27" name="Shape">
              <a:extLst>
                <a:ext uri="{FF2B5EF4-FFF2-40B4-BE49-F238E27FC236}">
                  <a16:creationId xmlns:a16="http://schemas.microsoft.com/office/drawing/2014/main" id="{39D29A21-156F-8E84-04E1-AAB114160EDB}"/>
                </a:ext>
              </a:extLst>
            </p:cNvPr>
            <p:cNvSpPr/>
            <p:nvPr/>
          </p:nvSpPr>
          <p:spPr>
            <a:xfrm>
              <a:off x="7289800" y="4237990"/>
              <a:ext cx="207481" cy="194445"/>
            </a:xfrm>
            <a:custGeom>
              <a:avLst/>
              <a:gdLst/>
              <a:ahLst/>
              <a:cxnLst>
                <a:cxn ang="0">
                  <a:pos x="wd2" y="hd2"/>
                </a:cxn>
                <a:cxn ang="5400000">
                  <a:pos x="wd2" y="hd2"/>
                </a:cxn>
                <a:cxn ang="10800000">
                  <a:pos x="wd2" y="hd2"/>
                </a:cxn>
                <a:cxn ang="16200000">
                  <a:pos x="wd2" y="hd2"/>
                </a:cxn>
              </a:cxnLst>
              <a:rect l="0" t="0" r="r" b="b"/>
              <a:pathLst>
                <a:path w="20398" h="21199" extrusionOk="0">
                  <a:moveTo>
                    <a:pt x="16275" y="14"/>
                  </a:moveTo>
                  <a:cubicBezTo>
                    <a:pt x="16275" y="14"/>
                    <a:pt x="16899" y="568"/>
                    <a:pt x="16774" y="845"/>
                  </a:cubicBezTo>
                  <a:cubicBezTo>
                    <a:pt x="16649" y="1261"/>
                    <a:pt x="15526" y="568"/>
                    <a:pt x="15526" y="568"/>
                  </a:cubicBezTo>
                  <a:cubicBezTo>
                    <a:pt x="15526" y="568"/>
                    <a:pt x="15651" y="1122"/>
                    <a:pt x="15151" y="1261"/>
                  </a:cubicBezTo>
                  <a:cubicBezTo>
                    <a:pt x="14652" y="1538"/>
                    <a:pt x="5288" y="1538"/>
                    <a:pt x="3664" y="2922"/>
                  </a:cubicBezTo>
                  <a:cubicBezTo>
                    <a:pt x="1791" y="4307"/>
                    <a:pt x="668" y="5968"/>
                    <a:pt x="668" y="7353"/>
                  </a:cubicBezTo>
                  <a:cubicBezTo>
                    <a:pt x="-1080" y="9291"/>
                    <a:pt x="918" y="15661"/>
                    <a:pt x="3040" y="21199"/>
                  </a:cubicBezTo>
                  <a:cubicBezTo>
                    <a:pt x="4164" y="20368"/>
                    <a:pt x="5412" y="19676"/>
                    <a:pt x="6536" y="18845"/>
                  </a:cubicBezTo>
                  <a:cubicBezTo>
                    <a:pt x="6661" y="18153"/>
                    <a:pt x="6661" y="17461"/>
                    <a:pt x="6786" y="16768"/>
                  </a:cubicBezTo>
                  <a:cubicBezTo>
                    <a:pt x="6036" y="16215"/>
                    <a:pt x="5537" y="15245"/>
                    <a:pt x="5288" y="13999"/>
                  </a:cubicBezTo>
                  <a:cubicBezTo>
                    <a:pt x="5038" y="12338"/>
                    <a:pt x="5662" y="10814"/>
                    <a:pt x="6786" y="10814"/>
                  </a:cubicBezTo>
                  <a:cubicBezTo>
                    <a:pt x="7660" y="10814"/>
                    <a:pt x="8534" y="11784"/>
                    <a:pt x="8908" y="13030"/>
                  </a:cubicBezTo>
                  <a:cubicBezTo>
                    <a:pt x="10282" y="12061"/>
                    <a:pt x="11655" y="10953"/>
                    <a:pt x="13029" y="9984"/>
                  </a:cubicBezTo>
                  <a:cubicBezTo>
                    <a:pt x="12529" y="9984"/>
                    <a:pt x="12155" y="9845"/>
                    <a:pt x="11655" y="9845"/>
                  </a:cubicBezTo>
                  <a:cubicBezTo>
                    <a:pt x="14027" y="9430"/>
                    <a:pt x="16400" y="8461"/>
                    <a:pt x="18397" y="7353"/>
                  </a:cubicBezTo>
                  <a:cubicBezTo>
                    <a:pt x="18397" y="7353"/>
                    <a:pt x="20270" y="6799"/>
                    <a:pt x="20395" y="3199"/>
                  </a:cubicBezTo>
                  <a:cubicBezTo>
                    <a:pt x="20520" y="-401"/>
                    <a:pt x="16275" y="14"/>
                    <a:pt x="16275" y="14"/>
                  </a:cubicBezTo>
                  <a:close/>
                </a:path>
              </a:pathLst>
            </a:custGeom>
            <a:solidFill>
              <a:schemeClr val="tx1"/>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28" name="Shape">
              <a:extLst>
                <a:ext uri="{FF2B5EF4-FFF2-40B4-BE49-F238E27FC236}">
                  <a16:creationId xmlns:a16="http://schemas.microsoft.com/office/drawing/2014/main" id="{00B9BB7E-285B-163D-C800-6030DDD85A0B}"/>
                </a:ext>
              </a:extLst>
            </p:cNvPr>
            <p:cNvSpPr/>
            <p:nvPr/>
          </p:nvSpPr>
          <p:spPr>
            <a:xfrm>
              <a:off x="7315201" y="4466591"/>
              <a:ext cx="344172" cy="436331"/>
            </a:xfrm>
            <a:custGeom>
              <a:avLst/>
              <a:gdLst/>
              <a:ahLst/>
              <a:cxnLst>
                <a:cxn ang="0">
                  <a:pos x="wd2" y="hd2"/>
                </a:cxn>
                <a:cxn ang="5400000">
                  <a:pos x="wd2" y="hd2"/>
                </a:cxn>
                <a:cxn ang="10800000">
                  <a:pos x="wd2" y="hd2"/>
                </a:cxn>
                <a:cxn ang="16200000">
                  <a:pos x="wd2" y="hd2"/>
                </a:cxn>
              </a:cxnLst>
              <a:rect l="0" t="0" r="r" b="b"/>
              <a:pathLst>
                <a:path w="21600" h="20846" extrusionOk="0">
                  <a:moveTo>
                    <a:pt x="1196" y="20846"/>
                  </a:moveTo>
                  <a:lnTo>
                    <a:pt x="0" y="1370"/>
                  </a:lnTo>
                  <a:lnTo>
                    <a:pt x="6616" y="95"/>
                  </a:lnTo>
                  <a:cubicBezTo>
                    <a:pt x="10840" y="-754"/>
                    <a:pt x="16738" y="4282"/>
                    <a:pt x="18173" y="7680"/>
                  </a:cubicBezTo>
                  <a:lnTo>
                    <a:pt x="21600" y="15628"/>
                  </a:lnTo>
                  <a:lnTo>
                    <a:pt x="1196" y="20846"/>
                  </a:lnTo>
                  <a:close/>
                </a:path>
              </a:pathLst>
            </a:cu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29" name="Shape">
              <a:extLst>
                <a:ext uri="{FF2B5EF4-FFF2-40B4-BE49-F238E27FC236}">
                  <a16:creationId xmlns:a16="http://schemas.microsoft.com/office/drawing/2014/main" id="{3618D33E-3C69-07E1-6180-8DED2E6539DD}"/>
                </a:ext>
              </a:extLst>
            </p:cNvPr>
            <p:cNvSpPr/>
            <p:nvPr/>
          </p:nvSpPr>
          <p:spPr>
            <a:xfrm>
              <a:off x="7391401" y="4517390"/>
              <a:ext cx="535293" cy="167200"/>
            </a:xfrm>
            <a:custGeom>
              <a:avLst/>
              <a:gdLst/>
              <a:ahLst/>
              <a:cxnLst>
                <a:cxn ang="0">
                  <a:pos x="wd2" y="hd2"/>
                </a:cxn>
                <a:cxn ang="5400000">
                  <a:pos x="wd2" y="hd2"/>
                </a:cxn>
                <a:cxn ang="10800000">
                  <a:pos x="wd2" y="hd2"/>
                </a:cxn>
                <a:cxn ang="16200000">
                  <a:pos x="wd2" y="hd2"/>
                </a:cxn>
              </a:cxnLst>
              <a:rect l="0" t="0" r="r" b="b"/>
              <a:pathLst>
                <a:path w="20187" h="18466" extrusionOk="0">
                  <a:moveTo>
                    <a:pt x="2662" y="361"/>
                  </a:moveTo>
                  <a:lnTo>
                    <a:pt x="10421" y="7654"/>
                  </a:lnTo>
                  <a:lnTo>
                    <a:pt x="19185" y="5129"/>
                  </a:lnTo>
                  <a:cubicBezTo>
                    <a:pt x="20047" y="4849"/>
                    <a:pt x="20622" y="12002"/>
                    <a:pt x="19760" y="12563"/>
                  </a:cubicBezTo>
                  <a:lnTo>
                    <a:pt x="13390" y="17052"/>
                  </a:lnTo>
                  <a:cubicBezTo>
                    <a:pt x="11331" y="18454"/>
                    <a:pt x="9463" y="18875"/>
                    <a:pt x="7355" y="18033"/>
                  </a:cubicBezTo>
                  <a:lnTo>
                    <a:pt x="1943" y="16070"/>
                  </a:lnTo>
                  <a:cubicBezTo>
                    <a:pt x="-978" y="14948"/>
                    <a:pt x="-499" y="-2725"/>
                    <a:pt x="2662" y="361"/>
                  </a:cubicBezTo>
                  <a:close/>
                </a:path>
              </a:pathLst>
            </a:custGeom>
            <a:solidFill>
              <a:schemeClr val="accent3"/>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30" name="Shape">
              <a:extLst>
                <a:ext uri="{FF2B5EF4-FFF2-40B4-BE49-F238E27FC236}">
                  <a16:creationId xmlns:a16="http://schemas.microsoft.com/office/drawing/2014/main" id="{10689533-C5E5-83A7-CB2D-FB6212470067}"/>
                </a:ext>
              </a:extLst>
            </p:cNvPr>
            <p:cNvSpPr/>
            <p:nvPr/>
          </p:nvSpPr>
          <p:spPr>
            <a:xfrm>
              <a:off x="6629401" y="4288790"/>
              <a:ext cx="176508" cy="217173"/>
            </a:xfrm>
            <a:custGeom>
              <a:avLst/>
              <a:gdLst/>
              <a:ahLst/>
              <a:cxnLst>
                <a:cxn ang="0">
                  <a:pos x="wd2" y="hd2"/>
                </a:cxn>
                <a:cxn ang="5400000">
                  <a:pos x="wd2" y="hd2"/>
                </a:cxn>
                <a:cxn ang="10800000">
                  <a:pos x="wd2" y="hd2"/>
                </a:cxn>
                <a:cxn ang="16200000">
                  <a:pos x="wd2" y="hd2"/>
                </a:cxn>
              </a:cxnLst>
              <a:rect l="0" t="0" r="r" b="b"/>
              <a:pathLst>
                <a:path w="20284" h="21600" extrusionOk="0">
                  <a:moveTo>
                    <a:pt x="19703" y="2021"/>
                  </a:moveTo>
                  <a:cubicBezTo>
                    <a:pt x="19557" y="1263"/>
                    <a:pt x="19411" y="632"/>
                    <a:pt x="19119" y="0"/>
                  </a:cubicBezTo>
                  <a:lnTo>
                    <a:pt x="0" y="0"/>
                  </a:lnTo>
                  <a:cubicBezTo>
                    <a:pt x="146" y="632"/>
                    <a:pt x="146" y="1390"/>
                    <a:pt x="438" y="2021"/>
                  </a:cubicBezTo>
                  <a:cubicBezTo>
                    <a:pt x="876" y="3789"/>
                    <a:pt x="1459" y="5558"/>
                    <a:pt x="2335" y="7074"/>
                  </a:cubicBezTo>
                  <a:lnTo>
                    <a:pt x="730" y="20463"/>
                  </a:lnTo>
                  <a:lnTo>
                    <a:pt x="12551" y="21600"/>
                  </a:lnTo>
                  <a:lnTo>
                    <a:pt x="12843" y="15916"/>
                  </a:lnTo>
                  <a:cubicBezTo>
                    <a:pt x="12989" y="15916"/>
                    <a:pt x="13135" y="15916"/>
                    <a:pt x="13427" y="15916"/>
                  </a:cubicBezTo>
                  <a:cubicBezTo>
                    <a:pt x="18681" y="16042"/>
                    <a:pt x="21600" y="9727"/>
                    <a:pt x="19703" y="2021"/>
                  </a:cubicBezTo>
                  <a:close/>
                </a:path>
              </a:pathLst>
            </a:custGeom>
            <a:solidFill>
              <a:schemeClr val="accent2">
                <a:lumMod val="40000"/>
                <a:lumOff val="6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31" name="Shape">
              <a:extLst>
                <a:ext uri="{FF2B5EF4-FFF2-40B4-BE49-F238E27FC236}">
                  <a16:creationId xmlns:a16="http://schemas.microsoft.com/office/drawing/2014/main" id="{55F9177B-900A-48AB-77D8-9100A450AF8A}"/>
                </a:ext>
              </a:extLst>
            </p:cNvPr>
            <p:cNvSpPr/>
            <p:nvPr/>
          </p:nvSpPr>
          <p:spPr>
            <a:xfrm>
              <a:off x="6604000" y="4237990"/>
              <a:ext cx="207481" cy="194445"/>
            </a:xfrm>
            <a:custGeom>
              <a:avLst/>
              <a:gdLst/>
              <a:ahLst/>
              <a:cxnLst>
                <a:cxn ang="0">
                  <a:pos x="wd2" y="hd2"/>
                </a:cxn>
                <a:cxn ang="5400000">
                  <a:pos x="wd2" y="hd2"/>
                </a:cxn>
                <a:cxn ang="10800000">
                  <a:pos x="wd2" y="hd2"/>
                </a:cxn>
                <a:cxn ang="16200000">
                  <a:pos x="wd2" y="hd2"/>
                </a:cxn>
              </a:cxnLst>
              <a:rect l="0" t="0" r="r" b="b"/>
              <a:pathLst>
                <a:path w="20398" h="21199" extrusionOk="0">
                  <a:moveTo>
                    <a:pt x="16275" y="14"/>
                  </a:moveTo>
                  <a:cubicBezTo>
                    <a:pt x="16275" y="14"/>
                    <a:pt x="16899" y="568"/>
                    <a:pt x="16774" y="845"/>
                  </a:cubicBezTo>
                  <a:cubicBezTo>
                    <a:pt x="16649" y="1261"/>
                    <a:pt x="15526" y="568"/>
                    <a:pt x="15526" y="568"/>
                  </a:cubicBezTo>
                  <a:cubicBezTo>
                    <a:pt x="15526" y="568"/>
                    <a:pt x="15651" y="1122"/>
                    <a:pt x="15151" y="1261"/>
                  </a:cubicBezTo>
                  <a:cubicBezTo>
                    <a:pt x="14651" y="1399"/>
                    <a:pt x="5288" y="1538"/>
                    <a:pt x="3664" y="2922"/>
                  </a:cubicBezTo>
                  <a:cubicBezTo>
                    <a:pt x="1791" y="4307"/>
                    <a:pt x="668" y="5968"/>
                    <a:pt x="668" y="7353"/>
                  </a:cubicBezTo>
                  <a:cubicBezTo>
                    <a:pt x="-1080" y="9291"/>
                    <a:pt x="918" y="15661"/>
                    <a:pt x="3040" y="21199"/>
                  </a:cubicBezTo>
                  <a:cubicBezTo>
                    <a:pt x="4164" y="20368"/>
                    <a:pt x="5412" y="19676"/>
                    <a:pt x="6536" y="18845"/>
                  </a:cubicBezTo>
                  <a:cubicBezTo>
                    <a:pt x="6661" y="18153"/>
                    <a:pt x="6661" y="17461"/>
                    <a:pt x="6786" y="16768"/>
                  </a:cubicBezTo>
                  <a:cubicBezTo>
                    <a:pt x="6036" y="16215"/>
                    <a:pt x="5537" y="15245"/>
                    <a:pt x="5288" y="13999"/>
                  </a:cubicBezTo>
                  <a:cubicBezTo>
                    <a:pt x="5038" y="12338"/>
                    <a:pt x="5662" y="10814"/>
                    <a:pt x="6786" y="10814"/>
                  </a:cubicBezTo>
                  <a:cubicBezTo>
                    <a:pt x="7660" y="10814"/>
                    <a:pt x="8534" y="11784"/>
                    <a:pt x="8908" y="13030"/>
                  </a:cubicBezTo>
                  <a:cubicBezTo>
                    <a:pt x="10282" y="12061"/>
                    <a:pt x="11655" y="10953"/>
                    <a:pt x="13029" y="9984"/>
                  </a:cubicBezTo>
                  <a:cubicBezTo>
                    <a:pt x="12529" y="9984"/>
                    <a:pt x="12155" y="9845"/>
                    <a:pt x="11655" y="9845"/>
                  </a:cubicBezTo>
                  <a:cubicBezTo>
                    <a:pt x="14027" y="9430"/>
                    <a:pt x="16400" y="8461"/>
                    <a:pt x="18397" y="7353"/>
                  </a:cubicBezTo>
                  <a:cubicBezTo>
                    <a:pt x="18397" y="7353"/>
                    <a:pt x="20270" y="6799"/>
                    <a:pt x="20395" y="3199"/>
                  </a:cubicBezTo>
                  <a:cubicBezTo>
                    <a:pt x="20520" y="-401"/>
                    <a:pt x="16275" y="14"/>
                    <a:pt x="16275" y="14"/>
                  </a:cubicBezTo>
                  <a:close/>
                </a:path>
              </a:pathLst>
            </a:custGeom>
            <a:solidFill>
              <a:schemeClr val="tx1"/>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32" name="Shape">
              <a:extLst>
                <a:ext uri="{FF2B5EF4-FFF2-40B4-BE49-F238E27FC236}">
                  <a16:creationId xmlns:a16="http://schemas.microsoft.com/office/drawing/2014/main" id="{26125070-6DB5-E36A-C6C8-FD793F3E63D6}"/>
                </a:ext>
              </a:extLst>
            </p:cNvPr>
            <p:cNvSpPr/>
            <p:nvPr/>
          </p:nvSpPr>
          <p:spPr>
            <a:xfrm>
              <a:off x="6629401" y="4466591"/>
              <a:ext cx="344172" cy="436331"/>
            </a:xfrm>
            <a:custGeom>
              <a:avLst/>
              <a:gdLst/>
              <a:ahLst/>
              <a:cxnLst>
                <a:cxn ang="0">
                  <a:pos x="wd2" y="hd2"/>
                </a:cxn>
                <a:cxn ang="5400000">
                  <a:pos x="wd2" y="hd2"/>
                </a:cxn>
                <a:cxn ang="10800000">
                  <a:pos x="wd2" y="hd2"/>
                </a:cxn>
                <a:cxn ang="16200000">
                  <a:pos x="wd2" y="hd2"/>
                </a:cxn>
              </a:cxnLst>
              <a:rect l="0" t="0" r="r" b="b"/>
              <a:pathLst>
                <a:path w="21600" h="20846" extrusionOk="0">
                  <a:moveTo>
                    <a:pt x="1196" y="20846"/>
                  </a:moveTo>
                  <a:lnTo>
                    <a:pt x="0" y="1370"/>
                  </a:lnTo>
                  <a:lnTo>
                    <a:pt x="6616" y="95"/>
                  </a:lnTo>
                  <a:cubicBezTo>
                    <a:pt x="10840" y="-754"/>
                    <a:pt x="16738" y="4282"/>
                    <a:pt x="18173" y="7680"/>
                  </a:cubicBezTo>
                  <a:lnTo>
                    <a:pt x="21600" y="15628"/>
                  </a:lnTo>
                  <a:lnTo>
                    <a:pt x="1196" y="20846"/>
                  </a:lnTo>
                  <a:close/>
                </a:path>
              </a:pathLst>
            </a:cu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33" name="Shape">
              <a:extLst>
                <a:ext uri="{FF2B5EF4-FFF2-40B4-BE49-F238E27FC236}">
                  <a16:creationId xmlns:a16="http://schemas.microsoft.com/office/drawing/2014/main" id="{99B80367-16A3-52AD-4AE6-A3E81F9F2D14}"/>
                </a:ext>
              </a:extLst>
            </p:cNvPr>
            <p:cNvSpPr/>
            <p:nvPr/>
          </p:nvSpPr>
          <p:spPr>
            <a:xfrm>
              <a:off x="6705600" y="4517390"/>
              <a:ext cx="534775" cy="167200"/>
            </a:xfrm>
            <a:custGeom>
              <a:avLst/>
              <a:gdLst/>
              <a:ahLst/>
              <a:cxnLst>
                <a:cxn ang="0">
                  <a:pos x="wd2" y="hd2"/>
                </a:cxn>
                <a:cxn ang="5400000">
                  <a:pos x="wd2" y="hd2"/>
                </a:cxn>
                <a:cxn ang="10800000">
                  <a:pos x="wd2" y="hd2"/>
                </a:cxn>
                <a:cxn ang="16200000">
                  <a:pos x="wd2" y="hd2"/>
                </a:cxn>
              </a:cxnLst>
              <a:rect l="0" t="0" r="r" b="b"/>
              <a:pathLst>
                <a:path w="20212" h="18466" extrusionOk="0">
                  <a:moveTo>
                    <a:pt x="2649" y="361"/>
                  </a:moveTo>
                  <a:lnTo>
                    <a:pt x="10425" y="7654"/>
                  </a:lnTo>
                  <a:lnTo>
                    <a:pt x="19209" y="5129"/>
                  </a:lnTo>
                  <a:cubicBezTo>
                    <a:pt x="20073" y="4849"/>
                    <a:pt x="20649" y="12002"/>
                    <a:pt x="19785" y="12563"/>
                  </a:cubicBezTo>
                  <a:lnTo>
                    <a:pt x="13401" y="17052"/>
                  </a:lnTo>
                  <a:cubicBezTo>
                    <a:pt x="11337" y="18454"/>
                    <a:pt x="9465" y="18875"/>
                    <a:pt x="7353" y="18033"/>
                  </a:cubicBezTo>
                  <a:lnTo>
                    <a:pt x="1929" y="16070"/>
                  </a:lnTo>
                  <a:cubicBezTo>
                    <a:pt x="-951" y="14948"/>
                    <a:pt x="-519" y="-2725"/>
                    <a:pt x="2649" y="361"/>
                  </a:cubicBezTo>
                  <a:close/>
                </a:path>
              </a:pathLst>
            </a:custGeom>
            <a:solidFill>
              <a:schemeClr val="accent3"/>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34" name="Shape">
              <a:extLst>
                <a:ext uri="{FF2B5EF4-FFF2-40B4-BE49-F238E27FC236}">
                  <a16:creationId xmlns:a16="http://schemas.microsoft.com/office/drawing/2014/main" id="{1DBAE1A1-9516-8B17-0C98-4AF65D4ABF44}"/>
                </a:ext>
              </a:extLst>
            </p:cNvPr>
            <p:cNvSpPr/>
            <p:nvPr/>
          </p:nvSpPr>
          <p:spPr>
            <a:xfrm>
              <a:off x="5956300" y="4288790"/>
              <a:ext cx="176507" cy="217173"/>
            </a:xfrm>
            <a:custGeom>
              <a:avLst/>
              <a:gdLst/>
              <a:ahLst/>
              <a:cxnLst>
                <a:cxn ang="0">
                  <a:pos x="wd2" y="hd2"/>
                </a:cxn>
                <a:cxn ang="5400000">
                  <a:pos x="wd2" y="hd2"/>
                </a:cxn>
                <a:cxn ang="10800000">
                  <a:pos x="wd2" y="hd2"/>
                </a:cxn>
                <a:cxn ang="16200000">
                  <a:pos x="wd2" y="hd2"/>
                </a:cxn>
              </a:cxnLst>
              <a:rect l="0" t="0" r="r" b="b"/>
              <a:pathLst>
                <a:path w="20284" h="21600" extrusionOk="0">
                  <a:moveTo>
                    <a:pt x="19703" y="2021"/>
                  </a:moveTo>
                  <a:cubicBezTo>
                    <a:pt x="19557" y="1263"/>
                    <a:pt x="19411" y="632"/>
                    <a:pt x="19119" y="0"/>
                  </a:cubicBezTo>
                  <a:lnTo>
                    <a:pt x="0" y="0"/>
                  </a:lnTo>
                  <a:cubicBezTo>
                    <a:pt x="146" y="632"/>
                    <a:pt x="146" y="1390"/>
                    <a:pt x="438" y="2021"/>
                  </a:cubicBezTo>
                  <a:cubicBezTo>
                    <a:pt x="876" y="3789"/>
                    <a:pt x="1459" y="5558"/>
                    <a:pt x="2335" y="7074"/>
                  </a:cubicBezTo>
                  <a:lnTo>
                    <a:pt x="730" y="20463"/>
                  </a:lnTo>
                  <a:lnTo>
                    <a:pt x="12552" y="21600"/>
                  </a:lnTo>
                  <a:lnTo>
                    <a:pt x="12843" y="15916"/>
                  </a:lnTo>
                  <a:cubicBezTo>
                    <a:pt x="12990" y="15916"/>
                    <a:pt x="13135" y="15916"/>
                    <a:pt x="13427" y="15916"/>
                  </a:cubicBezTo>
                  <a:cubicBezTo>
                    <a:pt x="18681" y="16042"/>
                    <a:pt x="21600" y="9727"/>
                    <a:pt x="19703" y="2021"/>
                  </a:cubicBezTo>
                  <a:close/>
                </a:path>
              </a:pathLst>
            </a:custGeom>
            <a:solidFill>
              <a:schemeClr val="accent2">
                <a:lumMod val="40000"/>
                <a:lumOff val="6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35" name="Shape">
              <a:extLst>
                <a:ext uri="{FF2B5EF4-FFF2-40B4-BE49-F238E27FC236}">
                  <a16:creationId xmlns:a16="http://schemas.microsoft.com/office/drawing/2014/main" id="{16B7AAEB-A415-B566-7F5F-48E410AAE6BB}"/>
                </a:ext>
              </a:extLst>
            </p:cNvPr>
            <p:cNvSpPr/>
            <p:nvPr/>
          </p:nvSpPr>
          <p:spPr>
            <a:xfrm>
              <a:off x="5943600" y="4237990"/>
              <a:ext cx="207481" cy="194445"/>
            </a:xfrm>
            <a:custGeom>
              <a:avLst/>
              <a:gdLst/>
              <a:ahLst/>
              <a:cxnLst>
                <a:cxn ang="0">
                  <a:pos x="wd2" y="hd2"/>
                </a:cxn>
                <a:cxn ang="5400000">
                  <a:pos x="wd2" y="hd2"/>
                </a:cxn>
                <a:cxn ang="10800000">
                  <a:pos x="wd2" y="hd2"/>
                </a:cxn>
                <a:cxn ang="16200000">
                  <a:pos x="wd2" y="hd2"/>
                </a:cxn>
              </a:cxnLst>
              <a:rect l="0" t="0" r="r" b="b"/>
              <a:pathLst>
                <a:path w="20398" h="21199" extrusionOk="0">
                  <a:moveTo>
                    <a:pt x="16275" y="14"/>
                  </a:moveTo>
                  <a:cubicBezTo>
                    <a:pt x="16275" y="14"/>
                    <a:pt x="16899" y="568"/>
                    <a:pt x="16774" y="845"/>
                  </a:cubicBezTo>
                  <a:cubicBezTo>
                    <a:pt x="16649" y="1261"/>
                    <a:pt x="15526" y="568"/>
                    <a:pt x="15526" y="568"/>
                  </a:cubicBezTo>
                  <a:cubicBezTo>
                    <a:pt x="15526" y="568"/>
                    <a:pt x="15651" y="1122"/>
                    <a:pt x="15151" y="1261"/>
                  </a:cubicBezTo>
                  <a:cubicBezTo>
                    <a:pt x="14651" y="1399"/>
                    <a:pt x="5288" y="1538"/>
                    <a:pt x="3664" y="2922"/>
                  </a:cubicBezTo>
                  <a:cubicBezTo>
                    <a:pt x="1791" y="4307"/>
                    <a:pt x="668" y="5968"/>
                    <a:pt x="668" y="7353"/>
                  </a:cubicBezTo>
                  <a:cubicBezTo>
                    <a:pt x="-1080" y="9291"/>
                    <a:pt x="918" y="15661"/>
                    <a:pt x="3040" y="21199"/>
                  </a:cubicBezTo>
                  <a:cubicBezTo>
                    <a:pt x="4164" y="20368"/>
                    <a:pt x="5412" y="19676"/>
                    <a:pt x="6536" y="18845"/>
                  </a:cubicBezTo>
                  <a:cubicBezTo>
                    <a:pt x="6661" y="18153"/>
                    <a:pt x="6661" y="17461"/>
                    <a:pt x="6786" y="16768"/>
                  </a:cubicBezTo>
                  <a:cubicBezTo>
                    <a:pt x="6036" y="16215"/>
                    <a:pt x="5537" y="15245"/>
                    <a:pt x="5288" y="13999"/>
                  </a:cubicBezTo>
                  <a:cubicBezTo>
                    <a:pt x="5038" y="12338"/>
                    <a:pt x="5662" y="10814"/>
                    <a:pt x="6786" y="10814"/>
                  </a:cubicBezTo>
                  <a:cubicBezTo>
                    <a:pt x="7660" y="10814"/>
                    <a:pt x="8534" y="11784"/>
                    <a:pt x="8908" y="13030"/>
                  </a:cubicBezTo>
                  <a:cubicBezTo>
                    <a:pt x="10282" y="12061"/>
                    <a:pt x="11655" y="10953"/>
                    <a:pt x="13029" y="9984"/>
                  </a:cubicBezTo>
                  <a:cubicBezTo>
                    <a:pt x="12529" y="9984"/>
                    <a:pt x="12155" y="9845"/>
                    <a:pt x="11655" y="9845"/>
                  </a:cubicBezTo>
                  <a:cubicBezTo>
                    <a:pt x="14027" y="9430"/>
                    <a:pt x="16400" y="8461"/>
                    <a:pt x="18397" y="7353"/>
                  </a:cubicBezTo>
                  <a:cubicBezTo>
                    <a:pt x="18397" y="7353"/>
                    <a:pt x="20270" y="6799"/>
                    <a:pt x="20395" y="3199"/>
                  </a:cubicBezTo>
                  <a:cubicBezTo>
                    <a:pt x="20520" y="-401"/>
                    <a:pt x="16275" y="14"/>
                    <a:pt x="16275" y="14"/>
                  </a:cubicBezTo>
                  <a:close/>
                </a:path>
              </a:pathLst>
            </a:custGeom>
            <a:solidFill>
              <a:schemeClr val="tx1"/>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36" name="Shape">
              <a:extLst>
                <a:ext uri="{FF2B5EF4-FFF2-40B4-BE49-F238E27FC236}">
                  <a16:creationId xmlns:a16="http://schemas.microsoft.com/office/drawing/2014/main" id="{9B0B7AFA-9445-86D5-8369-0C778E6FAEE3}"/>
                </a:ext>
              </a:extLst>
            </p:cNvPr>
            <p:cNvSpPr/>
            <p:nvPr/>
          </p:nvSpPr>
          <p:spPr>
            <a:xfrm>
              <a:off x="5969001" y="4466591"/>
              <a:ext cx="344172" cy="436331"/>
            </a:xfrm>
            <a:custGeom>
              <a:avLst/>
              <a:gdLst/>
              <a:ahLst/>
              <a:cxnLst>
                <a:cxn ang="0">
                  <a:pos x="wd2" y="hd2"/>
                </a:cxn>
                <a:cxn ang="5400000">
                  <a:pos x="wd2" y="hd2"/>
                </a:cxn>
                <a:cxn ang="10800000">
                  <a:pos x="wd2" y="hd2"/>
                </a:cxn>
                <a:cxn ang="16200000">
                  <a:pos x="wd2" y="hd2"/>
                </a:cxn>
              </a:cxnLst>
              <a:rect l="0" t="0" r="r" b="b"/>
              <a:pathLst>
                <a:path w="21600" h="20846" extrusionOk="0">
                  <a:moveTo>
                    <a:pt x="1196" y="20846"/>
                  </a:moveTo>
                  <a:lnTo>
                    <a:pt x="0" y="1370"/>
                  </a:lnTo>
                  <a:lnTo>
                    <a:pt x="6616" y="95"/>
                  </a:lnTo>
                  <a:cubicBezTo>
                    <a:pt x="10840" y="-754"/>
                    <a:pt x="16738" y="4282"/>
                    <a:pt x="18173" y="7680"/>
                  </a:cubicBezTo>
                  <a:lnTo>
                    <a:pt x="21600" y="15628"/>
                  </a:lnTo>
                  <a:lnTo>
                    <a:pt x="1196" y="20846"/>
                  </a:lnTo>
                  <a:close/>
                </a:path>
              </a:pathLst>
            </a:custGeom>
            <a:solidFill>
              <a:schemeClr val="accent3">
                <a:lumMod val="75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37" name="Shape">
              <a:extLst>
                <a:ext uri="{FF2B5EF4-FFF2-40B4-BE49-F238E27FC236}">
                  <a16:creationId xmlns:a16="http://schemas.microsoft.com/office/drawing/2014/main" id="{C973F736-B8DC-6BA7-BB43-F3D8CDCD0BA9}"/>
                </a:ext>
              </a:extLst>
            </p:cNvPr>
            <p:cNvSpPr/>
            <p:nvPr/>
          </p:nvSpPr>
          <p:spPr>
            <a:xfrm>
              <a:off x="5715000" y="4669790"/>
              <a:ext cx="2560323" cy="389892"/>
            </a:xfrm>
            <a:custGeom>
              <a:avLst/>
              <a:gdLst/>
              <a:ahLst/>
              <a:cxnLst>
                <a:cxn ang="0">
                  <a:pos x="wd2" y="hd2"/>
                </a:cxn>
                <a:cxn ang="5400000">
                  <a:pos x="wd2" y="hd2"/>
                </a:cxn>
                <a:cxn ang="10800000">
                  <a:pos x="wd2" y="hd2"/>
                </a:cxn>
                <a:cxn ang="16200000">
                  <a:pos x="wd2" y="hd2"/>
                </a:cxn>
              </a:cxnLst>
              <a:rect l="0" t="0" r="r" b="b"/>
              <a:pathLst>
                <a:path w="21600" h="21600" extrusionOk="0">
                  <a:moveTo>
                    <a:pt x="1414" y="21600"/>
                  </a:moveTo>
                  <a:lnTo>
                    <a:pt x="17625" y="21600"/>
                  </a:lnTo>
                  <a:lnTo>
                    <a:pt x="21600" y="0"/>
                  </a:lnTo>
                  <a:lnTo>
                    <a:pt x="0" y="10906"/>
                  </a:lnTo>
                  <a:close/>
                </a:path>
              </a:pathLst>
            </a:custGeom>
            <a:solidFill>
              <a:schemeClr val="bg2">
                <a:lumMod val="5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38" name="Shape">
              <a:extLst>
                <a:ext uri="{FF2B5EF4-FFF2-40B4-BE49-F238E27FC236}">
                  <a16:creationId xmlns:a16="http://schemas.microsoft.com/office/drawing/2014/main" id="{BA96A93E-531D-CAD7-1E0B-2F06BA6B454A}"/>
                </a:ext>
              </a:extLst>
            </p:cNvPr>
            <p:cNvSpPr/>
            <p:nvPr/>
          </p:nvSpPr>
          <p:spPr>
            <a:xfrm>
              <a:off x="5803900" y="4898391"/>
              <a:ext cx="2184402" cy="161291"/>
            </a:xfrm>
            <a:custGeom>
              <a:avLst/>
              <a:gdLst/>
              <a:ahLst/>
              <a:cxnLst>
                <a:cxn ang="0">
                  <a:pos x="wd2" y="hd2"/>
                </a:cxn>
                <a:cxn ang="5400000">
                  <a:pos x="wd2" y="hd2"/>
                </a:cxn>
                <a:cxn ang="10800000">
                  <a:pos x="wd2" y="hd2"/>
                </a:cxn>
                <a:cxn ang="16200000">
                  <a:pos x="wd2" y="hd2"/>
                </a:cxn>
              </a:cxnLst>
              <a:rect l="0" t="0" r="r" b="b"/>
              <a:pathLst>
                <a:path w="21600" h="21600" extrusionOk="0">
                  <a:moveTo>
                    <a:pt x="678" y="21600"/>
                  </a:moveTo>
                  <a:lnTo>
                    <a:pt x="19679" y="21600"/>
                  </a:lnTo>
                  <a:lnTo>
                    <a:pt x="21600" y="0"/>
                  </a:lnTo>
                  <a:lnTo>
                    <a:pt x="0" y="11055"/>
                  </a:lnTo>
                  <a:close/>
                </a:path>
              </a:pathLst>
            </a:custGeom>
            <a:solidFill>
              <a:schemeClr val="bg2">
                <a:lumMod val="1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39" name="Shape">
              <a:extLst>
                <a:ext uri="{FF2B5EF4-FFF2-40B4-BE49-F238E27FC236}">
                  <a16:creationId xmlns:a16="http://schemas.microsoft.com/office/drawing/2014/main" id="{2DDDAF9C-27C6-868A-D53B-3ADF959E3C83}"/>
                </a:ext>
              </a:extLst>
            </p:cNvPr>
            <p:cNvSpPr/>
            <p:nvPr/>
          </p:nvSpPr>
          <p:spPr>
            <a:xfrm>
              <a:off x="6540501" y="4555490"/>
              <a:ext cx="141916" cy="93067"/>
            </a:xfrm>
            <a:custGeom>
              <a:avLst/>
              <a:gdLst/>
              <a:ahLst/>
              <a:cxnLst>
                <a:cxn ang="0">
                  <a:pos x="wd2" y="hd2"/>
                </a:cxn>
                <a:cxn ang="5400000">
                  <a:pos x="wd2" y="hd2"/>
                </a:cxn>
                <a:cxn ang="10800000">
                  <a:pos x="wd2" y="hd2"/>
                </a:cxn>
                <a:cxn ang="16200000">
                  <a:pos x="wd2" y="hd2"/>
                </a:cxn>
              </a:cxnLst>
              <a:rect l="0" t="0" r="r" b="b"/>
              <a:pathLst>
                <a:path w="21360" h="20037" extrusionOk="0">
                  <a:moveTo>
                    <a:pt x="19497" y="5615"/>
                  </a:moveTo>
                  <a:lnTo>
                    <a:pt x="20644" y="8349"/>
                  </a:lnTo>
                  <a:cubicBezTo>
                    <a:pt x="21409" y="9990"/>
                    <a:pt x="21600" y="11904"/>
                    <a:pt x="21026" y="13544"/>
                  </a:cubicBezTo>
                  <a:cubicBezTo>
                    <a:pt x="20644" y="15458"/>
                    <a:pt x="19689" y="16552"/>
                    <a:pt x="18351" y="17372"/>
                  </a:cubicBezTo>
                  <a:lnTo>
                    <a:pt x="13190" y="19832"/>
                  </a:lnTo>
                  <a:cubicBezTo>
                    <a:pt x="11852" y="20379"/>
                    <a:pt x="10322" y="19832"/>
                    <a:pt x="9558" y="18191"/>
                  </a:cubicBezTo>
                  <a:lnTo>
                    <a:pt x="9367" y="17645"/>
                  </a:lnTo>
                  <a:lnTo>
                    <a:pt x="8029" y="17645"/>
                  </a:lnTo>
                  <a:cubicBezTo>
                    <a:pt x="6499" y="17645"/>
                    <a:pt x="5161" y="16824"/>
                    <a:pt x="4014" y="15457"/>
                  </a:cubicBezTo>
                  <a:lnTo>
                    <a:pt x="3441" y="14910"/>
                  </a:lnTo>
                  <a:lnTo>
                    <a:pt x="0" y="14090"/>
                  </a:lnTo>
                  <a:lnTo>
                    <a:pt x="0" y="4794"/>
                  </a:lnTo>
                  <a:lnTo>
                    <a:pt x="9366" y="692"/>
                  </a:lnTo>
                  <a:cubicBezTo>
                    <a:pt x="13571" y="-1221"/>
                    <a:pt x="17394" y="967"/>
                    <a:pt x="19497" y="5615"/>
                  </a:cubicBezTo>
                  <a:close/>
                </a:path>
              </a:pathLst>
            </a:custGeom>
            <a:solidFill>
              <a:schemeClr val="accent2">
                <a:lumMod val="40000"/>
                <a:lumOff val="6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40" name="Shape">
              <a:extLst>
                <a:ext uri="{FF2B5EF4-FFF2-40B4-BE49-F238E27FC236}">
                  <a16:creationId xmlns:a16="http://schemas.microsoft.com/office/drawing/2014/main" id="{7A04D736-F790-9A68-77DC-B313156BCBB0}"/>
                </a:ext>
              </a:extLst>
            </p:cNvPr>
            <p:cNvSpPr/>
            <p:nvPr/>
          </p:nvSpPr>
          <p:spPr>
            <a:xfrm>
              <a:off x="6032500" y="4517390"/>
              <a:ext cx="534776" cy="167200"/>
            </a:xfrm>
            <a:custGeom>
              <a:avLst/>
              <a:gdLst/>
              <a:ahLst/>
              <a:cxnLst>
                <a:cxn ang="0">
                  <a:pos x="wd2" y="hd2"/>
                </a:cxn>
                <a:cxn ang="5400000">
                  <a:pos x="wd2" y="hd2"/>
                </a:cxn>
                <a:cxn ang="10800000">
                  <a:pos x="wd2" y="hd2"/>
                </a:cxn>
                <a:cxn ang="16200000">
                  <a:pos x="wd2" y="hd2"/>
                </a:cxn>
              </a:cxnLst>
              <a:rect l="0" t="0" r="r" b="b"/>
              <a:pathLst>
                <a:path w="20212" h="18466" extrusionOk="0">
                  <a:moveTo>
                    <a:pt x="2649" y="361"/>
                  </a:moveTo>
                  <a:lnTo>
                    <a:pt x="10425" y="7654"/>
                  </a:lnTo>
                  <a:lnTo>
                    <a:pt x="19209" y="5129"/>
                  </a:lnTo>
                  <a:cubicBezTo>
                    <a:pt x="20073" y="4849"/>
                    <a:pt x="20649" y="12002"/>
                    <a:pt x="19785" y="12563"/>
                  </a:cubicBezTo>
                  <a:lnTo>
                    <a:pt x="13401" y="17052"/>
                  </a:lnTo>
                  <a:cubicBezTo>
                    <a:pt x="11337" y="18454"/>
                    <a:pt x="9465" y="18875"/>
                    <a:pt x="7353" y="18033"/>
                  </a:cubicBezTo>
                  <a:lnTo>
                    <a:pt x="1929" y="16070"/>
                  </a:lnTo>
                  <a:cubicBezTo>
                    <a:pt x="-951" y="14948"/>
                    <a:pt x="-519" y="-2725"/>
                    <a:pt x="2649" y="361"/>
                  </a:cubicBezTo>
                  <a:close/>
                </a:path>
              </a:pathLst>
            </a:custGeom>
            <a:solidFill>
              <a:schemeClr val="accent3"/>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41" name="Shape">
              <a:extLst>
                <a:ext uri="{FF2B5EF4-FFF2-40B4-BE49-F238E27FC236}">
                  <a16:creationId xmlns:a16="http://schemas.microsoft.com/office/drawing/2014/main" id="{0F4D8AE9-B012-51C8-B792-0CC0F5B953F3}"/>
                </a:ext>
              </a:extLst>
            </p:cNvPr>
            <p:cNvSpPr/>
            <p:nvPr/>
          </p:nvSpPr>
          <p:spPr>
            <a:xfrm>
              <a:off x="5765801" y="4618990"/>
              <a:ext cx="848856" cy="482195"/>
            </a:xfrm>
            <a:custGeom>
              <a:avLst/>
              <a:gdLst/>
              <a:ahLst/>
              <a:cxnLst>
                <a:cxn ang="0">
                  <a:pos x="wd2" y="hd2"/>
                </a:cxn>
                <a:cxn ang="5400000">
                  <a:pos x="wd2" y="hd2"/>
                </a:cxn>
                <a:cxn ang="10800000">
                  <a:pos x="wd2" y="hd2"/>
                </a:cxn>
                <a:cxn ang="16200000">
                  <a:pos x="wd2" y="hd2"/>
                </a:cxn>
              </a:cxnLst>
              <a:rect l="0" t="0" r="r" b="b"/>
              <a:pathLst>
                <a:path w="21420" h="21357" extrusionOk="0">
                  <a:moveTo>
                    <a:pt x="21344" y="1388"/>
                  </a:moveTo>
                  <a:lnTo>
                    <a:pt x="1795" y="21357"/>
                  </a:lnTo>
                  <a:lnTo>
                    <a:pt x="0" y="21357"/>
                  </a:lnTo>
                  <a:lnTo>
                    <a:pt x="20895" y="38"/>
                  </a:lnTo>
                  <a:cubicBezTo>
                    <a:pt x="21151" y="-243"/>
                    <a:pt x="21600" y="1107"/>
                    <a:pt x="21344" y="1388"/>
                  </a:cubicBezTo>
                  <a:close/>
                </a:path>
              </a:pathLst>
            </a:custGeom>
            <a:solidFill>
              <a:schemeClr val="accent2">
                <a:lumMod val="60000"/>
                <a:lumOff val="4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42" name="Shape">
              <a:extLst>
                <a:ext uri="{FF2B5EF4-FFF2-40B4-BE49-F238E27FC236}">
                  <a16:creationId xmlns:a16="http://schemas.microsoft.com/office/drawing/2014/main" id="{4FE09459-D5AA-642F-BF08-B9ED9DFA7DE4}"/>
                </a:ext>
              </a:extLst>
            </p:cNvPr>
            <p:cNvSpPr/>
            <p:nvPr/>
          </p:nvSpPr>
          <p:spPr>
            <a:xfrm>
              <a:off x="7213601" y="4555490"/>
              <a:ext cx="141916" cy="93067"/>
            </a:xfrm>
            <a:custGeom>
              <a:avLst/>
              <a:gdLst/>
              <a:ahLst/>
              <a:cxnLst>
                <a:cxn ang="0">
                  <a:pos x="wd2" y="hd2"/>
                </a:cxn>
                <a:cxn ang="5400000">
                  <a:pos x="wd2" y="hd2"/>
                </a:cxn>
                <a:cxn ang="10800000">
                  <a:pos x="wd2" y="hd2"/>
                </a:cxn>
                <a:cxn ang="16200000">
                  <a:pos x="wd2" y="hd2"/>
                </a:cxn>
              </a:cxnLst>
              <a:rect l="0" t="0" r="r" b="b"/>
              <a:pathLst>
                <a:path w="21360" h="20037" extrusionOk="0">
                  <a:moveTo>
                    <a:pt x="19497" y="5615"/>
                  </a:moveTo>
                  <a:lnTo>
                    <a:pt x="20644" y="8349"/>
                  </a:lnTo>
                  <a:cubicBezTo>
                    <a:pt x="21409" y="9990"/>
                    <a:pt x="21600" y="11904"/>
                    <a:pt x="21026" y="13544"/>
                  </a:cubicBezTo>
                  <a:cubicBezTo>
                    <a:pt x="20644" y="15458"/>
                    <a:pt x="19689" y="16552"/>
                    <a:pt x="18351" y="17372"/>
                  </a:cubicBezTo>
                  <a:lnTo>
                    <a:pt x="13190" y="19832"/>
                  </a:lnTo>
                  <a:cubicBezTo>
                    <a:pt x="11852" y="20379"/>
                    <a:pt x="10322" y="19832"/>
                    <a:pt x="9558" y="18191"/>
                  </a:cubicBezTo>
                  <a:lnTo>
                    <a:pt x="9367" y="17645"/>
                  </a:lnTo>
                  <a:lnTo>
                    <a:pt x="8029" y="17645"/>
                  </a:lnTo>
                  <a:cubicBezTo>
                    <a:pt x="6499" y="17645"/>
                    <a:pt x="5161" y="16824"/>
                    <a:pt x="4014" y="15457"/>
                  </a:cubicBezTo>
                  <a:lnTo>
                    <a:pt x="3441" y="14910"/>
                  </a:lnTo>
                  <a:lnTo>
                    <a:pt x="0" y="14090"/>
                  </a:lnTo>
                  <a:lnTo>
                    <a:pt x="0" y="4794"/>
                  </a:lnTo>
                  <a:lnTo>
                    <a:pt x="9366" y="692"/>
                  </a:lnTo>
                  <a:cubicBezTo>
                    <a:pt x="13571" y="-1221"/>
                    <a:pt x="17394" y="967"/>
                    <a:pt x="19497" y="5615"/>
                  </a:cubicBezTo>
                  <a:close/>
                </a:path>
              </a:pathLst>
            </a:custGeom>
            <a:solidFill>
              <a:schemeClr val="accent2">
                <a:lumMod val="40000"/>
                <a:lumOff val="6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43" name="Shape">
              <a:extLst>
                <a:ext uri="{FF2B5EF4-FFF2-40B4-BE49-F238E27FC236}">
                  <a16:creationId xmlns:a16="http://schemas.microsoft.com/office/drawing/2014/main" id="{CF51CD81-0171-0BC5-1C91-BD0D5B46C86D}"/>
                </a:ext>
              </a:extLst>
            </p:cNvPr>
            <p:cNvSpPr/>
            <p:nvPr/>
          </p:nvSpPr>
          <p:spPr>
            <a:xfrm>
              <a:off x="6438900" y="4618990"/>
              <a:ext cx="848855" cy="482195"/>
            </a:xfrm>
            <a:custGeom>
              <a:avLst/>
              <a:gdLst/>
              <a:ahLst/>
              <a:cxnLst>
                <a:cxn ang="0">
                  <a:pos x="wd2" y="hd2"/>
                </a:cxn>
                <a:cxn ang="5400000">
                  <a:pos x="wd2" y="hd2"/>
                </a:cxn>
                <a:cxn ang="10800000">
                  <a:pos x="wd2" y="hd2"/>
                </a:cxn>
                <a:cxn ang="16200000">
                  <a:pos x="wd2" y="hd2"/>
                </a:cxn>
              </a:cxnLst>
              <a:rect l="0" t="0" r="r" b="b"/>
              <a:pathLst>
                <a:path w="21420" h="21357" extrusionOk="0">
                  <a:moveTo>
                    <a:pt x="21344" y="1388"/>
                  </a:moveTo>
                  <a:lnTo>
                    <a:pt x="1795" y="21357"/>
                  </a:lnTo>
                  <a:lnTo>
                    <a:pt x="0" y="21357"/>
                  </a:lnTo>
                  <a:lnTo>
                    <a:pt x="20895" y="38"/>
                  </a:lnTo>
                  <a:cubicBezTo>
                    <a:pt x="21151" y="-243"/>
                    <a:pt x="21600" y="1107"/>
                    <a:pt x="21344" y="1388"/>
                  </a:cubicBezTo>
                  <a:close/>
                </a:path>
              </a:pathLst>
            </a:custGeom>
            <a:solidFill>
              <a:schemeClr val="accent2">
                <a:lumMod val="60000"/>
                <a:lumOff val="4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44" name="Shape">
              <a:extLst>
                <a:ext uri="{FF2B5EF4-FFF2-40B4-BE49-F238E27FC236}">
                  <a16:creationId xmlns:a16="http://schemas.microsoft.com/office/drawing/2014/main" id="{5F082910-5BAB-7848-362A-CDAAA7D9A898}"/>
                </a:ext>
              </a:extLst>
            </p:cNvPr>
            <p:cNvSpPr/>
            <p:nvPr/>
          </p:nvSpPr>
          <p:spPr>
            <a:xfrm>
              <a:off x="7899401" y="4555490"/>
              <a:ext cx="141916" cy="93067"/>
            </a:xfrm>
            <a:custGeom>
              <a:avLst/>
              <a:gdLst/>
              <a:ahLst/>
              <a:cxnLst>
                <a:cxn ang="0">
                  <a:pos x="wd2" y="hd2"/>
                </a:cxn>
                <a:cxn ang="5400000">
                  <a:pos x="wd2" y="hd2"/>
                </a:cxn>
                <a:cxn ang="10800000">
                  <a:pos x="wd2" y="hd2"/>
                </a:cxn>
                <a:cxn ang="16200000">
                  <a:pos x="wd2" y="hd2"/>
                </a:cxn>
              </a:cxnLst>
              <a:rect l="0" t="0" r="r" b="b"/>
              <a:pathLst>
                <a:path w="21360" h="20037" extrusionOk="0">
                  <a:moveTo>
                    <a:pt x="19497" y="5615"/>
                  </a:moveTo>
                  <a:lnTo>
                    <a:pt x="20644" y="8349"/>
                  </a:lnTo>
                  <a:cubicBezTo>
                    <a:pt x="21409" y="9990"/>
                    <a:pt x="21600" y="11904"/>
                    <a:pt x="21026" y="13544"/>
                  </a:cubicBezTo>
                  <a:cubicBezTo>
                    <a:pt x="20644" y="15458"/>
                    <a:pt x="19689" y="16552"/>
                    <a:pt x="18351" y="17372"/>
                  </a:cubicBezTo>
                  <a:lnTo>
                    <a:pt x="13190" y="19832"/>
                  </a:lnTo>
                  <a:cubicBezTo>
                    <a:pt x="11852" y="20379"/>
                    <a:pt x="10322" y="19832"/>
                    <a:pt x="9558" y="18191"/>
                  </a:cubicBezTo>
                  <a:lnTo>
                    <a:pt x="9367" y="17645"/>
                  </a:lnTo>
                  <a:lnTo>
                    <a:pt x="8029" y="17645"/>
                  </a:lnTo>
                  <a:cubicBezTo>
                    <a:pt x="6499" y="17645"/>
                    <a:pt x="5161" y="16824"/>
                    <a:pt x="4014" y="15457"/>
                  </a:cubicBezTo>
                  <a:lnTo>
                    <a:pt x="3441" y="14910"/>
                  </a:lnTo>
                  <a:lnTo>
                    <a:pt x="0" y="14090"/>
                  </a:lnTo>
                  <a:lnTo>
                    <a:pt x="0" y="4794"/>
                  </a:lnTo>
                  <a:lnTo>
                    <a:pt x="9366" y="692"/>
                  </a:lnTo>
                  <a:cubicBezTo>
                    <a:pt x="13380" y="-1221"/>
                    <a:pt x="17394" y="967"/>
                    <a:pt x="19497" y="5615"/>
                  </a:cubicBezTo>
                  <a:close/>
                </a:path>
              </a:pathLst>
            </a:custGeom>
            <a:solidFill>
              <a:schemeClr val="accent2">
                <a:lumMod val="40000"/>
                <a:lumOff val="6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45" name="Shape">
              <a:extLst>
                <a:ext uri="{FF2B5EF4-FFF2-40B4-BE49-F238E27FC236}">
                  <a16:creationId xmlns:a16="http://schemas.microsoft.com/office/drawing/2014/main" id="{58DCD483-0C4C-BCB4-53E3-4FC6FB3439D4}"/>
                </a:ext>
              </a:extLst>
            </p:cNvPr>
            <p:cNvSpPr/>
            <p:nvPr/>
          </p:nvSpPr>
          <p:spPr>
            <a:xfrm>
              <a:off x="7124701" y="4618990"/>
              <a:ext cx="848856" cy="482195"/>
            </a:xfrm>
            <a:custGeom>
              <a:avLst/>
              <a:gdLst/>
              <a:ahLst/>
              <a:cxnLst>
                <a:cxn ang="0">
                  <a:pos x="wd2" y="hd2"/>
                </a:cxn>
                <a:cxn ang="5400000">
                  <a:pos x="wd2" y="hd2"/>
                </a:cxn>
                <a:cxn ang="10800000">
                  <a:pos x="wd2" y="hd2"/>
                </a:cxn>
                <a:cxn ang="16200000">
                  <a:pos x="wd2" y="hd2"/>
                </a:cxn>
              </a:cxnLst>
              <a:rect l="0" t="0" r="r" b="b"/>
              <a:pathLst>
                <a:path w="21420" h="21357" extrusionOk="0">
                  <a:moveTo>
                    <a:pt x="21344" y="1388"/>
                  </a:moveTo>
                  <a:lnTo>
                    <a:pt x="1795" y="21357"/>
                  </a:lnTo>
                  <a:lnTo>
                    <a:pt x="0" y="21357"/>
                  </a:lnTo>
                  <a:lnTo>
                    <a:pt x="20895" y="38"/>
                  </a:lnTo>
                  <a:cubicBezTo>
                    <a:pt x="21151" y="-243"/>
                    <a:pt x="21600" y="1107"/>
                    <a:pt x="21344" y="1388"/>
                  </a:cubicBezTo>
                  <a:close/>
                </a:path>
              </a:pathLst>
            </a:custGeom>
            <a:solidFill>
              <a:schemeClr val="accent2">
                <a:lumMod val="60000"/>
                <a:lumOff val="4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grpSp>
      <p:sp>
        <p:nvSpPr>
          <p:cNvPr id="46" name="TextBox 45">
            <a:extLst>
              <a:ext uri="{FF2B5EF4-FFF2-40B4-BE49-F238E27FC236}">
                <a16:creationId xmlns:a16="http://schemas.microsoft.com/office/drawing/2014/main" id="{18F53816-B501-2938-70B9-319643666EDE}"/>
              </a:ext>
            </a:extLst>
          </p:cNvPr>
          <p:cNvSpPr txBox="1"/>
          <p:nvPr/>
        </p:nvSpPr>
        <p:spPr>
          <a:xfrm>
            <a:off x="378903" y="5297927"/>
            <a:ext cx="7033409" cy="738664"/>
          </a:xfrm>
          <a:prstGeom prst="rect">
            <a:avLst/>
          </a:prstGeom>
          <a:noFill/>
        </p:spPr>
        <p:txBody>
          <a:bodyPr wrap="square" lIns="0" rIns="0" rtlCol="0" anchor="t">
            <a:spAutoFit/>
          </a:bodyPr>
          <a:lstStyle/>
          <a:p>
            <a:pPr>
              <a:spcAft>
                <a:spcPts val="1200"/>
              </a:spcAft>
            </a:pPr>
            <a:r>
              <a:rPr lang="en-US" sz="1400" noProof="1">
                <a:solidFill>
                  <a:schemeClr val="tx1">
                    <a:lumMod val="65000"/>
                    <a:lumOff val="35000"/>
                  </a:schemeClr>
                </a:solidFill>
              </a:rPr>
              <a:t>Engaging in debates with diverse peers, experts, yields the most powerful results. Architecting diversity introduced novel ideas and challenged the agents respective reasoning process.</a:t>
            </a:r>
          </a:p>
        </p:txBody>
      </p:sp>
      <p:grpSp>
        <p:nvGrpSpPr>
          <p:cNvPr id="47" name="Group 46">
            <a:extLst>
              <a:ext uri="{FF2B5EF4-FFF2-40B4-BE49-F238E27FC236}">
                <a16:creationId xmlns:a16="http://schemas.microsoft.com/office/drawing/2014/main" id="{1ACC22B8-BAAA-7F81-C593-0E8BD1EED0DB}"/>
              </a:ext>
            </a:extLst>
          </p:cNvPr>
          <p:cNvGrpSpPr/>
          <p:nvPr/>
        </p:nvGrpSpPr>
        <p:grpSpPr>
          <a:xfrm>
            <a:off x="8326125" y="3935642"/>
            <a:ext cx="3865876" cy="2459359"/>
            <a:chOff x="8921977" y="3950276"/>
            <a:chExt cx="2926080" cy="2225413"/>
          </a:xfrm>
        </p:grpSpPr>
        <p:sp>
          <p:nvSpPr>
            <p:cNvPr id="48" name="TextBox 47">
              <a:extLst>
                <a:ext uri="{FF2B5EF4-FFF2-40B4-BE49-F238E27FC236}">
                  <a16:creationId xmlns:a16="http://schemas.microsoft.com/office/drawing/2014/main" id="{F4D15588-41A8-C4EC-6307-0E1307C2C771}"/>
                </a:ext>
              </a:extLst>
            </p:cNvPr>
            <p:cNvSpPr txBox="1"/>
            <p:nvPr/>
          </p:nvSpPr>
          <p:spPr>
            <a:xfrm>
              <a:off x="8921977" y="3950276"/>
              <a:ext cx="2926080" cy="584775"/>
            </a:xfrm>
            <a:prstGeom prst="rect">
              <a:avLst/>
            </a:prstGeom>
            <a:noFill/>
          </p:spPr>
          <p:txBody>
            <a:bodyPr wrap="square" lIns="0" rIns="0" rtlCol="0" anchor="b">
              <a:spAutoFit/>
            </a:bodyPr>
            <a:lstStyle/>
            <a:p>
              <a:r>
                <a:rPr lang="en-US" sz="3200" b="1" noProof="1">
                  <a:solidFill>
                    <a:schemeClr val="accent3">
                      <a:lumMod val="75000"/>
                    </a:schemeClr>
                  </a:solidFill>
                </a:rPr>
                <a:t>Multi-Agent</a:t>
              </a:r>
            </a:p>
          </p:txBody>
        </p:sp>
        <p:sp>
          <p:nvSpPr>
            <p:cNvPr id="49" name="TextBox 48">
              <a:extLst>
                <a:ext uri="{FF2B5EF4-FFF2-40B4-BE49-F238E27FC236}">
                  <a16:creationId xmlns:a16="http://schemas.microsoft.com/office/drawing/2014/main" id="{C7417B94-19BB-5F9E-8788-A4C0632691E2}"/>
                </a:ext>
              </a:extLst>
            </p:cNvPr>
            <p:cNvSpPr txBox="1"/>
            <p:nvPr/>
          </p:nvSpPr>
          <p:spPr>
            <a:xfrm>
              <a:off x="8921977" y="4532542"/>
              <a:ext cx="2926080" cy="1643147"/>
            </a:xfrm>
            <a:prstGeom prst="rect">
              <a:avLst/>
            </a:prstGeom>
            <a:noFill/>
          </p:spPr>
          <p:txBody>
            <a:bodyPr wrap="square" lIns="0" rIns="0" rtlCol="0" anchor="t">
              <a:spAutoFit/>
            </a:bodyPr>
            <a:lstStyle/>
            <a:p>
              <a:r>
                <a:rPr lang="en-US" sz="1600" noProof="1">
                  <a:solidFill>
                    <a:schemeClr val="tx1">
                      <a:lumMod val="65000"/>
                      <a:lumOff val="35000"/>
                    </a:schemeClr>
                  </a:solidFill>
                </a:rPr>
                <a:t>Smaller, more diverse models with more reasoning capabilities is a new paradign, effectively scaling down and scaling wide. While individually they might have limited knowledge, collectively they can surpass each other as a team; and operate at different ‘thinking’ speeds.</a:t>
              </a:r>
            </a:p>
          </p:txBody>
        </p:sp>
      </p:grpSp>
      <p:sp>
        <p:nvSpPr>
          <p:cNvPr id="50" name="Shape">
            <a:extLst>
              <a:ext uri="{FF2B5EF4-FFF2-40B4-BE49-F238E27FC236}">
                <a16:creationId xmlns:a16="http://schemas.microsoft.com/office/drawing/2014/main" id="{BFAEC368-7A1A-B9DC-A369-AAAEBF1AD08C}"/>
              </a:ext>
            </a:extLst>
          </p:cNvPr>
          <p:cNvSpPr/>
          <p:nvPr/>
        </p:nvSpPr>
        <p:spPr>
          <a:xfrm>
            <a:off x="0" y="1626392"/>
            <a:ext cx="2480296" cy="1131573"/>
          </a:xfrm>
          <a:custGeom>
            <a:avLst/>
            <a:gdLst/>
            <a:ahLst/>
            <a:cxnLst>
              <a:cxn ang="0">
                <a:pos x="wd2" y="hd2"/>
              </a:cxn>
              <a:cxn ang="5400000">
                <a:pos x="wd2" y="hd2"/>
              </a:cxn>
              <a:cxn ang="10800000">
                <a:pos x="wd2" y="hd2"/>
              </a:cxn>
              <a:cxn ang="16200000">
                <a:pos x="wd2" y="hd2"/>
              </a:cxn>
            </a:cxnLst>
            <a:rect l="0" t="0" r="r" b="b"/>
            <a:pathLst>
              <a:path w="21600" h="21600" extrusionOk="0">
                <a:moveTo>
                  <a:pt x="20560" y="0"/>
                </a:moveTo>
                <a:cubicBezTo>
                  <a:pt x="20560" y="0"/>
                  <a:pt x="20560" y="0"/>
                  <a:pt x="20560" y="0"/>
                </a:cubicBezTo>
                <a:cubicBezTo>
                  <a:pt x="20173" y="921"/>
                  <a:pt x="19620" y="1527"/>
                  <a:pt x="19012" y="1527"/>
                </a:cubicBezTo>
                <a:cubicBezTo>
                  <a:pt x="18404" y="1527"/>
                  <a:pt x="17851" y="921"/>
                  <a:pt x="17475" y="0"/>
                </a:cubicBezTo>
                <a:cubicBezTo>
                  <a:pt x="17099" y="945"/>
                  <a:pt x="16546" y="1527"/>
                  <a:pt x="15937" y="1527"/>
                </a:cubicBezTo>
                <a:cubicBezTo>
                  <a:pt x="15329" y="1527"/>
                  <a:pt x="14776" y="921"/>
                  <a:pt x="14400" y="0"/>
                </a:cubicBezTo>
                <a:cubicBezTo>
                  <a:pt x="14024" y="945"/>
                  <a:pt x="13471" y="1527"/>
                  <a:pt x="12863" y="1527"/>
                </a:cubicBezTo>
                <a:cubicBezTo>
                  <a:pt x="12254" y="1527"/>
                  <a:pt x="11701" y="921"/>
                  <a:pt x="11325" y="0"/>
                </a:cubicBezTo>
                <a:cubicBezTo>
                  <a:pt x="10949" y="945"/>
                  <a:pt x="10396" y="1527"/>
                  <a:pt x="9788" y="1527"/>
                </a:cubicBezTo>
                <a:cubicBezTo>
                  <a:pt x="9169" y="1527"/>
                  <a:pt x="8627" y="921"/>
                  <a:pt x="8251" y="0"/>
                </a:cubicBezTo>
                <a:cubicBezTo>
                  <a:pt x="7875" y="945"/>
                  <a:pt x="7322" y="1527"/>
                  <a:pt x="6713" y="1527"/>
                </a:cubicBezTo>
                <a:cubicBezTo>
                  <a:pt x="6105" y="1527"/>
                  <a:pt x="5552" y="921"/>
                  <a:pt x="5176" y="0"/>
                </a:cubicBezTo>
                <a:cubicBezTo>
                  <a:pt x="4800" y="945"/>
                  <a:pt x="4247" y="1527"/>
                  <a:pt x="3639" y="1527"/>
                </a:cubicBezTo>
                <a:cubicBezTo>
                  <a:pt x="3030" y="1527"/>
                  <a:pt x="2477" y="921"/>
                  <a:pt x="2101" y="0"/>
                </a:cubicBezTo>
                <a:cubicBezTo>
                  <a:pt x="1725" y="945"/>
                  <a:pt x="1172" y="1527"/>
                  <a:pt x="564" y="1527"/>
                </a:cubicBezTo>
                <a:cubicBezTo>
                  <a:pt x="365" y="1527"/>
                  <a:pt x="177" y="1455"/>
                  <a:pt x="0" y="1358"/>
                </a:cubicBezTo>
                <a:lnTo>
                  <a:pt x="0" y="12776"/>
                </a:lnTo>
                <a:lnTo>
                  <a:pt x="0" y="21430"/>
                </a:lnTo>
                <a:cubicBezTo>
                  <a:pt x="177" y="21552"/>
                  <a:pt x="365" y="21600"/>
                  <a:pt x="564" y="21600"/>
                </a:cubicBezTo>
                <a:cubicBezTo>
                  <a:pt x="1183" y="21600"/>
                  <a:pt x="1725" y="20994"/>
                  <a:pt x="2101" y="20073"/>
                </a:cubicBezTo>
                <a:cubicBezTo>
                  <a:pt x="2477" y="21018"/>
                  <a:pt x="3030" y="21600"/>
                  <a:pt x="3639" y="21600"/>
                </a:cubicBezTo>
                <a:cubicBezTo>
                  <a:pt x="4247" y="21600"/>
                  <a:pt x="4800" y="20994"/>
                  <a:pt x="5176" y="20073"/>
                </a:cubicBezTo>
                <a:cubicBezTo>
                  <a:pt x="5552" y="21018"/>
                  <a:pt x="6105" y="21600"/>
                  <a:pt x="6713" y="21600"/>
                </a:cubicBezTo>
                <a:cubicBezTo>
                  <a:pt x="7322" y="21600"/>
                  <a:pt x="7875" y="20994"/>
                  <a:pt x="8251" y="20073"/>
                </a:cubicBezTo>
                <a:cubicBezTo>
                  <a:pt x="8627" y="21018"/>
                  <a:pt x="9180" y="21600"/>
                  <a:pt x="9788" y="21600"/>
                </a:cubicBezTo>
                <a:cubicBezTo>
                  <a:pt x="10407" y="21600"/>
                  <a:pt x="10949" y="20994"/>
                  <a:pt x="11325" y="20073"/>
                </a:cubicBezTo>
                <a:cubicBezTo>
                  <a:pt x="11701" y="21018"/>
                  <a:pt x="12254" y="21600"/>
                  <a:pt x="12863" y="21600"/>
                </a:cubicBezTo>
                <a:cubicBezTo>
                  <a:pt x="13471" y="21600"/>
                  <a:pt x="14024" y="20994"/>
                  <a:pt x="14400" y="20073"/>
                </a:cubicBezTo>
                <a:cubicBezTo>
                  <a:pt x="14776" y="21018"/>
                  <a:pt x="15329" y="21600"/>
                  <a:pt x="15937" y="21600"/>
                </a:cubicBezTo>
                <a:cubicBezTo>
                  <a:pt x="16546" y="21600"/>
                  <a:pt x="17099" y="20994"/>
                  <a:pt x="17475" y="20073"/>
                </a:cubicBezTo>
                <a:cubicBezTo>
                  <a:pt x="17851" y="21018"/>
                  <a:pt x="18404" y="21600"/>
                  <a:pt x="19012" y="21600"/>
                </a:cubicBezTo>
                <a:cubicBezTo>
                  <a:pt x="19620" y="21600"/>
                  <a:pt x="20173" y="20994"/>
                  <a:pt x="20549" y="20073"/>
                </a:cubicBezTo>
                <a:cubicBezTo>
                  <a:pt x="20549" y="20073"/>
                  <a:pt x="20549" y="20097"/>
                  <a:pt x="20560" y="20097"/>
                </a:cubicBezTo>
                <a:cubicBezTo>
                  <a:pt x="20925" y="20994"/>
                  <a:pt x="21600" y="20388"/>
                  <a:pt x="21600" y="19200"/>
                </a:cubicBezTo>
                <a:lnTo>
                  <a:pt x="21600" y="12752"/>
                </a:lnTo>
                <a:lnTo>
                  <a:pt x="21600" y="24"/>
                </a:lnTo>
                <a:lnTo>
                  <a:pt x="21456" y="24"/>
                </a:lnTo>
                <a:cubicBezTo>
                  <a:pt x="21235" y="533"/>
                  <a:pt x="20815" y="630"/>
                  <a:pt x="20560" y="0"/>
                </a:cubicBezTo>
                <a:close/>
              </a:path>
            </a:pathLst>
          </a:custGeom>
          <a:solidFill>
            <a:schemeClr val="accent3">
              <a:lumMod val="60000"/>
              <a:lumOff val="4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grpSp>
        <p:nvGrpSpPr>
          <p:cNvPr id="51" name="Group 50">
            <a:extLst>
              <a:ext uri="{FF2B5EF4-FFF2-40B4-BE49-F238E27FC236}">
                <a16:creationId xmlns:a16="http://schemas.microsoft.com/office/drawing/2014/main" id="{BA95E160-DC8E-3D16-89BB-88FD0216852B}"/>
              </a:ext>
            </a:extLst>
          </p:cNvPr>
          <p:cNvGrpSpPr/>
          <p:nvPr/>
        </p:nvGrpSpPr>
        <p:grpSpPr>
          <a:xfrm>
            <a:off x="990601" y="1143792"/>
            <a:ext cx="1875793" cy="863196"/>
            <a:chOff x="990601" y="999490"/>
            <a:chExt cx="1875793" cy="863196"/>
          </a:xfrm>
        </p:grpSpPr>
        <p:sp>
          <p:nvSpPr>
            <p:cNvPr id="52" name="Shape">
              <a:extLst>
                <a:ext uri="{FF2B5EF4-FFF2-40B4-BE49-F238E27FC236}">
                  <a16:creationId xmlns:a16="http://schemas.microsoft.com/office/drawing/2014/main" id="{6F753CE7-C860-E5D2-BD32-90366E48349A}"/>
                </a:ext>
              </a:extLst>
            </p:cNvPr>
            <p:cNvSpPr/>
            <p:nvPr/>
          </p:nvSpPr>
          <p:spPr>
            <a:xfrm>
              <a:off x="1447801" y="1050290"/>
              <a:ext cx="176508" cy="217173"/>
            </a:xfrm>
            <a:custGeom>
              <a:avLst/>
              <a:gdLst/>
              <a:ahLst/>
              <a:cxnLst>
                <a:cxn ang="0">
                  <a:pos x="wd2" y="hd2"/>
                </a:cxn>
                <a:cxn ang="5400000">
                  <a:pos x="wd2" y="hd2"/>
                </a:cxn>
                <a:cxn ang="10800000">
                  <a:pos x="wd2" y="hd2"/>
                </a:cxn>
                <a:cxn ang="16200000">
                  <a:pos x="wd2" y="hd2"/>
                </a:cxn>
              </a:cxnLst>
              <a:rect l="0" t="0" r="r" b="b"/>
              <a:pathLst>
                <a:path w="20284" h="21600" extrusionOk="0">
                  <a:moveTo>
                    <a:pt x="19703" y="2021"/>
                  </a:moveTo>
                  <a:cubicBezTo>
                    <a:pt x="19557" y="1263"/>
                    <a:pt x="19411" y="632"/>
                    <a:pt x="19119" y="0"/>
                  </a:cubicBezTo>
                  <a:lnTo>
                    <a:pt x="0" y="0"/>
                  </a:lnTo>
                  <a:cubicBezTo>
                    <a:pt x="146" y="632"/>
                    <a:pt x="146" y="1390"/>
                    <a:pt x="438" y="2021"/>
                  </a:cubicBezTo>
                  <a:cubicBezTo>
                    <a:pt x="876" y="3789"/>
                    <a:pt x="1459" y="5558"/>
                    <a:pt x="2335" y="7074"/>
                  </a:cubicBezTo>
                  <a:lnTo>
                    <a:pt x="730" y="20463"/>
                  </a:lnTo>
                  <a:lnTo>
                    <a:pt x="12551" y="21600"/>
                  </a:lnTo>
                  <a:lnTo>
                    <a:pt x="12843" y="15916"/>
                  </a:lnTo>
                  <a:cubicBezTo>
                    <a:pt x="12989" y="15916"/>
                    <a:pt x="13135" y="15916"/>
                    <a:pt x="13427" y="15916"/>
                  </a:cubicBezTo>
                  <a:cubicBezTo>
                    <a:pt x="18681" y="16169"/>
                    <a:pt x="21600" y="9853"/>
                    <a:pt x="19703" y="2021"/>
                  </a:cubicBezTo>
                  <a:close/>
                </a:path>
              </a:pathLst>
            </a:custGeom>
            <a:solidFill>
              <a:schemeClr val="accent2">
                <a:lumMod val="40000"/>
                <a:lumOff val="6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53" name="Shape">
              <a:extLst>
                <a:ext uri="{FF2B5EF4-FFF2-40B4-BE49-F238E27FC236}">
                  <a16:creationId xmlns:a16="http://schemas.microsoft.com/office/drawing/2014/main" id="{AAB4A854-22FC-D29A-0431-B0A716C9C412}"/>
                </a:ext>
              </a:extLst>
            </p:cNvPr>
            <p:cNvSpPr/>
            <p:nvPr/>
          </p:nvSpPr>
          <p:spPr>
            <a:xfrm>
              <a:off x="1435100" y="999490"/>
              <a:ext cx="207481" cy="194445"/>
            </a:xfrm>
            <a:custGeom>
              <a:avLst/>
              <a:gdLst/>
              <a:ahLst/>
              <a:cxnLst>
                <a:cxn ang="0">
                  <a:pos x="wd2" y="hd2"/>
                </a:cxn>
                <a:cxn ang="5400000">
                  <a:pos x="wd2" y="hd2"/>
                </a:cxn>
                <a:cxn ang="10800000">
                  <a:pos x="wd2" y="hd2"/>
                </a:cxn>
                <a:cxn ang="16200000">
                  <a:pos x="wd2" y="hd2"/>
                </a:cxn>
              </a:cxnLst>
              <a:rect l="0" t="0" r="r" b="b"/>
              <a:pathLst>
                <a:path w="20398" h="21199" extrusionOk="0">
                  <a:moveTo>
                    <a:pt x="16275" y="14"/>
                  </a:moveTo>
                  <a:cubicBezTo>
                    <a:pt x="16275" y="14"/>
                    <a:pt x="16899" y="568"/>
                    <a:pt x="16774" y="845"/>
                  </a:cubicBezTo>
                  <a:cubicBezTo>
                    <a:pt x="16649" y="1261"/>
                    <a:pt x="15526" y="568"/>
                    <a:pt x="15526" y="568"/>
                  </a:cubicBezTo>
                  <a:cubicBezTo>
                    <a:pt x="15526" y="568"/>
                    <a:pt x="15651" y="1122"/>
                    <a:pt x="15151" y="1261"/>
                  </a:cubicBezTo>
                  <a:cubicBezTo>
                    <a:pt x="14651" y="1399"/>
                    <a:pt x="5288" y="1538"/>
                    <a:pt x="3664" y="2922"/>
                  </a:cubicBezTo>
                  <a:cubicBezTo>
                    <a:pt x="1791" y="4307"/>
                    <a:pt x="668" y="5968"/>
                    <a:pt x="668" y="7353"/>
                  </a:cubicBezTo>
                  <a:cubicBezTo>
                    <a:pt x="-1080" y="9291"/>
                    <a:pt x="918" y="15661"/>
                    <a:pt x="3040" y="21199"/>
                  </a:cubicBezTo>
                  <a:cubicBezTo>
                    <a:pt x="4164" y="20368"/>
                    <a:pt x="5412" y="19676"/>
                    <a:pt x="6536" y="18845"/>
                  </a:cubicBezTo>
                  <a:cubicBezTo>
                    <a:pt x="6661" y="18153"/>
                    <a:pt x="6661" y="17461"/>
                    <a:pt x="6786" y="16768"/>
                  </a:cubicBezTo>
                  <a:cubicBezTo>
                    <a:pt x="6036" y="16215"/>
                    <a:pt x="5537" y="15245"/>
                    <a:pt x="5288" y="13999"/>
                  </a:cubicBezTo>
                  <a:cubicBezTo>
                    <a:pt x="5038" y="12338"/>
                    <a:pt x="5662" y="10814"/>
                    <a:pt x="6786" y="10814"/>
                  </a:cubicBezTo>
                  <a:cubicBezTo>
                    <a:pt x="7660" y="10814"/>
                    <a:pt x="8534" y="11784"/>
                    <a:pt x="8908" y="13030"/>
                  </a:cubicBezTo>
                  <a:cubicBezTo>
                    <a:pt x="10282" y="12061"/>
                    <a:pt x="11655" y="10953"/>
                    <a:pt x="13029" y="9984"/>
                  </a:cubicBezTo>
                  <a:cubicBezTo>
                    <a:pt x="12529" y="9984"/>
                    <a:pt x="12155" y="9845"/>
                    <a:pt x="11655" y="9845"/>
                  </a:cubicBezTo>
                  <a:cubicBezTo>
                    <a:pt x="14027" y="9430"/>
                    <a:pt x="16400" y="8461"/>
                    <a:pt x="18397" y="7353"/>
                  </a:cubicBezTo>
                  <a:cubicBezTo>
                    <a:pt x="18397" y="7353"/>
                    <a:pt x="20270" y="6799"/>
                    <a:pt x="20395" y="3199"/>
                  </a:cubicBezTo>
                  <a:cubicBezTo>
                    <a:pt x="20520" y="-401"/>
                    <a:pt x="16275" y="14"/>
                    <a:pt x="16275" y="14"/>
                  </a:cubicBezTo>
                  <a:close/>
                </a:path>
              </a:pathLst>
            </a:custGeom>
            <a:solidFill>
              <a:schemeClr val="tx1"/>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54" name="Shape">
              <a:extLst>
                <a:ext uri="{FF2B5EF4-FFF2-40B4-BE49-F238E27FC236}">
                  <a16:creationId xmlns:a16="http://schemas.microsoft.com/office/drawing/2014/main" id="{6C4B1705-B1F4-EE12-5D0A-11CAA23EAAC0}"/>
                </a:ext>
              </a:extLst>
            </p:cNvPr>
            <p:cNvSpPr/>
            <p:nvPr/>
          </p:nvSpPr>
          <p:spPr>
            <a:xfrm>
              <a:off x="1460501" y="1228091"/>
              <a:ext cx="344172" cy="436331"/>
            </a:xfrm>
            <a:custGeom>
              <a:avLst/>
              <a:gdLst/>
              <a:ahLst/>
              <a:cxnLst>
                <a:cxn ang="0">
                  <a:pos x="wd2" y="hd2"/>
                </a:cxn>
                <a:cxn ang="5400000">
                  <a:pos x="wd2" y="hd2"/>
                </a:cxn>
                <a:cxn ang="10800000">
                  <a:pos x="wd2" y="hd2"/>
                </a:cxn>
                <a:cxn ang="16200000">
                  <a:pos x="wd2" y="hd2"/>
                </a:cxn>
              </a:cxnLst>
              <a:rect l="0" t="0" r="r" b="b"/>
              <a:pathLst>
                <a:path w="21600" h="20846" extrusionOk="0">
                  <a:moveTo>
                    <a:pt x="1196" y="20846"/>
                  </a:moveTo>
                  <a:lnTo>
                    <a:pt x="0" y="1370"/>
                  </a:lnTo>
                  <a:lnTo>
                    <a:pt x="6616" y="95"/>
                  </a:lnTo>
                  <a:cubicBezTo>
                    <a:pt x="10840" y="-754"/>
                    <a:pt x="16738" y="4282"/>
                    <a:pt x="18173" y="7680"/>
                  </a:cubicBezTo>
                  <a:lnTo>
                    <a:pt x="21600" y="15628"/>
                  </a:lnTo>
                  <a:lnTo>
                    <a:pt x="1196" y="20846"/>
                  </a:lnTo>
                  <a:close/>
                </a:path>
              </a:pathLst>
            </a:custGeom>
            <a:solidFill>
              <a:schemeClr val="accent2"/>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55" name="Shape">
              <a:extLst>
                <a:ext uri="{FF2B5EF4-FFF2-40B4-BE49-F238E27FC236}">
                  <a16:creationId xmlns:a16="http://schemas.microsoft.com/office/drawing/2014/main" id="{7B440F94-F85E-5A31-70C1-2E9887A87F19}"/>
                </a:ext>
              </a:extLst>
            </p:cNvPr>
            <p:cNvSpPr/>
            <p:nvPr/>
          </p:nvSpPr>
          <p:spPr>
            <a:xfrm>
              <a:off x="990601" y="1431290"/>
              <a:ext cx="1875793" cy="389892"/>
            </a:xfrm>
            <a:custGeom>
              <a:avLst/>
              <a:gdLst/>
              <a:ahLst/>
              <a:cxnLst>
                <a:cxn ang="0">
                  <a:pos x="wd2" y="hd2"/>
                </a:cxn>
                <a:cxn ang="5400000">
                  <a:pos x="wd2" y="hd2"/>
                </a:cxn>
                <a:cxn ang="10800000">
                  <a:pos x="wd2" y="hd2"/>
                </a:cxn>
                <a:cxn ang="16200000">
                  <a:pos x="wd2" y="hd2"/>
                </a:cxn>
              </a:cxnLst>
              <a:rect l="0" t="0" r="r" b="b"/>
              <a:pathLst>
                <a:path w="21600" h="21600" extrusionOk="0">
                  <a:moveTo>
                    <a:pt x="1579" y="21600"/>
                  </a:moveTo>
                  <a:lnTo>
                    <a:pt x="17110" y="21600"/>
                  </a:lnTo>
                  <a:lnTo>
                    <a:pt x="21600" y="0"/>
                  </a:lnTo>
                  <a:lnTo>
                    <a:pt x="0" y="10835"/>
                  </a:lnTo>
                  <a:close/>
                </a:path>
              </a:pathLst>
            </a:custGeom>
            <a:solidFill>
              <a:schemeClr val="bg2">
                <a:lumMod val="5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56" name="Shape">
              <a:extLst>
                <a:ext uri="{FF2B5EF4-FFF2-40B4-BE49-F238E27FC236}">
                  <a16:creationId xmlns:a16="http://schemas.microsoft.com/office/drawing/2014/main" id="{251FEE5A-75F2-5A08-9952-7FA77CD177CC}"/>
                </a:ext>
              </a:extLst>
            </p:cNvPr>
            <p:cNvSpPr/>
            <p:nvPr/>
          </p:nvSpPr>
          <p:spPr>
            <a:xfrm>
              <a:off x="1066801" y="1659891"/>
              <a:ext cx="1565912" cy="161291"/>
            </a:xfrm>
            <a:custGeom>
              <a:avLst/>
              <a:gdLst/>
              <a:ahLst/>
              <a:cxnLst>
                <a:cxn ang="0">
                  <a:pos x="wd2" y="hd2"/>
                </a:cxn>
                <a:cxn ang="5400000">
                  <a:pos x="wd2" y="hd2"/>
                </a:cxn>
                <a:cxn ang="10800000">
                  <a:pos x="wd2" y="hd2"/>
                </a:cxn>
                <a:cxn ang="16200000">
                  <a:pos x="wd2" y="hd2"/>
                </a:cxn>
              </a:cxnLst>
              <a:rect l="0" t="0" r="r" b="b"/>
              <a:pathLst>
                <a:path w="21600" h="21600" extrusionOk="0">
                  <a:moveTo>
                    <a:pt x="771" y="21600"/>
                  </a:moveTo>
                  <a:lnTo>
                    <a:pt x="19375" y="21600"/>
                  </a:lnTo>
                  <a:lnTo>
                    <a:pt x="21600" y="0"/>
                  </a:lnTo>
                  <a:lnTo>
                    <a:pt x="0" y="10885"/>
                  </a:lnTo>
                  <a:close/>
                </a:path>
              </a:pathLst>
            </a:custGeom>
            <a:solidFill>
              <a:schemeClr val="bg2">
                <a:lumMod val="1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57" name="Shape">
              <a:extLst>
                <a:ext uri="{FF2B5EF4-FFF2-40B4-BE49-F238E27FC236}">
                  <a16:creationId xmlns:a16="http://schemas.microsoft.com/office/drawing/2014/main" id="{59D7C1B0-C6DC-AD7E-DAFC-E1B6B09879BF}"/>
                </a:ext>
              </a:extLst>
            </p:cNvPr>
            <p:cNvSpPr/>
            <p:nvPr/>
          </p:nvSpPr>
          <p:spPr>
            <a:xfrm>
              <a:off x="2044701" y="1316990"/>
              <a:ext cx="141916" cy="93067"/>
            </a:xfrm>
            <a:custGeom>
              <a:avLst/>
              <a:gdLst/>
              <a:ahLst/>
              <a:cxnLst>
                <a:cxn ang="0">
                  <a:pos x="wd2" y="hd2"/>
                </a:cxn>
                <a:cxn ang="5400000">
                  <a:pos x="wd2" y="hd2"/>
                </a:cxn>
                <a:cxn ang="10800000">
                  <a:pos x="wd2" y="hd2"/>
                </a:cxn>
                <a:cxn ang="16200000">
                  <a:pos x="wd2" y="hd2"/>
                </a:cxn>
              </a:cxnLst>
              <a:rect l="0" t="0" r="r" b="b"/>
              <a:pathLst>
                <a:path w="21360" h="20037" extrusionOk="0">
                  <a:moveTo>
                    <a:pt x="19497" y="5615"/>
                  </a:moveTo>
                  <a:lnTo>
                    <a:pt x="20644" y="8349"/>
                  </a:lnTo>
                  <a:cubicBezTo>
                    <a:pt x="21409" y="9990"/>
                    <a:pt x="21600" y="11904"/>
                    <a:pt x="21026" y="13544"/>
                  </a:cubicBezTo>
                  <a:cubicBezTo>
                    <a:pt x="20644" y="15458"/>
                    <a:pt x="19689" y="16552"/>
                    <a:pt x="18351" y="17372"/>
                  </a:cubicBezTo>
                  <a:lnTo>
                    <a:pt x="13190" y="19832"/>
                  </a:lnTo>
                  <a:cubicBezTo>
                    <a:pt x="11852" y="20379"/>
                    <a:pt x="10322" y="19832"/>
                    <a:pt x="9558" y="18191"/>
                  </a:cubicBezTo>
                  <a:lnTo>
                    <a:pt x="9367" y="17645"/>
                  </a:lnTo>
                  <a:lnTo>
                    <a:pt x="8029" y="17645"/>
                  </a:lnTo>
                  <a:cubicBezTo>
                    <a:pt x="6499" y="17645"/>
                    <a:pt x="5161" y="16824"/>
                    <a:pt x="4014" y="15457"/>
                  </a:cubicBezTo>
                  <a:lnTo>
                    <a:pt x="3441" y="14910"/>
                  </a:lnTo>
                  <a:lnTo>
                    <a:pt x="0" y="14090"/>
                  </a:lnTo>
                  <a:lnTo>
                    <a:pt x="0" y="4794"/>
                  </a:lnTo>
                  <a:lnTo>
                    <a:pt x="9366" y="692"/>
                  </a:lnTo>
                  <a:cubicBezTo>
                    <a:pt x="13380" y="-1221"/>
                    <a:pt x="17394" y="967"/>
                    <a:pt x="19497" y="5615"/>
                  </a:cubicBezTo>
                  <a:close/>
                </a:path>
              </a:pathLst>
            </a:custGeom>
            <a:solidFill>
              <a:schemeClr val="accent2">
                <a:lumMod val="40000"/>
                <a:lumOff val="6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58" name="Shape">
              <a:extLst>
                <a:ext uri="{FF2B5EF4-FFF2-40B4-BE49-F238E27FC236}">
                  <a16:creationId xmlns:a16="http://schemas.microsoft.com/office/drawing/2014/main" id="{38F87DDD-9D80-DB56-18B1-DAB7DD48D23A}"/>
                </a:ext>
              </a:extLst>
            </p:cNvPr>
            <p:cNvSpPr/>
            <p:nvPr/>
          </p:nvSpPr>
          <p:spPr>
            <a:xfrm>
              <a:off x="1524000" y="1278891"/>
              <a:ext cx="535291" cy="166945"/>
            </a:xfrm>
            <a:custGeom>
              <a:avLst/>
              <a:gdLst/>
              <a:ahLst/>
              <a:cxnLst>
                <a:cxn ang="0">
                  <a:pos x="wd2" y="hd2"/>
                </a:cxn>
                <a:cxn ang="5400000">
                  <a:pos x="wd2" y="hd2"/>
                </a:cxn>
                <a:cxn ang="10800000">
                  <a:pos x="wd2" y="hd2"/>
                </a:cxn>
                <a:cxn ang="16200000">
                  <a:pos x="wd2" y="hd2"/>
                </a:cxn>
              </a:cxnLst>
              <a:rect l="0" t="0" r="r" b="b"/>
              <a:pathLst>
                <a:path w="20187" h="18558" extrusionOk="0">
                  <a:moveTo>
                    <a:pt x="2662" y="336"/>
                  </a:moveTo>
                  <a:lnTo>
                    <a:pt x="10421" y="7677"/>
                  </a:lnTo>
                  <a:lnTo>
                    <a:pt x="19185" y="5135"/>
                  </a:lnTo>
                  <a:cubicBezTo>
                    <a:pt x="20047" y="4853"/>
                    <a:pt x="20622" y="12053"/>
                    <a:pt x="19760" y="12618"/>
                  </a:cubicBezTo>
                  <a:lnTo>
                    <a:pt x="13390" y="17136"/>
                  </a:lnTo>
                  <a:cubicBezTo>
                    <a:pt x="11331" y="18547"/>
                    <a:pt x="9463" y="18971"/>
                    <a:pt x="7355" y="18124"/>
                  </a:cubicBezTo>
                  <a:lnTo>
                    <a:pt x="1943" y="16147"/>
                  </a:lnTo>
                  <a:cubicBezTo>
                    <a:pt x="-978" y="15018"/>
                    <a:pt x="-499" y="-2629"/>
                    <a:pt x="2662" y="336"/>
                  </a:cubicBezTo>
                  <a:close/>
                </a:path>
              </a:pathLst>
            </a:custGeom>
            <a:solidFill>
              <a:schemeClr val="accent4"/>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sp>
          <p:nvSpPr>
            <p:cNvPr id="59" name="Shape">
              <a:extLst>
                <a:ext uri="{FF2B5EF4-FFF2-40B4-BE49-F238E27FC236}">
                  <a16:creationId xmlns:a16="http://schemas.microsoft.com/office/drawing/2014/main" id="{58322A62-F277-669E-FC17-17737E67526F}"/>
                </a:ext>
              </a:extLst>
            </p:cNvPr>
            <p:cNvSpPr/>
            <p:nvPr/>
          </p:nvSpPr>
          <p:spPr>
            <a:xfrm>
              <a:off x="1257300" y="1380490"/>
              <a:ext cx="848855" cy="482196"/>
            </a:xfrm>
            <a:custGeom>
              <a:avLst/>
              <a:gdLst/>
              <a:ahLst/>
              <a:cxnLst>
                <a:cxn ang="0">
                  <a:pos x="wd2" y="hd2"/>
                </a:cxn>
                <a:cxn ang="5400000">
                  <a:pos x="wd2" y="hd2"/>
                </a:cxn>
                <a:cxn ang="10800000">
                  <a:pos x="wd2" y="hd2"/>
                </a:cxn>
                <a:cxn ang="16200000">
                  <a:pos x="wd2" y="hd2"/>
                </a:cxn>
              </a:cxnLst>
              <a:rect l="0" t="0" r="r" b="b"/>
              <a:pathLst>
                <a:path w="21420" h="21357" extrusionOk="0">
                  <a:moveTo>
                    <a:pt x="21344" y="1388"/>
                  </a:moveTo>
                  <a:lnTo>
                    <a:pt x="1795" y="21357"/>
                  </a:lnTo>
                  <a:lnTo>
                    <a:pt x="0" y="21357"/>
                  </a:lnTo>
                  <a:lnTo>
                    <a:pt x="20895" y="38"/>
                  </a:lnTo>
                  <a:cubicBezTo>
                    <a:pt x="21151" y="-243"/>
                    <a:pt x="21600" y="1107"/>
                    <a:pt x="21344" y="1388"/>
                  </a:cubicBezTo>
                  <a:close/>
                </a:path>
              </a:pathLst>
            </a:custGeom>
            <a:solidFill>
              <a:schemeClr val="accent2">
                <a:lumMod val="60000"/>
                <a:lumOff val="40000"/>
              </a:schemeClr>
            </a:solidFill>
            <a:ln w="12700">
              <a:miter lim="400000"/>
            </a:ln>
          </p:spPr>
          <p:txBody>
            <a:bodyPr lIns="38100" tIns="38100" rIns="38100" bIns="38100" anchor="ctr"/>
            <a:lstStyle/>
            <a:p>
              <a:pPr>
                <a:defRPr sz="3000">
                  <a:solidFill>
                    <a:srgbClr val="FFFFFF"/>
                  </a:solidFill>
                </a:defRPr>
              </a:pPr>
              <a:endParaRPr sz="1400">
                <a:solidFill>
                  <a:schemeClr val="tx2"/>
                </a:solidFill>
              </a:endParaRPr>
            </a:p>
          </p:txBody>
        </p:sp>
      </p:grpSp>
      <p:sp>
        <p:nvSpPr>
          <p:cNvPr id="60" name="TextBox 59">
            <a:extLst>
              <a:ext uri="{FF2B5EF4-FFF2-40B4-BE49-F238E27FC236}">
                <a16:creationId xmlns:a16="http://schemas.microsoft.com/office/drawing/2014/main" id="{F344FC4B-D455-AE12-B1F7-8CACF41FF42A}"/>
              </a:ext>
            </a:extLst>
          </p:cNvPr>
          <p:cNvSpPr txBox="1"/>
          <p:nvPr/>
        </p:nvSpPr>
        <p:spPr>
          <a:xfrm>
            <a:off x="378903" y="2032582"/>
            <a:ext cx="1832760" cy="738664"/>
          </a:xfrm>
          <a:prstGeom prst="rect">
            <a:avLst/>
          </a:prstGeom>
          <a:noFill/>
        </p:spPr>
        <p:txBody>
          <a:bodyPr wrap="square" lIns="0" rIns="0" rtlCol="0" anchor="t">
            <a:spAutoFit/>
          </a:bodyPr>
          <a:lstStyle/>
          <a:p>
            <a:pPr>
              <a:spcAft>
                <a:spcPts val="1200"/>
              </a:spcAft>
            </a:pPr>
            <a:r>
              <a:rPr lang="en-US" sz="1400" noProof="1">
                <a:solidFill>
                  <a:schemeClr val="tx1">
                    <a:lumMod val="65000"/>
                    <a:lumOff val="35000"/>
                  </a:schemeClr>
                </a:solidFill>
              </a:rPr>
              <a:t>Reasoning in an individual AI system is powerful.</a:t>
            </a:r>
          </a:p>
        </p:txBody>
      </p:sp>
      <p:grpSp>
        <p:nvGrpSpPr>
          <p:cNvPr id="61" name="Group 60">
            <a:extLst>
              <a:ext uri="{FF2B5EF4-FFF2-40B4-BE49-F238E27FC236}">
                <a16:creationId xmlns:a16="http://schemas.microsoft.com/office/drawing/2014/main" id="{17694621-048D-3925-AEEC-5B9BB214D9D6}"/>
              </a:ext>
            </a:extLst>
          </p:cNvPr>
          <p:cNvGrpSpPr/>
          <p:nvPr/>
        </p:nvGrpSpPr>
        <p:grpSpPr>
          <a:xfrm>
            <a:off x="3215006" y="529105"/>
            <a:ext cx="5233033" cy="1905706"/>
            <a:chOff x="8921977" y="851172"/>
            <a:chExt cx="2926080" cy="1905706"/>
          </a:xfrm>
        </p:grpSpPr>
        <p:sp>
          <p:nvSpPr>
            <p:cNvPr id="62" name="TextBox 61">
              <a:extLst>
                <a:ext uri="{FF2B5EF4-FFF2-40B4-BE49-F238E27FC236}">
                  <a16:creationId xmlns:a16="http://schemas.microsoft.com/office/drawing/2014/main" id="{B3B3619D-3CD9-D15B-C383-4E702B189201}"/>
                </a:ext>
              </a:extLst>
            </p:cNvPr>
            <p:cNvSpPr txBox="1"/>
            <p:nvPr/>
          </p:nvSpPr>
          <p:spPr>
            <a:xfrm>
              <a:off x="8921977" y="851172"/>
              <a:ext cx="2926080" cy="1077218"/>
            </a:xfrm>
            <a:prstGeom prst="rect">
              <a:avLst/>
            </a:prstGeom>
            <a:noFill/>
          </p:spPr>
          <p:txBody>
            <a:bodyPr wrap="square" lIns="0" rIns="0" rtlCol="0" anchor="b">
              <a:spAutoFit/>
            </a:bodyPr>
            <a:lstStyle/>
            <a:p>
              <a:r>
                <a:rPr lang="en-US" sz="3200" b="1" noProof="1">
                  <a:solidFill>
                    <a:schemeClr val="accent2"/>
                  </a:solidFill>
                </a:rPr>
                <a:t>Single Reasoner</a:t>
              </a:r>
            </a:p>
          </p:txBody>
        </p:sp>
        <p:sp>
          <p:nvSpPr>
            <p:cNvPr id="63" name="TextBox 62">
              <a:extLst>
                <a:ext uri="{FF2B5EF4-FFF2-40B4-BE49-F238E27FC236}">
                  <a16:creationId xmlns:a16="http://schemas.microsoft.com/office/drawing/2014/main" id="{DB3EF33F-A51D-017F-0B54-BB4EC474C7B2}"/>
                </a:ext>
              </a:extLst>
            </p:cNvPr>
            <p:cNvSpPr txBox="1"/>
            <p:nvPr/>
          </p:nvSpPr>
          <p:spPr>
            <a:xfrm>
              <a:off x="8921977" y="1925881"/>
              <a:ext cx="2926080" cy="830997"/>
            </a:xfrm>
            <a:prstGeom prst="rect">
              <a:avLst/>
            </a:prstGeom>
            <a:noFill/>
          </p:spPr>
          <p:txBody>
            <a:bodyPr wrap="square" lIns="0" rIns="0" rtlCol="0" anchor="t">
              <a:spAutoFit/>
            </a:bodyPr>
            <a:lstStyle/>
            <a:p>
              <a:r>
                <a:rPr lang="en-US" sz="1600" noProof="1">
                  <a:solidFill>
                    <a:schemeClr val="tx1">
                      <a:lumMod val="65000"/>
                      <a:lumOff val="35000"/>
                    </a:schemeClr>
                  </a:solidFill>
                </a:rPr>
                <a:t>Scale test time compute and provide prompts that elicit thinking like, “What factors might make this recommendation unreliable?</a:t>
              </a:r>
            </a:p>
          </p:txBody>
        </p:sp>
      </p:grpSp>
      <p:sp>
        <p:nvSpPr>
          <p:cNvPr id="64" name="TextBox 63">
            <a:extLst>
              <a:ext uri="{FF2B5EF4-FFF2-40B4-BE49-F238E27FC236}">
                <a16:creationId xmlns:a16="http://schemas.microsoft.com/office/drawing/2014/main" id="{0FAC5F33-558D-4BC7-D46E-82A66CEA9FEE}"/>
              </a:ext>
            </a:extLst>
          </p:cNvPr>
          <p:cNvSpPr txBox="1"/>
          <p:nvPr/>
        </p:nvSpPr>
        <p:spPr>
          <a:xfrm>
            <a:off x="345464" y="6503782"/>
            <a:ext cx="7049750" cy="276999"/>
          </a:xfrm>
          <a:prstGeom prst="rect">
            <a:avLst/>
          </a:prstGeom>
          <a:noFill/>
        </p:spPr>
        <p:txBody>
          <a:bodyPr wrap="none" rtlCol="0">
            <a:spAutoFit/>
          </a:bodyPr>
          <a:lstStyle/>
          <a:p>
            <a:r>
              <a:rPr lang="en-US" sz="1200" dirty="0">
                <a:hlinkClick r:id="rId2"/>
              </a:rPr>
              <a:t>https://arxiv.org/pdf/2305.14325</a:t>
            </a:r>
            <a:r>
              <a:rPr lang="en-US" sz="1200" dirty="0"/>
              <a:t>, </a:t>
            </a:r>
            <a:r>
              <a:rPr lang="en-US" sz="1200" dirty="0">
                <a:hlinkClick r:id="rId3"/>
              </a:rPr>
              <a:t>https://arxiv.org/pdf/2312.04854</a:t>
            </a:r>
            <a:r>
              <a:rPr lang="en-US" sz="1200" dirty="0"/>
              <a:t>; </a:t>
            </a:r>
            <a:r>
              <a:rPr lang="en-US" sz="1200" dirty="0">
                <a:hlinkClick r:id="rId4"/>
              </a:rPr>
              <a:t>https://arxiv.org/pdf/2408.03314v1</a:t>
            </a:r>
            <a:r>
              <a:rPr lang="en-US" sz="1200" dirty="0"/>
              <a:t>; </a:t>
            </a:r>
          </a:p>
        </p:txBody>
      </p:sp>
    </p:spTree>
    <p:extLst>
      <p:ext uri="{BB962C8B-B14F-4D97-AF65-F5344CB8AC3E}">
        <p14:creationId xmlns:p14="http://schemas.microsoft.com/office/powerpoint/2010/main" val="11127817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8CD4A9-E419-894C-2841-6DEAC86083B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51A3DEF-1756-38D7-4234-21D38D333E77}"/>
              </a:ext>
            </a:extLst>
          </p:cNvPr>
          <p:cNvSpPr>
            <a:spLocks noGrp="1"/>
          </p:cNvSpPr>
          <p:nvPr>
            <p:ph type="title"/>
          </p:nvPr>
        </p:nvSpPr>
        <p:spPr/>
        <p:txBody>
          <a:bodyPr/>
          <a:lstStyle/>
          <a:p>
            <a:r>
              <a:rPr lang="en-US" dirty="0"/>
              <a:t>Emergence of Collective Intelligence</a:t>
            </a:r>
          </a:p>
        </p:txBody>
      </p:sp>
      <p:grpSp>
        <p:nvGrpSpPr>
          <p:cNvPr id="2" name="Group 1">
            <a:extLst>
              <a:ext uri="{FF2B5EF4-FFF2-40B4-BE49-F238E27FC236}">
                <a16:creationId xmlns:a16="http://schemas.microsoft.com/office/drawing/2014/main" id="{3128BE2E-9BAD-798D-40F2-656E89E962CB}"/>
              </a:ext>
            </a:extLst>
          </p:cNvPr>
          <p:cNvGrpSpPr/>
          <p:nvPr/>
        </p:nvGrpSpPr>
        <p:grpSpPr>
          <a:xfrm>
            <a:off x="3646246" y="1186185"/>
            <a:ext cx="4911413" cy="4902793"/>
            <a:chOff x="7972231" y="942132"/>
            <a:chExt cx="2405252" cy="2401030"/>
          </a:xfrm>
        </p:grpSpPr>
        <p:sp>
          <p:nvSpPr>
            <p:cNvPr id="5" name="Shape">
              <a:extLst>
                <a:ext uri="{FF2B5EF4-FFF2-40B4-BE49-F238E27FC236}">
                  <a16:creationId xmlns:a16="http://schemas.microsoft.com/office/drawing/2014/main" id="{9CB0FC4B-6F70-77AB-BE31-EE58E966AFC9}"/>
                </a:ext>
              </a:extLst>
            </p:cNvPr>
            <p:cNvSpPr/>
            <p:nvPr/>
          </p:nvSpPr>
          <p:spPr>
            <a:xfrm>
              <a:off x="7972231" y="942132"/>
              <a:ext cx="2348231" cy="2397080"/>
            </a:xfrm>
            <a:custGeom>
              <a:avLst/>
              <a:gdLst/>
              <a:ahLst/>
              <a:cxnLst>
                <a:cxn ang="0">
                  <a:pos x="wd2" y="hd2"/>
                </a:cxn>
                <a:cxn ang="5400000">
                  <a:pos x="wd2" y="hd2"/>
                </a:cxn>
                <a:cxn ang="10800000">
                  <a:pos x="wd2" y="hd2"/>
                </a:cxn>
                <a:cxn ang="16200000">
                  <a:pos x="wd2" y="hd2"/>
                </a:cxn>
              </a:cxnLst>
              <a:rect l="0" t="0" r="r" b="b"/>
              <a:pathLst>
                <a:path w="21600" h="21548" extrusionOk="0">
                  <a:moveTo>
                    <a:pt x="21600" y="18249"/>
                  </a:moveTo>
                  <a:lnTo>
                    <a:pt x="21530" y="17084"/>
                  </a:lnTo>
                  <a:lnTo>
                    <a:pt x="18995" y="15840"/>
                  </a:lnTo>
                  <a:cubicBezTo>
                    <a:pt x="19357" y="15703"/>
                    <a:pt x="19579" y="15383"/>
                    <a:pt x="19556" y="14972"/>
                  </a:cubicBezTo>
                  <a:cubicBezTo>
                    <a:pt x="19521" y="14413"/>
                    <a:pt x="18995" y="13910"/>
                    <a:pt x="18387" y="13865"/>
                  </a:cubicBezTo>
                  <a:cubicBezTo>
                    <a:pt x="17780" y="13808"/>
                    <a:pt x="17324" y="14230"/>
                    <a:pt x="17359" y="14789"/>
                  </a:cubicBezTo>
                  <a:cubicBezTo>
                    <a:pt x="17394" y="15223"/>
                    <a:pt x="17710" y="15623"/>
                    <a:pt x="18142" y="15806"/>
                  </a:cubicBezTo>
                  <a:lnTo>
                    <a:pt x="16705" y="15840"/>
                  </a:lnTo>
                  <a:lnTo>
                    <a:pt x="16495" y="13956"/>
                  </a:lnTo>
                  <a:lnTo>
                    <a:pt x="14427" y="9926"/>
                  </a:lnTo>
                  <a:lnTo>
                    <a:pt x="16623" y="10931"/>
                  </a:lnTo>
                  <a:lnTo>
                    <a:pt x="16366" y="9926"/>
                  </a:lnTo>
                  <a:lnTo>
                    <a:pt x="13598" y="8739"/>
                  </a:lnTo>
                  <a:cubicBezTo>
                    <a:pt x="13843" y="8579"/>
                    <a:pt x="13995" y="8293"/>
                    <a:pt x="13972" y="7962"/>
                  </a:cubicBezTo>
                  <a:cubicBezTo>
                    <a:pt x="13937" y="7392"/>
                    <a:pt x="13411" y="6889"/>
                    <a:pt x="12803" y="6832"/>
                  </a:cubicBezTo>
                  <a:cubicBezTo>
                    <a:pt x="12196" y="6775"/>
                    <a:pt x="11740" y="7186"/>
                    <a:pt x="11775" y="7757"/>
                  </a:cubicBezTo>
                  <a:cubicBezTo>
                    <a:pt x="11799" y="8145"/>
                    <a:pt x="12044" y="8488"/>
                    <a:pt x="12395" y="8704"/>
                  </a:cubicBezTo>
                  <a:lnTo>
                    <a:pt x="11238" y="8704"/>
                  </a:lnTo>
                  <a:lnTo>
                    <a:pt x="10981" y="7437"/>
                  </a:lnTo>
                  <a:lnTo>
                    <a:pt x="9661" y="3167"/>
                  </a:lnTo>
                  <a:lnTo>
                    <a:pt x="11624" y="4263"/>
                  </a:lnTo>
                  <a:lnTo>
                    <a:pt x="11565" y="3133"/>
                  </a:lnTo>
                  <a:lnTo>
                    <a:pt x="9170" y="1946"/>
                  </a:lnTo>
                  <a:cubicBezTo>
                    <a:pt x="9451" y="1786"/>
                    <a:pt x="9614" y="1501"/>
                    <a:pt x="9591" y="1147"/>
                  </a:cubicBezTo>
                  <a:cubicBezTo>
                    <a:pt x="9556" y="576"/>
                    <a:pt x="9030" y="74"/>
                    <a:pt x="8423" y="5"/>
                  </a:cubicBezTo>
                  <a:cubicBezTo>
                    <a:pt x="7815" y="-52"/>
                    <a:pt x="7360" y="359"/>
                    <a:pt x="7395" y="930"/>
                  </a:cubicBezTo>
                  <a:cubicBezTo>
                    <a:pt x="7418" y="1295"/>
                    <a:pt x="7640" y="1626"/>
                    <a:pt x="7955" y="1843"/>
                  </a:cubicBezTo>
                  <a:lnTo>
                    <a:pt x="5631" y="2916"/>
                  </a:lnTo>
                  <a:lnTo>
                    <a:pt x="5701" y="4115"/>
                  </a:lnTo>
                  <a:lnTo>
                    <a:pt x="7582" y="3065"/>
                  </a:lnTo>
                  <a:lnTo>
                    <a:pt x="6927" y="7346"/>
                  </a:lnTo>
                  <a:lnTo>
                    <a:pt x="7138" y="8625"/>
                  </a:lnTo>
                  <a:lnTo>
                    <a:pt x="5783" y="8533"/>
                  </a:lnTo>
                  <a:cubicBezTo>
                    <a:pt x="6075" y="8385"/>
                    <a:pt x="6262" y="8077"/>
                    <a:pt x="6238" y="7700"/>
                  </a:cubicBezTo>
                  <a:cubicBezTo>
                    <a:pt x="6203" y="7129"/>
                    <a:pt x="5677" y="6615"/>
                    <a:pt x="5070" y="6558"/>
                  </a:cubicBezTo>
                  <a:cubicBezTo>
                    <a:pt x="4463" y="6501"/>
                    <a:pt x="4007" y="6923"/>
                    <a:pt x="4042" y="7494"/>
                  </a:cubicBezTo>
                  <a:cubicBezTo>
                    <a:pt x="4065" y="7905"/>
                    <a:pt x="4346" y="8282"/>
                    <a:pt x="4720" y="8476"/>
                  </a:cubicBezTo>
                  <a:lnTo>
                    <a:pt x="2652" y="9515"/>
                  </a:lnTo>
                  <a:lnTo>
                    <a:pt x="2967" y="10622"/>
                  </a:lnTo>
                  <a:lnTo>
                    <a:pt x="4614" y="9743"/>
                  </a:lnTo>
                  <a:lnTo>
                    <a:pt x="4801" y="13659"/>
                  </a:lnTo>
                  <a:lnTo>
                    <a:pt x="4720" y="15623"/>
                  </a:lnTo>
                  <a:lnTo>
                    <a:pt x="3423" y="15520"/>
                  </a:lnTo>
                  <a:cubicBezTo>
                    <a:pt x="3773" y="15383"/>
                    <a:pt x="3995" y="15052"/>
                    <a:pt x="3972" y="14641"/>
                  </a:cubicBezTo>
                  <a:cubicBezTo>
                    <a:pt x="3937" y="14070"/>
                    <a:pt x="3411" y="13556"/>
                    <a:pt x="2804" y="13511"/>
                  </a:cubicBezTo>
                  <a:cubicBezTo>
                    <a:pt x="2196" y="13454"/>
                    <a:pt x="1741" y="13876"/>
                    <a:pt x="1776" y="14458"/>
                  </a:cubicBezTo>
                  <a:cubicBezTo>
                    <a:pt x="1799" y="14869"/>
                    <a:pt x="2079" y="15258"/>
                    <a:pt x="2465" y="15452"/>
                  </a:cubicBezTo>
                  <a:lnTo>
                    <a:pt x="2406" y="15452"/>
                  </a:lnTo>
                  <a:lnTo>
                    <a:pt x="47" y="16650"/>
                  </a:lnTo>
                  <a:lnTo>
                    <a:pt x="0" y="17792"/>
                  </a:lnTo>
                  <a:lnTo>
                    <a:pt x="1951" y="16730"/>
                  </a:lnTo>
                  <a:lnTo>
                    <a:pt x="970" y="21194"/>
                  </a:lnTo>
                  <a:lnTo>
                    <a:pt x="2243" y="21240"/>
                  </a:lnTo>
                  <a:lnTo>
                    <a:pt x="3096" y="18956"/>
                  </a:lnTo>
                  <a:lnTo>
                    <a:pt x="4030" y="21285"/>
                  </a:lnTo>
                  <a:lnTo>
                    <a:pt x="5269" y="21274"/>
                  </a:lnTo>
                  <a:lnTo>
                    <a:pt x="4007" y="16536"/>
                  </a:lnTo>
                  <a:lnTo>
                    <a:pt x="5748" y="16673"/>
                  </a:lnTo>
                  <a:lnTo>
                    <a:pt x="5911" y="13751"/>
                  </a:lnTo>
                  <a:lnTo>
                    <a:pt x="6191" y="11559"/>
                  </a:lnTo>
                  <a:lnTo>
                    <a:pt x="7687" y="13739"/>
                  </a:lnTo>
                  <a:lnTo>
                    <a:pt x="8014" y="16810"/>
                  </a:lnTo>
                  <a:lnTo>
                    <a:pt x="9708" y="16662"/>
                  </a:lnTo>
                  <a:lnTo>
                    <a:pt x="8797" y="21354"/>
                  </a:lnTo>
                  <a:lnTo>
                    <a:pt x="10058" y="21365"/>
                  </a:lnTo>
                  <a:lnTo>
                    <a:pt x="10853" y="19059"/>
                  </a:lnTo>
                  <a:lnTo>
                    <a:pt x="11846" y="21445"/>
                  </a:lnTo>
                  <a:lnTo>
                    <a:pt x="13084" y="21388"/>
                  </a:lnTo>
                  <a:lnTo>
                    <a:pt x="11799" y="16707"/>
                  </a:lnTo>
                  <a:lnTo>
                    <a:pt x="13586" y="16844"/>
                  </a:lnTo>
                  <a:lnTo>
                    <a:pt x="13680" y="13922"/>
                  </a:lnTo>
                  <a:lnTo>
                    <a:pt x="13972" y="11764"/>
                  </a:lnTo>
                  <a:lnTo>
                    <a:pt x="15467" y="13933"/>
                  </a:lnTo>
                  <a:lnTo>
                    <a:pt x="15911" y="16936"/>
                  </a:lnTo>
                  <a:lnTo>
                    <a:pt x="17546" y="16822"/>
                  </a:lnTo>
                  <a:lnTo>
                    <a:pt x="16623" y="21514"/>
                  </a:lnTo>
                  <a:lnTo>
                    <a:pt x="17920" y="21502"/>
                  </a:lnTo>
                  <a:lnTo>
                    <a:pt x="18726" y="19185"/>
                  </a:lnTo>
                  <a:lnTo>
                    <a:pt x="19649" y="21479"/>
                  </a:lnTo>
                  <a:lnTo>
                    <a:pt x="20911" y="21548"/>
                  </a:lnTo>
                  <a:lnTo>
                    <a:pt x="19649" y="17130"/>
                  </a:lnTo>
                  <a:lnTo>
                    <a:pt x="21600" y="18249"/>
                  </a:lnTo>
                  <a:close/>
                  <a:moveTo>
                    <a:pt x="12535" y="15771"/>
                  </a:moveTo>
                  <a:lnTo>
                    <a:pt x="11296" y="15634"/>
                  </a:lnTo>
                  <a:cubicBezTo>
                    <a:pt x="11612" y="15486"/>
                    <a:pt x="11810" y="15166"/>
                    <a:pt x="11787" y="14789"/>
                  </a:cubicBezTo>
                  <a:cubicBezTo>
                    <a:pt x="11752" y="14219"/>
                    <a:pt x="11226" y="13716"/>
                    <a:pt x="10619" y="13671"/>
                  </a:cubicBezTo>
                  <a:cubicBezTo>
                    <a:pt x="10011" y="13614"/>
                    <a:pt x="9556" y="14036"/>
                    <a:pt x="9591" y="14607"/>
                  </a:cubicBezTo>
                  <a:cubicBezTo>
                    <a:pt x="9614" y="15018"/>
                    <a:pt x="9895" y="15395"/>
                    <a:pt x="10280" y="15589"/>
                  </a:cubicBezTo>
                  <a:lnTo>
                    <a:pt x="8913" y="15691"/>
                  </a:lnTo>
                  <a:lnTo>
                    <a:pt x="8691" y="13762"/>
                  </a:lnTo>
                  <a:lnTo>
                    <a:pt x="6659" y="9492"/>
                  </a:lnTo>
                  <a:lnTo>
                    <a:pt x="8423" y="9721"/>
                  </a:lnTo>
                  <a:lnTo>
                    <a:pt x="7990" y="7437"/>
                  </a:lnTo>
                  <a:lnTo>
                    <a:pt x="8738" y="5154"/>
                  </a:lnTo>
                  <a:lnTo>
                    <a:pt x="9754" y="7506"/>
                  </a:lnTo>
                  <a:lnTo>
                    <a:pt x="10537" y="9789"/>
                  </a:lnTo>
                  <a:lnTo>
                    <a:pt x="12313" y="9675"/>
                  </a:lnTo>
                  <a:lnTo>
                    <a:pt x="12605" y="13842"/>
                  </a:lnTo>
                  <a:lnTo>
                    <a:pt x="12535" y="15771"/>
                  </a:lnTo>
                  <a:close/>
                </a:path>
              </a:pathLst>
            </a:custGeom>
            <a:solidFill>
              <a:schemeClr val="bg1">
                <a:lumMod val="85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6" name="Shape">
              <a:extLst>
                <a:ext uri="{FF2B5EF4-FFF2-40B4-BE49-F238E27FC236}">
                  <a16:creationId xmlns:a16="http://schemas.microsoft.com/office/drawing/2014/main" id="{4AAC872A-DE98-3A17-8EB3-C2D5A1D7C408}"/>
                </a:ext>
              </a:extLst>
            </p:cNvPr>
            <p:cNvSpPr/>
            <p:nvPr/>
          </p:nvSpPr>
          <p:spPr>
            <a:xfrm>
              <a:off x="9762801" y="2540125"/>
              <a:ext cx="614682" cy="803037"/>
            </a:xfrm>
            <a:custGeom>
              <a:avLst/>
              <a:gdLst/>
              <a:ahLst/>
              <a:cxnLst>
                <a:cxn ang="0">
                  <a:pos x="wd2" y="hd2"/>
                </a:cxn>
                <a:cxn ang="5400000">
                  <a:pos x="wd2" y="hd2"/>
                </a:cxn>
                <a:cxn ang="10800000">
                  <a:pos x="wd2" y="hd2"/>
                </a:cxn>
                <a:cxn ang="16200000">
                  <a:pos x="wd2" y="hd2"/>
                </a:cxn>
              </a:cxnLst>
              <a:rect l="0" t="0" r="r" b="b"/>
              <a:pathLst>
                <a:path w="21600" h="21475" extrusionOk="0">
                  <a:moveTo>
                    <a:pt x="21600" y="9011"/>
                  </a:moveTo>
                  <a:lnTo>
                    <a:pt x="12541" y="5547"/>
                  </a:lnTo>
                  <a:cubicBezTo>
                    <a:pt x="13969" y="5173"/>
                    <a:pt x="15040" y="4256"/>
                    <a:pt x="15129" y="3101"/>
                  </a:cubicBezTo>
                  <a:cubicBezTo>
                    <a:pt x="15263" y="1539"/>
                    <a:pt x="13567" y="147"/>
                    <a:pt x="11291" y="11"/>
                  </a:cubicBezTo>
                  <a:cubicBezTo>
                    <a:pt x="9015" y="-125"/>
                    <a:pt x="7051" y="1064"/>
                    <a:pt x="6873" y="2626"/>
                  </a:cubicBezTo>
                  <a:cubicBezTo>
                    <a:pt x="6739" y="3849"/>
                    <a:pt x="7765" y="4969"/>
                    <a:pt x="9327" y="5445"/>
                  </a:cubicBezTo>
                  <a:lnTo>
                    <a:pt x="3793" y="5581"/>
                  </a:lnTo>
                  <a:lnTo>
                    <a:pt x="3972" y="317"/>
                  </a:lnTo>
                  <a:lnTo>
                    <a:pt x="0" y="283"/>
                  </a:lnTo>
                  <a:lnTo>
                    <a:pt x="89" y="8637"/>
                  </a:lnTo>
                  <a:lnTo>
                    <a:pt x="6382" y="8264"/>
                  </a:lnTo>
                  <a:lnTo>
                    <a:pt x="357" y="21373"/>
                  </a:lnTo>
                  <a:lnTo>
                    <a:pt x="5311" y="21339"/>
                  </a:lnTo>
                  <a:lnTo>
                    <a:pt x="9640" y="14886"/>
                  </a:lnTo>
                  <a:lnTo>
                    <a:pt x="11916" y="21305"/>
                  </a:lnTo>
                  <a:lnTo>
                    <a:pt x="16691" y="21475"/>
                  </a:lnTo>
                  <a:lnTo>
                    <a:pt x="14236" y="9113"/>
                  </a:lnTo>
                  <a:lnTo>
                    <a:pt x="21243" y="12237"/>
                  </a:lnTo>
                  <a:lnTo>
                    <a:pt x="21600" y="9011"/>
                  </a:lnTo>
                  <a:close/>
                </a:path>
              </a:pathLst>
            </a:custGeom>
            <a:solidFill>
              <a:schemeClr val="accent3">
                <a:lumMod val="75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7" name="Shape">
              <a:extLst>
                <a:ext uri="{FF2B5EF4-FFF2-40B4-BE49-F238E27FC236}">
                  <a16:creationId xmlns:a16="http://schemas.microsoft.com/office/drawing/2014/main" id="{92FB9E2F-BB64-B3AF-DA98-26502B087ABB}"/>
                </a:ext>
              </a:extLst>
            </p:cNvPr>
            <p:cNvSpPr/>
            <p:nvPr/>
          </p:nvSpPr>
          <p:spPr>
            <a:xfrm>
              <a:off x="8026399" y="2514600"/>
              <a:ext cx="703582" cy="797956"/>
            </a:xfrm>
            <a:custGeom>
              <a:avLst/>
              <a:gdLst/>
              <a:ahLst/>
              <a:cxnLst>
                <a:cxn ang="0">
                  <a:pos x="wd2" y="hd2"/>
                </a:cxn>
                <a:cxn ang="5400000">
                  <a:pos x="wd2" y="hd2"/>
                </a:cxn>
                <a:cxn ang="10800000">
                  <a:pos x="wd2" y="hd2"/>
                </a:cxn>
                <a:cxn ang="16200000">
                  <a:pos x="wd2" y="hd2"/>
                </a:cxn>
              </a:cxnLst>
              <a:rect l="0" t="0" r="r" b="b"/>
              <a:pathLst>
                <a:path w="21600" h="21474" extrusionOk="0">
                  <a:moveTo>
                    <a:pt x="16882" y="5855"/>
                  </a:moveTo>
                  <a:lnTo>
                    <a:pt x="12593" y="5582"/>
                  </a:lnTo>
                  <a:cubicBezTo>
                    <a:pt x="13841" y="5206"/>
                    <a:pt x="14738" y="4283"/>
                    <a:pt x="14816" y="3121"/>
                  </a:cubicBezTo>
                  <a:cubicBezTo>
                    <a:pt x="14933" y="1549"/>
                    <a:pt x="13451" y="147"/>
                    <a:pt x="11463" y="11"/>
                  </a:cubicBezTo>
                  <a:cubicBezTo>
                    <a:pt x="9474" y="-126"/>
                    <a:pt x="7759" y="1070"/>
                    <a:pt x="7603" y="2642"/>
                  </a:cubicBezTo>
                  <a:cubicBezTo>
                    <a:pt x="7525" y="3804"/>
                    <a:pt x="8266" y="4830"/>
                    <a:pt x="9435" y="5377"/>
                  </a:cubicBezTo>
                  <a:lnTo>
                    <a:pt x="9240" y="5377"/>
                  </a:lnTo>
                  <a:lnTo>
                    <a:pt x="702" y="8760"/>
                  </a:lnTo>
                  <a:lnTo>
                    <a:pt x="0" y="11904"/>
                  </a:lnTo>
                  <a:lnTo>
                    <a:pt x="6979" y="8931"/>
                  </a:lnTo>
                  <a:lnTo>
                    <a:pt x="1638" y="21269"/>
                  </a:lnTo>
                  <a:lnTo>
                    <a:pt x="5887" y="21371"/>
                  </a:lnTo>
                  <a:lnTo>
                    <a:pt x="9786" y="15049"/>
                  </a:lnTo>
                  <a:lnTo>
                    <a:pt x="11853" y="21474"/>
                  </a:lnTo>
                  <a:lnTo>
                    <a:pt x="15986" y="21440"/>
                  </a:lnTo>
                  <a:lnTo>
                    <a:pt x="13958" y="8350"/>
                  </a:lnTo>
                  <a:lnTo>
                    <a:pt x="19690" y="8726"/>
                  </a:lnTo>
                  <a:lnTo>
                    <a:pt x="21600" y="626"/>
                  </a:lnTo>
                  <a:lnTo>
                    <a:pt x="18013" y="387"/>
                  </a:lnTo>
                  <a:lnTo>
                    <a:pt x="16882" y="5855"/>
                  </a:lnTo>
                  <a:close/>
                </a:path>
              </a:pathLst>
            </a:custGeom>
            <a:solidFill>
              <a:schemeClr val="accent3">
                <a:lumMod val="75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8" name="Shape">
              <a:extLst>
                <a:ext uri="{FF2B5EF4-FFF2-40B4-BE49-F238E27FC236}">
                  <a16:creationId xmlns:a16="http://schemas.microsoft.com/office/drawing/2014/main" id="{29E9C515-C1E9-2515-95A2-33FC5BE5A97A}"/>
                </a:ext>
              </a:extLst>
            </p:cNvPr>
            <p:cNvSpPr/>
            <p:nvPr/>
          </p:nvSpPr>
          <p:spPr>
            <a:xfrm>
              <a:off x="8909255" y="2527299"/>
              <a:ext cx="659129" cy="806847"/>
            </a:xfrm>
            <a:custGeom>
              <a:avLst/>
              <a:gdLst/>
              <a:ahLst/>
              <a:cxnLst>
                <a:cxn ang="0">
                  <a:pos x="wd2" y="hd2"/>
                </a:cxn>
                <a:cxn ang="5400000">
                  <a:pos x="wd2" y="hd2"/>
                </a:cxn>
                <a:cxn ang="10800000">
                  <a:pos x="wd2" y="hd2"/>
                </a:cxn>
                <a:cxn ang="16200000">
                  <a:pos x="wd2" y="hd2"/>
                </a:cxn>
              </a:cxnLst>
              <a:rect l="0" t="0" r="r" b="b"/>
              <a:pathLst>
                <a:path w="21600" h="21475" extrusionOk="0">
                  <a:moveTo>
                    <a:pt x="16647" y="5790"/>
                  </a:moveTo>
                  <a:lnTo>
                    <a:pt x="12319" y="5419"/>
                  </a:lnTo>
                  <a:cubicBezTo>
                    <a:pt x="13526" y="5013"/>
                    <a:pt x="14400" y="4134"/>
                    <a:pt x="14483" y="3086"/>
                  </a:cubicBezTo>
                  <a:cubicBezTo>
                    <a:pt x="14608" y="1531"/>
                    <a:pt x="13027" y="145"/>
                    <a:pt x="10904" y="10"/>
                  </a:cubicBezTo>
                  <a:cubicBezTo>
                    <a:pt x="8782" y="-125"/>
                    <a:pt x="6950" y="1058"/>
                    <a:pt x="6784" y="2613"/>
                  </a:cubicBezTo>
                  <a:cubicBezTo>
                    <a:pt x="6701" y="3729"/>
                    <a:pt x="7491" y="4776"/>
                    <a:pt x="8740" y="5317"/>
                  </a:cubicBezTo>
                  <a:lnTo>
                    <a:pt x="3829" y="5621"/>
                  </a:lnTo>
                  <a:lnTo>
                    <a:pt x="3995" y="314"/>
                  </a:lnTo>
                  <a:lnTo>
                    <a:pt x="375" y="314"/>
                  </a:lnTo>
                  <a:lnTo>
                    <a:pt x="0" y="8731"/>
                  </a:lnTo>
                  <a:lnTo>
                    <a:pt x="6118" y="8292"/>
                  </a:lnTo>
                  <a:lnTo>
                    <a:pt x="541" y="21205"/>
                  </a:lnTo>
                  <a:lnTo>
                    <a:pt x="5036" y="21238"/>
                  </a:lnTo>
                  <a:lnTo>
                    <a:pt x="8990" y="14883"/>
                  </a:lnTo>
                  <a:lnTo>
                    <a:pt x="11320" y="21475"/>
                  </a:lnTo>
                  <a:lnTo>
                    <a:pt x="15773" y="21306"/>
                  </a:lnTo>
                  <a:lnTo>
                    <a:pt x="13526" y="8393"/>
                  </a:lnTo>
                  <a:lnTo>
                    <a:pt x="19810" y="8731"/>
                  </a:lnTo>
                  <a:lnTo>
                    <a:pt x="21600" y="652"/>
                  </a:lnTo>
                  <a:lnTo>
                    <a:pt x="17938" y="450"/>
                  </a:lnTo>
                  <a:lnTo>
                    <a:pt x="16647" y="5790"/>
                  </a:lnTo>
                  <a:close/>
                </a:path>
              </a:pathLst>
            </a:custGeom>
            <a:solidFill>
              <a:schemeClr val="accent3">
                <a:lumMod val="75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9" name="Shape">
              <a:extLst>
                <a:ext uri="{FF2B5EF4-FFF2-40B4-BE49-F238E27FC236}">
                  <a16:creationId xmlns:a16="http://schemas.microsoft.com/office/drawing/2014/main" id="{538AC372-36BB-FD4B-5E6B-10C7D35E5C0F}"/>
                </a:ext>
              </a:extLst>
            </p:cNvPr>
            <p:cNvSpPr/>
            <p:nvPr/>
          </p:nvSpPr>
          <p:spPr>
            <a:xfrm>
              <a:off x="8853066" y="1122699"/>
              <a:ext cx="652781" cy="775097"/>
            </a:xfrm>
            <a:custGeom>
              <a:avLst/>
              <a:gdLst/>
              <a:ahLst/>
              <a:cxnLst>
                <a:cxn ang="0">
                  <a:pos x="wd2" y="hd2"/>
                </a:cxn>
                <a:cxn ang="5400000">
                  <a:pos x="wd2" y="hd2"/>
                </a:cxn>
                <a:cxn ang="10800000">
                  <a:pos x="wd2" y="hd2"/>
                </a:cxn>
                <a:cxn ang="16200000">
                  <a:pos x="wd2" y="hd2"/>
                </a:cxn>
              </a:cxnLst>
              <a:rect l="0" t="0" r="r" b="b"/>
              <a:pathLst>
                <a:path w="21600" h="21470" extrusionOk="0">
                  <a:moveTo>
                    <a:pt x="10422" y="14786"/>
                  </a:moveTo>
                  <a:lnTo>
                    <a:pt x="12943" y="21470"/>
                  </a:lnTo>
                  <a:lnTo>
                    <a:pt x="17314" y="21259"/>
                  </a:lnTo>
                  <a:lnTo>
                    <a:pt x="14708" y="9052"/>
                  </a:lnTo>
                  <a:lnTo>
                    <a:pt x="21222" y="12112"/>
                  </a:lnTo>
                  <a:lnTo>
                    <a:pt x="21600" y="8841"/>
                  </a:lnTo>
                  <a:lnTo>
                    <a:pt x="13574" y="5569"/>
                  </a:lnTo>
                  <a:cubicBezTo>
                    <a:pt x="14666" y="5112"/>
                    <a:pt x="15423" y="4232"/>
                    <a:pt x="15507" y="3212"/>
                  </a:cubicBezTo>
                  <a:cubicBezTo>
                    <a:pt x="15633" y="1594"/>
                    <a:pt x="14036" y="151"/>
                    <a:pt x="11893" y="11"/>
                  </a:cubicBezTo>
                  <a:cubicBezTo>
                    <a:pt x="9749" y="-130"/>
                    <a:pt x="7900" y="1101"/>
                    <a:pt x="7732" y="2720"/>
                  </a:cubicBezTo>
                  <a:cubicBezTo>
                    <a:pt x="7648" y="3775"/>
                    <a:pt x="8279" y="4725"/>
                    <a:pt x="9287" y="5323"/>
                  </a:cubicBezTo>
                  <a:lnTo>
                    <a:pt x="378" y="8524"/>
                  </a:lnTo>
                  <a:lnTo>
                    <a:pt x="0" y="11972"/>
                  </a:lnTo>
                  <a:lnTo>
                    <a:pt x="7312" y="8841"/>
                  </a:lnTo>
                  <a:lnTo>
                    <a:pt x="2816" y="21153"/>
                  </a:lnTo>
                  <a:lnTo>
                    <a:pt x="6640" y="21400"/>
                  </a:lnTo>
                  <a:lnTo>
                    <a:pt x="10422" y="14786"/>
                  </a:lnTo>
                  <a:close/>
                </a:path>
              </a:pathLst>
            </a:custGeom>
            <a:solidFill>
              <a:schemeClr val="accent3">
                <a:lumMod val="75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0" name="Shape">
              <a:extLst>
                <a:ext uri="{FF2B5EF4-FFF2-40B4-BE49-F238E27FC236}">
                  <a16:creationId xmlns:a16="http://schemas.microsoft.com/office/drawing/2014/main" id="{D50E37D2-8AD4-4420-7685-1F31DC9B9465}"/>
                </a:ext>
              </a:extLst>
            </p:cNvPr>
            <p:cNvSpPr/>
            <p:nvPr/>
          </p:nvSpPr>
          <p:spPr>
            <a:xfrm>
              <a:off x="8439150" y="1803342"/>
              <a:ext cx="624842" cy="742077"/>
            </a:xfrm>
            <a:custGeom>
              <a:avLst/>
              <a:gdLst/>
              <a:ahLst/>
              <a:cxnLst>
                <a:cxn ang="0">
                  <a:pos x="wd2" y="hd2"/>
                </a:cxn>
                <a:cxn ang="5400000">
                  <a:pos x="wd2" y="hd2"/>
                </a:cxn>
                <a:cxn ang="10800000">
                  <a:pos x="wd2" y="hd2"/>
                </a:cxn>
                <a:cxn ang="16200000">
                  <a:pos x="wd2" y="hd2"/>
                </a:cxn>
              </a:cxnLst>
              <a:rect l="0" t="0" r="r" b="b"/>
              <a:pathLst>
                <a:path w="21600" h="21465" extrusionOk="0">
                  <a:moveTo>
                    <a:pt x="15102" y="8718"/>
                  </a:moveTo>
                  <a:lnTo>
                    <a:pt x="21600" y="9343"/>
                  </a:lnTo>
                  <a:lnTo>
                    <a:pt x="21161" y="2510"/>
                  </a:lnTo>
                  <a:lnTo>
                    <a:pt x="17166" y="2253"/>
                  </a:lnTo>
                  <a:lnTo>
                    <a:pt x="17298" y="6073"/>
                  </a:lnTo>
                  <a:lnTo>
                    <a:pt x="12249" y="5853"/>
                  </a:lnTo>
                  <a:cubicBezTo>
                    <a:pt x="13434" y="5375"/>
                    <a:pt x="14312" y="4457"/>
                    <a:pt x="14400" y="3355"/>
                  </a:cubicBezTo>
                  <a:cubicBezTo>
                    <a:pt x="14532" y="1665"/>
                    <a:pt x="12863" y="159"/>
                    <a:pt x="10624" y="12"/>
                  </a:cubicBezTo>
                  <a:cubicBezTo>
                    <a:pt x="8385" y="-135"/>
                    <a:pt x="6454" y="1151"/>
                    <a:pt x="6278" y="2841"/>
                  </a:cubicBezTo>
                  <a:cubicBezTo>
                    <a:pt x="6190" y="4053"/>
                    <a:pt x="7024" y="5155"/>
                    <a:pt x="8298" y="5743"/>
                  </a:cubicBezTo>
                  <a:lnTo>
                    <a:pt x="0" y="8938"/>
                  </a:lnTo>
                  <a:lnTo>
                    <a:pt x="615" y="12245"/>
                  </a:lnTo>
                  <a:lnTo>
                    <a:pt x="7288" y="9563"/>
                  </a:lnTo>
                  <a:lnTo>
                    <a:pt x="5971" y="21208"/>
                  </a:lnTo>
                  <a:lnTo>
                    <a:pt x="10010" y="21465"/>
                  </a:lnTo>
                  <a:lnTo>
                    <a:pt x="12205" y="14926"/>
                  </a:lnTo>
                  <a:lnTo>
                    <a:pt x="16683" y="21392"/>
                  </a:lnTo>
                  <a:lnTo>
                    <a:pt x="20502" y="21392"/>
                  </a:lnTo>
                  <a:lnTo>
                    <a:pt x="15102" y="8718"/>
                  </a:lnTo>
                  <a:close/>
                </a:path>
              </a:pathLst>
            </a:custGeom>
            <a:solidFill>
              <a:schemeClr val="accent3"/>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1" name="Shape">
              <a:extLst>
                <a:ext uri="{FF2B5EF4-FFF2-40B4-BE49-F238E27FC236}">
                  <a16:creationId xmlns:a16="http://schemas.microsoft.com/office/drawing/2014/main" id="{22A14D0E-482F-58EA-0A35-7F25F224D865}"/>
                </a:ext>
              </a:extLst>
            </p:cNvPr>
            <p:cNvSpPr/>
            <p:nvPr/>
          </p:nvSpPr>
          <p:spPr>
            <a:xfrm>
              <a:off x="9244433" y="1819766"/>
              <a:ext cx="693421" cy="736996"/>
            </a:xfrm>
            <a:custGeom>
              <a:avLst/>
              <a:gdLst/>
              <a:ahLst/>
              <a:cxnLst>
                <a:cxn ang="0">
                  <a:pos x="wd2" y="hd2"/>
                </a:cxn>
                <a:cxn ang="5400000">
                  <a:pos x="wd2" y="hd2"/>
                </a:cxn>
                <a:cxn ang="10800000">
                  <a:pos x="wd2" y="hd2"/>
                </a:cxn>
                <a:cxn ang="16200000">
                  <a:pos x="wd2" y="hd2"/>
                </a:cxn>
              </a:cxnLst>
              <a:rect l="0" t="0" r="r" b="b"/>
              <a:pathLst>
                <a:path w="21600" h="21464" extrusionOk="0">
                  <a:moveTo>
                    <a:pt x="14637" y="9296"/>
                  </a:moveTo>
                  <a:lnTo>
                    <a:pt x="21600" y="12291"/>
                  </a:lnTo>
                  <a:lnTo>
                    <a:pt x="21204" y="9222"/>
                  </a:lnTo>
                  <a:lnTo>
                    <a:pt x="12382" y="5745"/>
                  </a:lnTo>
                  <a:cubicBezTo>
                    <a:pt x="13292" y="5227"/>
                    <a:pt x="13925" y="4376"/>
                    <a:pt x="14004" y="3378"/>
                  </a:cubicBezTo>
                  <a:cubicBezTo>
                    <a:pt x="14123" y="1676"/>
                    <a:pt x="12620" y="160"/>
                    <a:pt x="10602" y="12"/>
                  </a:cubicBezTo>
                  <a:cubicBezTo>
                    <a:pt x="8585" y="-136"/>
                    <a:pt x="6844" y="1159"/>
                    <a:pt x="6686" y="2860"/>
                  </a:cubicBezTo>
                  <a:cubicBezTo>
                    <a:pt x="6607" y="4006"/>
                    <a:pt x="7279" y="5079"/>
                    <a:pt x="8308" y="5708"/>
                  </a:cubicBezTo>
                  <a:lnTo>
                    <a:pt x="4391" y="5745"/>
                  </a:lnTo>
                  <a:lnTo>
                    <a:pt x="4114" y="1935"/>
                  </a:lnTo>
                  <a:lnTo>
                    <a:pt x="0" y="2157"/>
                  </a:lnTo>
                  <a:lnTo>
                    <a:pt x="1543" y="9000"/>
                  </a:lnTo>
                  <a:lnTo>
                    <a:pt x="7635" y="8593"/>
                  </a:lnTo>
                  <a:lnTo>
                    <a:pt x="6646" y="21205"/>
                  </a:lnTo>
                  <a:lnTo>
                    <a:pt x="10127" y="21427"/>
                  </a:lnTo>
                  <a:lnTo>
                    <a:pt x="12145" y="14880"/>
                  </a:lnTo>
                  <a:lnTo>
                    <a:pt x="16180" y="21427"/>
                  </a:lnTo>
                  <a:lnTo>
                    <a:pt x="19701" y="21464"/>
                  </a:lnTo>
                  <a:lnTo>
                    <a:pt x="14637" y="9296"/>
                  </a:lnTo>
                  <a:close/>
                </a:path>
              </a:pathLst>
            </a:custGeom>
            <a:solidFill>
              <a:schemeClr val="accent3"/>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grpSp>
      <p:grpSp>
        <p:nvGrpSpPr>
          <p:cNvPr id="12" name="Group 11">
            <a:extLst>
              <a:ext uri="{FF2B5EF4-FFF2-40B4-BE49-F238E27FC236}">
                <a16:creationId xmlns:a16="http://schemas.microsoft.com/office/drawing/2014/main" id="{09AF91D7-9ED9-A080-DAE3-4BFBAAEB8212}"/>
              </a:ext>
            </a:extLst>
          </p:cNvPr>
          <p:cNvGrpSpPr/>
          <p:nvPr/>
        </p:nvGrpSpPr>
        <p:grpSpPr>
          <a:xfrm>
            <a:off x="7930083" y="2748063"/>
            <a:ext cx="4078058" cy="1536374"/>
            <a:chOff x="8921977" y="1466725"/>
            <a:chExt cx="2926080" cy="1536374"/>
          </a:xfrm>
        </p:grpSpPr>
        <p:sp>
          <p:nvSpPr>
            <p:cNvPr id="13" name="TextBox 12">
              <a:extLst>
                <a:ext uri="{FF2B5EF4-FFF2-40B4-BE49-F238E27FC236}">
                  <a16:creationId xmlns:a16="http://schemas.microsoft.com/office/drawing/2014/main" id="{D0F16EE7-BD42-E396-E115-C968AFB553E2}"/>
                </a:ext>
              </a:extLst>
            </p:cNvPr>
            <p:cNvSpPr txBox="1"/>
            <p:nvPr/>
          </p:nvSpPr>
          <p:spPr>
            <a:xfrm>
              <a:off x="8921977" y="1466725"/>
              <a:ext cx="2926080" cy="461665"/>
            </a:xfrm>
            <a:prstGeom prst="rect">
              <a:avLst/>
            </a:prstGeom>
            <a:noFill/>
          </p:spPr>
          <p:txBody>
            <a:bodyPr wrap="square" lIns="0" rIns="0" rtlCol="0" anchor="b">
              <a:spAutoFit/>
            </a:bodyPr>
            <a:lstStyle/>
            <a:p>
              <a:r>
                <a:rPr lang="en-US" sz="2400" b="1" noProof="1">
                  <a:solidFill>
                    <a:schemeClr val="accent3">
                      <a:lumMod val="50000"/>
                    </a:schemeClr>
                  </a:solidFill>
                </a:rPr>
                <a:t>Covering Weakness</a:t>
              </a:r>
            </a:p>
          </p:txBody>
        </p:sp>
        <p:sp>
          <p:nvSpPr>
            <p:cNvPr id="14" name="TextBox 13">
              <a:extLst>
                <a:ext uri="{FF2B5EF4-FFF2-40B4-BE49-F238E27FC236}">
                  <a16:creationId xmlns:a16="http://schemas.microsoft.com/office/drawing/2014/main" id="{B0F5984D-79EA-D60D-4420-61D8BC81DAD2}"/>
                </a:ext>
              </a:extLst>
            </p:cNvPr>
            <p:cNvSpPr txBox="1"/>
            <p:nvPr/>
          </p:nvSpPr>
          <p:spPr>
            <a:xfrm>
              <a:off x="8921977" y="1925881"/>
              <a:ext cx="2926080" cy="1077218"/>
            </a:xfrm>
            <a:prstGeom prst="rect">
              <a:avLst/>
            </a:prstGeom>
            <a:noFill/>
          </p:spPr>
          <p:txBody>
            <a:bodyPr wrap="square" lIns="0" rIns="0" rtlCol="0" anchor="t">
              <a:spAutoFit/>
            </a:bodyPr>
            <a:lstStyle/>
            <a:p>
              <a:pPr algn="just"/>
              <a:r>
                <a:rPr lang="en-US" sz="1600" noProof="1">
                  <a:solidFill>
                    <a:schemeClr val="tx1">
                      <a:lumMod val="65000"/>
                      <a:lumOff val="35000"/>
                    </a:schemeClr>
                  </a:solidFill>
                </a:rPr>
                <a:t>Agents can cover each other weaknesses, for example due to tool provisioning or knowledge access limits, a model might excel at each others weaknesses</a:t>
              </a:r>
            </a:p>
          </p:txBody>
        </p:sp>
      </p:grpSp>
      <p:grpSp>
        <p:nvGrpSpPr>
          <p:cNvPr id="15" name="Group 14">
            <a:extLst>
              <a:ext uri="{FF2B5EF4-FFF2-40B4-BE49-F238E27FC236}">
                <a16:creationId xmlns:a16="http://schemas.microsoft.com/office/drawing/2014/main" id="{9A8A17B0-9DA6-1CD7-70DE-18FE3243BEF7}"/>
              </a:ext>
            </a:extLst>
          </p:cNvPr>
          <p:cNvGrpSpPr/>
          <p:nvPr/>
        </p:nvGrpSpPr>
        <p:grpSpPr>
          <a:xfrm>
            <a:off x="8739190" y="4423023"/>
            <a:ext cx="3080660" cy="2151927"/>
            <a:chOff x="8921977" y="3704054"/>
            <a:chExt cx="3080660" cy="2151927"/>
          </a:xfrm>
        </p:grpSpPr>
        <p:sp>
          <p:nvSpPr>
            <p:cNvPr id="16" name="TextBox 15">
              <a:extLst>
                <a:ext uri="{FF2B5EF4-FFF2-40B4-BE49-F238E27FC236}">
                  <a16:creationId xmlns:a16="http://schemas.microsoft.com/office/drawing/2014/main" id="{6E6A4769-B89C-984F-8031-8235F909F0FF}"/>
                </a:ext>
              </a:extLst>
            </p:cNvPr>
            <p:cNvSpPr txBox="1"/>
            <p:nvPr/>
          </p:nvSpPr>
          <p:spPr>
            <a:xfrm>
              <a:off x="8921977" y="3704054"/>
              <a:ext cx="2926080" cy="830997"/>
            </a:xfrm>
            <a:prstGeom prst="rect">
              <a:avLst/>
            </a:prstGeom>
            <a:noFill/>
          </p:spPr>
          <p:txBody>
            <a:bodyPr wrap="square" lIns="0" rIns="0" rtlCol="0" anchor="b">
              <a:spAutoFit/>
            </a:bodyPr>
            <a:lstStyle/>
            <a:p>
              <a:r>
                <a:rPr lang="en-US" sz="2400" b="1" noProof="1">
                  <a:solidFill>
                    <a:schemeClr val="accent3">
                      <a:lumMod val="90000"/>
                    </a:schemeClr>
                  </a:solidFill>
                </a:rPr>
                <a:t>Iterative Problem Solving</a:t>
              </a:r>
            </a:p>
          </p:txBody>
        </p:sp>
        <p:sp>
          <p:nvSpPr>
            <p:cNvPr id="17" name="TextBox 16">
              <a:extLst>
                <a:ext uri="{FF2B5EF4-FFF2-40B4-BE49-F238E27FC236}">
                  <a16:creationId xmlns:a16="http://schemas.microsoft.com/office/drawing/2014/main" id="{0E6CDCD6-F0F6-20C7-D3FF-7A6F70DB8026}"/>
                </a:ext>
              </a:extLst>
            </p:cNvPr>
            <p:cNvSpPr txBox="1"/>
            <p:nvPr/>
          </p:nvSpPr>
          <p:spPr>
            <a:xfrm>
              <a:off x="8921977" y="4532542"/>
              <a:ext cx="3080660" cy="1323439"/>
            </a:xfrm>
            <a:prstGeom prst="rect">
              <a:avLst/>
            </a:prstGeom>
            <a:noFill/>
          </p:spPr>
          <p:txBody>
            <a:bodyPr wrap="square" lIns="0" rIns="0" rtlCol="0" anchor="t">
              <a:spAutoFit/>
            </a:bodyPr>
            <a:lstStyle/>
            <a:p>
              <a:r>
                <a:rPr lang="en-US" sz="1600" noProof="1">
                  <a:solidFill>
                    <a:schemeClr val="tx1">
                      <a:lumMod val="65000"/>
                      <a:lumOff val="35000"/>
                    </a:schemeClr>
                  </a:solidFill>
                </a:rPr>
                <a:t>The effectiveness of multi-agent systems is about multiple engagements over time effectively a run time “teach student effect”</a:t>
              </a:r>
            </a:p>
          </p:txBody>
        </p:sp>
      </p:grpSp>
      <p:grpSp>
        <p:nvGrpSpPr>
          <p:cNvPr id="18" name="Group 17">
            <a:extLst>
              <a:ext uri="{FF2B5EF4-FFF2-40B4-BE49-F238E27FC236}">
                <a16:creationId xmlns:a16="http://schemas.microsoft.com/office/drawing/2014/main" id="{8421D264-6E7F-0728-5CB5-53A0BA9813AC}"/>
              </a:ext>
            </a:extLst>
          </p:cNvPr>
          <p:cNvGrpSpPr/>
          <p:nvPr/>
        </p:nvGrpSpPr>
        <p:grpSpPr>
          <a:xfrm>
            <a:off x="523351" y="2673517"/>
            <a:ext cx="3891411" cy="1782595"/>
            <a:chOff x="332936" y="2627766"/>
            <a:chExt cx="2926080" cy="1782595"/>
          </a:xfrm>
        </p:grpSpPr>
        <p:sp>
          <p:nvSpPr>
            <p:cNvPr id="19" name="TextBox 18">
              <a:extLst>
                <a:ext uri="{FF2B5EF4-FFF2-40B4-BE49-F238E27FC236}">
                  <a16:creationId xmlns:a16="http://schemas.microsoft.com/office/drawing/2014/main" id="{6CC7F10A-4920-D88C-73FE-FC81C9A99922}"/>
                </a:ext>
              </a:extLst>
            </p:cNvPr>
            <p:cNvSpPr txBox="1"/>
            <p:nvPr/>
          </p:nvSpPr>
          <p:spPr>
            <a:xfrm>
              <a:off x="332936" y="2627766"/>
              <a:ext cx="2926080" cy="461665"/>
            </a:xfrm>
            <a:prstGeom prst="rect">
              <a:avLst/>
            </a:prstGeom>
            <a:noFill/>
          </p:spPr>
          <p:txBody>
            <a:bodyPr wrap="square" lIns="0" rIns="0" rtlCol="0" anchor="b">
              <a:spAutoFit/>
            </a:bodyPr>
            <a:lstStyle/>
            <a:p>
              <a:r>
                <a:rPr lang="en-US" sz="2400" b="1" noProof="1">
                  <a:solidFill>
                    <a:schemeClr val="accent3">
                      <a:lumMod val="50000"/>
                    </a:schemeClr>
                  </a:solidFill>
                </a:rPr>
                <a:t>Diverse Input</a:t>
              </a:r>
            </a:p>
          </p:txBody>
        </p:sp>
        <p:sp>
          <p:nvSpPr>
            <p:cNvPr id="20" name="TextBox 19">
              <a:extLst>
                <a:ext uri="{FF2B5EF4-FFF2-40B4-BE49-F238E27FC236}">
                  <a16:creationId xmlns:a16="http://schemas.microsoft.com/office/drawing/2014/main" id="{039CB662-3366-B6B2-21E0-8FD205A82A9B}"/>
                </a:ext>
              </a:extLst>
            </p:cNvPr>
            <p:cNvSpPr txBox="1"/>
            <p:nvPr/>
          </p:nvSpPr>
          <p:spPr>
            <a:xfrm>
              <a:off x="332936" y="3086922"/>
              <a:ext cx="2926080" cy="1323439"/>
            </a:xfrm>
            <a:prstGeom prst="rect">
              <a:avLst/>
            </a:prstGeom>
            <a:noFill/>
          </p:spPr>
          <p:txBody>
            <a:bodyPr wrap="square" lIns="0" rIns="0" rtlCol="0" anchor="t">
              <a:spAutoFit/>
            </a:bodyPr>
            <a:lstStyle/>
            <a:p>
              <a:r>
                <a:rPr lang="en-US" sz="1600" noProof="1">
                  <a:solidFill>
                    <a:schemeClr val="tx1">
                      <a:lumMod val="65000"/>
                      <a:lumOff val="35000"/>
                    </a:schemeClr>
                  </a:solidFill>
                </a:rPr>
                <a:t>Combining the same model does not improve performance much, but adding diverse inputs and backgrounds greatly improves the performance.</a:t>
              </a:r>
            </a:p>
          </p:txBody>
        </p:sp>
      </p:grpSp>
      <p:grpSp>
        <p:nvGrpSpPr>
          <p:cNvPr id="21" name="Group 20">
            <a:extLst>
              <a:ext uri="{FF2B5EF4-FFF2-40B4-BE49-F238E27FC236}">
                <a16:creationId xmlns:a16="http://schemas.microsoft.com/office/drawing/2014/main" id="{CB29EE6D-B852-BF57-C055-1F0934E5C879}"/>
              </a:ext>
            </a:extLst>
          </p:cNvPr>
          <p:cNvGrpSpPr/>
          <p:nvPr/>
        </p:nvGrpSpPr>
        <p:grpSpPr>
          <a:xfrm>
            <a:off x="338439" y="4652338"/>
            <a:ext cx="3418415" cy="2275038"/>
            <a:chOff x="332936" y="4652338"/>
            <a:chExt cx="2926080" cy="2275038"/>
          </a:xfrm>
        </p:grpSpPr>
        <p:sp>
          <p:nvSpPr>
            <p:cNvPr id="22" name="TextBox 21">
              <a:extLst>
                <a:ext uri="{FF2B5EF4-FFF2-40B4-BE49-F238E27FC236}">
                  <a16:creationId xmlns:a16="http://schemas.microsoft.com/office/drawing/2014/main" id="{FA9FFD03-37A0-8523-7A55-B31BCF8088F4}"/>
                </a:ext>
              </a:extLst>
            </p:cNvPr>
            <p:cNvSpPr txBox="1"/>
            <p:nvPr/>
          </p:nvSpPr>
          <p:spPr>
            <a:xfrm>
              <a:off x="332936" y="4652338"/>
              <a:ext cx="2926080" cy="461665"/>
            </a:xfrm>
            <a:prstGeom prst="rect">
              <a:avLst/>
            </a:prstGeom>
            <a:noFill/>
          </p:spPr>
          <p:txBody>
            <a:bodyPr wrap="square" lIns="0" rIns="0" rtlCol="0" anchor="b">
              <a:spAutoFit/>
            </a:bodyPr>
            <a:lstStyle/>
            <a:p>
              <a:r>
                <a:rPr lang="en-US" sz="2400" b="1" noProof="1">
                  <a:solidFill>
                    <a:schemeClr val="accent3">
                      <a:lumMod val="75000"/>
                    </a:schemeClr>
                  </a:solidFill>
                </a:rPr>
                <a:t>Thought Leaders</a:t>
              </a:r>
            </a:p>
          </p:txBody>
        </p:sp>
        <p:sp>
          <p:nvSpPr>
            <p:cNvPr id="23" name="TextBox 22">
              <a:extLst>
                <a:ext uri="{FF2B5EF4-FFF2-40B4-BE49-F238E27FC236}">
                  <a16:creationId xmlns:a16="http://schemas.microsoft.com/office/drawing/2014/main" id="{FF927888-A93F-5AD1-81C6-71A27B3C6311}"/>
                </a:ext>
              </a:extLst>
            </p:cNvPr>
            <p:cNvSpPr txBox="1"/>
            <p:nvPr/>
          </p:nvSpPr>
          <p:spPr>
            <a:xfrm>
              <a:off x="332936" y="5111494"/>
              <a:ext cx="2926080" cy="1815882"/>
            </a:xfrm>
            <a:prstGeom prst="rect">
              <a:avLst/>
            </a:prstGeom>
            <a:noFill/>
          </p:spPr>
          <p:txBody>
            <a:bodyPr wrap="square" lIns="0" rIns="0" rtlCol="0" anchor="t">
              <a:spAutoFit/>
            </a:bodyPr>
            <a:lstStyle/>
            <a:p>
              <a:r>
                <a:rPr lang="en-US" sz="1600" noProof="1">
                  <a:solidFill>
                    <a:schemeClr val="tx1">
                      <a:lumMod val="65000"/>
                      <a:lumOff val="35000"/>
                    </a:schemeClr>
                  </a:solidFill>
                </a:rPr>
                <a:t>AI Agents are thought leaders in themselves, and they can get stuck in certain patterns. When different modesl trained with different appraoaches tackle problems, it results in less thinking pitfalls</a:t>
              </a:r>
            </a:p>
          </p:txBody>
        </p:sp>
      </p:grpSp>
      <p:grpSp>
        <p:nvGrpSpPr>
          <p:cNvPr id="24" name="Group 23">
            <a:extLst>
              <a:ext uri="{FF2B5EF4-FFF2-40B4-BE49-F238E27FC236}">
                <a16:creationId xmlns:a16="http://schemas.microsoft.com/office/drawing/2014/main" id="{E9A9096E-64AC-1DEA-3C6A-6D5D2EE09E60}"/>
              </a:ext>
            </a:extLst>
          </p:cNvPr>
          <p:cNvGrpSpPr/>
          <p:nvPr/>
        </p:nvGrpSpPr>
        <p:grpSpPr>
          <a:xfrm>
            <a:off x="7146271" y="909676"/>
            <a:ext cx="4707290" cy="1536374"/>
            <a:chOff x="8921977" y="1466725"/>
            <a:chExt cx="2926080" cy="1536374"/>
          </a:xfrm>
        </p:grpSpPr>
        <p:sp>
          <p:nvSpPr>
            <p:cNvPr id="25" name="TextBox 24">
              <a:extLst>
                <a:ext uri="{FF2B5EF4-FFF2-40B4-BE49-F238E27FC236}">
                  <a16:creationId xmlns:a16="http://schemas.microsoft.com/office/drawing/2014/main" id="{8263A0E4-14FF-235E-8F7E-9ECFD2509681}"/>
                </a:ext>
              </a:extLst>
            </p:cNvPr>
            <p:cNvSpPr txBox="1"/>
            <p:nvPr/>
          </p:nvSpPr>
          <p:spPr>
            <a:xfrm>
              <a:off x="8921977" y="1466725"/>
              <a:ext cx="2926080" cy="461665"/>
            </a:xfrm>
            <a:prstGeom prst="rect">
              <a:avLst/>
            </a:prstGeom>
            <a:noFill/>
          </p:spPr>
          <p:txBody>
            <a:bodyPr wrap="square" lIns="0" rIns="0" rtlCol="0" anchor="b">
              <a:spAutoFit/>
            </a:bodyPr>
            <a:lstStyle/>
            <a:p>
              <a:r>
                <a:rPr lang="en-US" sz="2400" b="1" noProof="1">
                  <a:solidFill>
                    <a:schemeClr val="tx2"/>
                  </a:solidFill>
                </a:rPr>
                <a:t>Diversity of Thought</a:t>
              </a:r>
            </a:p>
          </p:txBody>
        </p:sp>
        <p:sp>
          <p:nvSpPr>
            <p:cNvPr id="26" name="TextBox 25">
              <a:extLst>
                <a:ext uri="{FF2B5EF4-FFF2-40B4-BE49-F238E27FC236}">
                  <a16:creationId xmlns:a16="http://schemas.microsoft.com/office/drawing/2014/main" id="{46979AD1-639D-2547-168C-6159DEF1DDD4}"/>
                </a:ext>
              </a:extLst>
            </p:cNvPr>
            <p:cNvSpPr txBox="1"/>
            <p:nvPr/>
          </p:nvSpPr>
          <p:spPr>
            <a:xfrm>
              <a:off x="8921977" y="1925881"/>
              <a:ext cx="2926080" cy="1077218"/>
            </a:xfrm>
            <a:prstGeom prst="rect">
              <a:avLst/>
            </a:prstGeom>
            <a:noFill/>
          </p:spPr>
          <p:txBody>
            <a:bodyPr wrap="square" lIns="0" rIns="0" rtlCol="0" anchor="t">
              <a:spAutoFit/>
            </a:bodyPr>
            <a:lstStyle/>
            <a:p>
              <a:pPr algn="just"/>
              <a:r>
                <a:rPr lang="en-US" sz="1600" noProof="1">
                  <a:solidFill>
                    <a:schemeClr val="tx1">
                      <a:lumMod val="65000"/>
                      <a:lumOff val="35000"/>
                    </a:schemeClr>
                  </a:solidFill>
                </a:rPr>
                <a:t>Building on the concepts of diverse input, AI platforms trained with different training paradigms (GPT vs Claude vs Cohere vs Gemini) introduce positive solution discovery.</a:t>
              </a:r>
            </a:p>
          </p:txBody>
        </p:sp>
      </p:grpSp>
      <p:grpSp>
        <p:nvGrpSpPr>
          <p:cNvPr id="27" name="Group 26">
            <a:extLst>
              <a:ext uri="{FF2B5EF4-FFF2-40B4-BE49-F238E27FC236}">
                <a16:creationId xmlns:a16="http://schemas.microsoft.com/office/drawing/2014/main" id="{99F06AD6-4830-5952-4EA1-21F6073ACB43}"/>
              </a:ext>
            </a:extLst>
          </p:cNvPr>
          <p:cNvGrpSpPr/>
          <p:nvPr/>
        </p:nvGrpSpPr>
        <p:grpSpPr>
          <a:xfrm>
            <a:off x="684509" y="949942"/>
            <a:ext cx="4224292" cy="1782595"/>
            <a:chOff x="332936" y="2627766"/>
            <a:chExt cx="2926080" cy="1782595"/>
          </a:xfrm>
        </p:grpSpPr>
        <p:sp>
          <p:nvSpPr>
            <p:cNvPr id="28" name="TextBox 27">
              <a:extLst>
                <a:ext uri="{FF2B5EF4-FFF2-40B4-BE49-F238E27FC236}">
                  <a16:creationId xmlns:a16="http://schemas.microsoft.com/office/drawing/2014/main" id="{A2F6938A-D04E-DAF8-02E1-84843CF27AED}"/>
                </a:ext>
              </a:extLst>
            </p:cNvPr>
            <p:cNvSpPr txBox="1"/>
            <p:nvPr/>
          </p:nvSpPr>
          <p:spPr>
            <a:xfrm>
              <a:off x="332936" y="2627766"/>
              <a:ext cx="2926080" cy="461665"/>
            </a:xfrm>
            <a:prstGeom prst="rect">
              <a:avLst/>
            </a:prstGeom>
            <a:noFill/>
          </p:spPr>
          <p:txBody>
            <a:bodyPr wrap="square" lIns="0" rIns="0" rtlCol="0" anchor="b">
              <a:spAutoFit/>
            </a:bodyPr>
            <a:lstStyle/>
            <a:p>
              <a:r>
                <a:rPr lang="en-US" sz="2400" b="1" noProof="1">
                  <a:solidFill>
                    <a:schemeClr val="tx2"/>
                  </a:solidFill>
                </a:rPr>
                <a:t>Parallels To Humans</a:t>
              </a:r>
            </a:p>
          </p:txBody>
        </p:sp>
        <p:sp>
          <p:nvSpPr>
            <p:cNvPr id="29" name="TextBox 28">
              <a:extLst>
                <a:ext uri="{FF2B5EF4-FFF2-40B4-BE49-F238E27FC236}">
                  <a16:creationId xmlns:a16="http://schemas.microsoft.com/office/drawing/2014/main" id="{C1907B14-91C7-18FD-BB8B-B25DB130835A}"/>
                </a:ext>
              </a:extLst>
            </p:cNvPr>
            <p:cNvSpPr txBox="1"/>
            <p:nvPr/>
          </p:nvSpPr>
          <p:spPr>
            <a:xfrm>
              <a:off x="332936" y="3086922"/>
              <a:ext cx="2926080" cy="1323439"/>
            </a:xfrm>
            <a:prstGeom prst="rect">
              <a:avLst/>
            </a:prstGeom>
            <a:noFill/>
          </p:spPr>
          <p:txBody>
            <a:bodyPr wrap="square" lIns="0" rIns="0" rtlCol="0" anchor="t">
              <a:spAutoFit/>
            </a:bodyPr>
            <a:lstStyle/>
            <a:p>
              <a:r>
                <a:rPr lang="en-US" sz="1600" noProof="1">
                  <a:solidFill>
                    <a:schemeClr val="tx1">
                      <a:lumMod val="65000"/>
                      <a:lumOff val="35000"/>
                    </a:schemeClr>
                  </a:solidFill>
                </a:rPr>
                <a:t>When individual AI models were highly confident but wrong, the differing of perspectives through debate often resulted in a more calibrated confidence.</a:t>
              </a:r>
            </a:p>
          </p:txBody>
        </p:sp>
      </p:grpSp>
      <p:sp>
        <p:nvSpPr>
          <p:cNvPr id="30" name="TextBox 29">
            <a:extLst>
              <a:ext uri="{FF2B5EF4-FFF2-40B4-BE49-F238E27FC236}">
                <a16:creationId xmlns:a16="http://schemas.microsoft.com/office/drawing/2014/main" id="{713EE16C-34DB-8649-2CD6-01D59F6E7747}"/>
              </a:ext>
            </a:extLst>
          </p:cNvPr>
          <p:cNvSpPr txBox="1"/>
          <p:nvPr/>
        </p:nvSpPr>
        <p:spPr>
          <a:xfrm>
            <a:off x="3938385" y="6399865"/>
            <a:ext cx="3540265" cy="369332"/>
          </a:xfrm>
          <a:prstGeom prst="rect">
            <a:avLst/>
          </a:prstGeom>
          <a:noFill/>
        </p:spPr>
        <p:txBody>
          <a:bodyPr wrap="none" rtlCol="0">
            <a:spAutoFit/>
          </a:bodyPr>
          <a:lstStyle/>
          <a:p>
            <a:r>
              <a:rPr lang="en-US" dirty="0">
                <a:hlinkClick r:id="rId2"/>
              </a:rPr>
              <a:t>https://arxiv.org/pdf/2306.09299</a:t>
            </a:r>
            <a:r>
              <a:rPr lang="en-US" dirty="0"/>
              <a:t>; </a:t>
            </a:r>
          </a:p>
        </p:txBody>
      </p:sp>
    </p:spTree>
    <p:extLst>
      <p:ext uri="{BB962C8B-B14F-4D97-AF65-F5344CB8AC3E}">
        <p14:creationId xmlns:p14="http://schemas.microsoft.com/office/powerpoint/2010/main" val="401626241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2D9C83-6AA4-BDCF-053D-88A3016CCD6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DC13FE0-E64F-9EED-B48C-4903528DFA2B}"/>
              </a:ext>
            </a:extLst>
          </p:cNvPr>
          <p:cNvSpPr>
            <a:spLocks noGrp="1"/>
          </p:cNvSpPr>
          <p:nvPr>
            <p:ph type="title"/>
          </p:nvPr>
        </p:nvSpPr>
        <p:spPr/>
        <p:txBody>
          <a:bodyPr/>
          <a:lstStyle/>
          <a:p>
            <a:r>
              <a:rPr lang="en-US" dirty="0"/>
              <a:t>Pitfalls</a:t>
            </a:r>
          </a:p>
        </p:txBody>
      </p:sp>
      <p:sp>
        <p:nvSpPr>
          <p:cNvPr id="37" name="Shape">
            <a:extLst>
              <a:ext uri="{FF2B5EF4-FFF2-40B4-BE49-F238E27FC236}">
                <a16:creationId xmlns:a16="http://schemas.microsoft.com/office/drawing/2014/main" id="{88550D89-FB7E-4F19-E12D-4E0A4B88D3EE}"/>
              </a:ext>
            </a:extLst>
          </p:cNvPr>
          <p:cNvSpPr/>
          <p:nvPr/>
        </p:nvSpPr>
        <p:spPr>
          <a:xfrm>
            <a:off x="0" y="2064998"/>
            <a:ext cx="12192000" cy="4408954"/>
          </a:xfrm>
          <a:custGeom>
            <a:avLst/>
            <a:gdLst/>
            <a:ahLst/>
            <a:cxnLst>
              <a:cxn ang="0">
                <a:pos x="wd2" y="hd2"/>
              </a:cxn>
              <a:cxn ang="5400000">
                <a:pos x="wd2" y="hd2"/>
              </a:cxn>
              <a:cxn ang="10800000">
                <a:pos x="wd2" y="hd2"/>
              </a:cxn>
              <a:cxn ang="16200000">
                <a:pos x="wd2" y="hd2"/>
              </a:cxn>
            </a:cxnLst>
            <a:rect l="0" t="0" r="r" b="b"/>
            <a:pathLst>
              <a:path w="21600" h="21581" extrusionOk="0">
                <a:moveTo>
                  <a:pt x="21428" y="403"/>
                </a:moveTo>
                <a:cubicBezTo>
                  <a:pt x="21105" y="366"/>
                  <a:pt x="20839" y="235"/>
                  <a:pt x="20705" y="55"/>
                </a:cubicBezTo>
                <a:cubicBezTo>
                  <a:pt x="20652" y="-19"/>
                  <a:pt x="20585" y="-19"/>
                  <a:pt x="20531" y="55"/>
                </a:cubicBezTo>
                <a:cubicBezTo>
                  <a:pt x="20377" y="266"/>
                  <a:pt x="20034" y="415"/>
                  <a:pt x="19636" y="415"/>
                </a:cubicBezTo>
                <a:cubicBezTo>
                  <a:pt x="19239" y="415"/>
                  <a:pt x="18898" y="266"/>
                  <a:pt x="18742" y="55"/>
                </a:cubicBezTo>
                <a:cubicBezTo>
                  <a:pt x="18688" y="-19"/>
                  <a:pt x="18621" y="-19"/>
                  <a:pt x="18567" y="55"/>
                </a:cubicBezTo>
                <a:cubicBezTo>
                  <a:pt x="18414" y="266"/>
                  <a:pt x="18070" y="415"/>
                  <a:pt x="17673" y="415"/>
                </a:cubicBezTo>
                <a:cubicBezTo>
                  <a:pt x="17275" y="415"/>
                  <a:pt x="16934" y="266"/>
                  <a:pt x="16778" y="55"/>
                </a:cubicBezTo>
                <a:cubicBezTo>
                  <a:pt x="16724" y="-19"/>
                  <a:pt x="16658" y="-19"/>
                  <a:pt x="16604" y="55"/>
                </a:cubicBezTo>
                <a:cubicBezTo>
                  <a:pt x="16450" y="266"/>
                  <a:pt x="16106" y="415"/>
                  <a:pt x="15709" y="415"/>
                </a:cubicBezTo>
                <a:cubicBezTo>
                  <a:pt x="15312" y="415"/>
                  <a:pt x="14971" y="266"/>
                  <a:pt x="14814" y="55"/>
                </a:cubicBezTo>
                <a:cubicBezTo>
                  <a:pt x="14761" y="-19"/>
                  <a:pt x="14694" y="-19"/>
                  <a:pt x="14640" y="55"/>
                </a:cubicBezTo>
                <a:cubicBezTo>
                  <a:pt x="14486" y="266"/>
                  <a:pt x="14143" y="415"/>
                  <a:pt x="13745" y="415"/>
                </a:cubicBezTo>
                <a:cubicBezTo>
                  <a:pt x="13348" y="415"/>
                  <a:pt x="13007" y="266"/>
                  <a:pt x="12851" y="55"/>
                </a:cubicBezTo>
                <a:cubicBezTo>
                  <a:pt x="12797" y="-19"/>
                  <a:pt x="12730" y="-19"/>
                  <a:pt x="12676" y="55"/>
                </a:cubicBezTo>
                <a:cubicBezTo>
                  <a:pt x="12523" y="266"/>
                  <a:pt x="12179" y="415"/>
                  <a:pt x="11782" y="415"/>
                </a:cubicBezTo>
                <a:cubicBezTo>
                  <a:pt x="11384" y="415"/>
                  <a:pt x="11044" y="266"/>
                  <a:pt x="10887" y="55"/>
                </a:cubicBezTo>
                <a:cubicBezTo>
                  <a:pt x="10833" y="-19"/>
                  <a:pt x="10767" y="-19"/>
                  <a:pt x="10713" y="55"/>
                </a:cubicBezTo>
                <a:cubicBezTo>
                  <a:pt x="10559" y="266"/>
                  <a:pt x="10216" y="415"/>
                  <a:pt x="9818" y="415"/>
                </a:cubicBezTo>
                <a:cubicBezTo>
                  <a:pt x="9421" y="415"/>
                  <a:pt x="9080" y="266"/>
                  <a:pt x="8924" y="55"/>
                </a:cubicBezTo>
                <a:cubicBezTo>
                  <a:pt x="8870" y="-19"/>
                  <a:pt x="8803" y="-19"/>
                  <a:pt x="8749" y="55"/>
                </a:cubicBezTo>
                <a:cubicBezTo>
                  <a:pt x="8595" y="266"/>
                  <a:pt x="8252" y="415"/>
                  <a:pt x="7855" y="415"/>
                </a:cubicBezTo>
                <a:cubicBezTo>
                  <a:pt x="7457" y="415"/>
                  <a:pt x="7116" y="266"/>
                  <a:pt x="6960" y="55"/>
                </a:cubicBezTo>
                <a:cubicBezTo>
                  <a:pt x="6906" y="-19"/>
                  <a:pt x="6839" y="-19"/>
                  <a:pt x="6786" y="55"/>
                </a:cubicBezTo>
                <a:cubicBezTo>
                  <a:pt x="6632" y="266"/>
                  <a:pt x="6288" y="415"/>
                  <a:pt x="5891" y="415"/>
                </a:cubicBezTo>
                <a:cubicBezTo>
                  <a:pt x="5494" y="415"/>
                  <a:pt x="5153" y="266"/>
                  <a:pt x="4996" y="55"/>
                </a:cubicBezTo>
                <a:cubicBezTo>
                  <a:pt x="4942" y="-19"/>
                  <a:pt x="4876" y="-19"/>
                  <a:pt x="4822" y="55"/>
                </a:cubicBezTo>
                <a:cubicBezTo>
                  <a:pt x="4668" y="266"/>
                  <a:pt x="4325" y="415"/>
                  <a:pt x="3927" y="415"/>
                </a:cubicBezTo>
                <a:cubicBezTo>
                  <a:pt x="3530" y="415"/>
                  <a:pt x="3189" y="266"/>
                  <a:pt x="3033" y="55"/>
                </a:cubicBezTo>
                <a:cubicBezTo>
                  <a:pt x="2979" y="-19"/>
                  <a:pt x="2912" y="-19"/>
                  <a:pt x="2858" y="55"/>
                </a:cubicBezTo>
                <a:cubicBezTo>
                  <a:pt x="2704" y="266"/>
                  <a:pt x="2361" y="415"/>
                  <a:pt x="1964" y="415"/>
                </a:cubicBezTo>
                <a:cubicBezTo>
                  <a:pt x="1566" y="415"/>
                  <a:pt x="1225" y="266"/>
                  <a:pt x="1069" y="55"/>
                </a:cubicBezTo>
                <a:cubicBezTo>
                  <a:pt x="1015" y="-19"/>
                  <a:pt x="948" y="-19"/>
                  <a:pt x="895" y="55"/>
                </a:cubicBezTo>
                <a:cubicBezTo>
                  <a:pt x="764" y="235"/>
                  <a:pt x="495" y="372"/>
                  <a:pt x="172" y="403"/>
                </a:cubicBezTo>
                <a:cubicBezTo>
                  <a:pt x="77" y="415"/>
                  <a:pt x="0" y="602"/>
                  <a:pt x="0" y="831"/>
                </a:cubicBezTo>
                <a:lnTo>
                  <a:pt x="0" y="21581"/>
                </a:lnTo>
                <a:lnTo>
                  <a:pt x="21600" y="21581"/>
                </a:lnTo>
                <a:lnTo>
                  <a:pt x="21600" y="837"/>
                </a:lnTo>
                <a:cubicBezTo>
                  <a:pt x="21600" y="602"/>
                  <a:pt x="21523" y="415"/>
                  <a:pt x="21428" y="403"/>
                </a:cubicBezTo>
                <a:close/>
              </a:path>
            </a:pathLst>
          </a:custGeom>
          <a:solidFill>
            <a:srgbClr val="4CC1EF">
              <a:lumMod val="40000"/>
              <a:lumOff val="60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grpSp>
        <p:nvGrpSpPr>
          <p:cNvPr id="38" name="Group 37">
            <a:extLst>
              <a:ext uri="{FF2B5EF4-FFF2-40B4-BE49-F238E27FC236}">
                <a16:creationId xmlns:a16="http://schemas.microsoft.com/office/drawing/2014/main" id="{D4C5F755-1DAB-3E41-1338-167ABA440E2A}"/>
              </a:ext>
            </a:extLst>
          </p:cNvPr>
          <p:cNvGrpSpPr/>
          <p:nvPr/>
        </p:nvGrpSpPr>
        <p:grpSpPr>
          <a:xfrm>
            <a:off x="851720" y="4295604"/>
            <a:ext cx="2500827" cy="2459704"/>
            <a:chOff x="8921977" y="1528280"/>
            <a:chExt cx="2926080" cy="2459704"/>
          </a:xfrm>
        </p:grpSpPr>
        <p:sp>
          <p:nvSpPr>
            <p:cNvPr id="39" name="TextBox 38">
              <a:extLst>
                <a:ext uri="{FF2B5EF4-FFF2-40B4-BE49-F238E27FC236}">
                  <a16:creationId xmlns:a16="http://schemas.microsoft.com/office/drawing/2014/main" id="{CFC41A4C-5694-D340-10A0-D2F02D512207}"/>
                </a:ext>
              </a:extLst>
            </p:cNvPr>
            <p:cNvSpPr txBox="1"/>
            <p:nvPr/>
          </p:nvSpPr>
          <p:spPr>
            <a:xfrm>
              <a:off x="8921977" y="1528280"/>
              <a:ext cx="2926080" cy="400110"/>
            </a:xfrm>
            <a:prstGeom prst="rect">
              <a:avLst/>
            </a:prstGeom>
            <a:noFill/>
          </p:spPr>
          <p:txBody>
            <a:bodyPr wrap="square" lIns="0" rIns="0" rtlCol="0" anchor="b">
              <a:spAutoFit/>
            </a:bodyPr>
            <a:lstStyle/>
            <a:p>
              <a:pPr algn="ctr"/>
              <a:r>
                <a:rPr lang="en-US" sz="2000" b="1" noProof="1">
                  <a:solidFill>
                    <a:srgbClr val="063951"/>
                  </a:solidFill>
                  <a:latin typeface="Calibri" panose="020F0502020204030204"/>
                </a:rPr>
                <a:t>Isolation</a:t>
              </a:r>
            </a:p>
          </p:txBody>
        </p:sp>
        <p:sp>
          <p:nvSpPr>
            <p:cNvPr id="40" name="TextBox 39">
              <a:extLst>
                <a:ext uri="{FF2B5EF4-FFF2-40B4-BE49-F238E27FC236}">
                  <a16:creationId xmlns:a16="http://schemas.microsoft.com/office/drawing/2014/main" id="{3B6D8E8F-7469-F013-EE60-C3C226C6ED61}"/>
                </a:ext>
              </a:extLst>
            </p:cNvPr>
            <p:cNvSpPr txBox="1"/>
            <p:nvPr/>
          </p:nvSpPr>
          <p:spPr>
            <a:xfrm>
              <a:off x="8921977" y="1925881"/>
              <a:ext cx="2926080" cy="2062103"/>
            </a:xfrm>
            <a:prstGeom prst="rect">
              <a:avLst/>
            </a:prstGeom>
            <a:noFill/>
          </p:spPr>
          <p:txBody>
            <a:bodyPr wrap="square" lIns="0" rIns="0" rtlCol="0" anchor="t">
              <a:spAutoFit/>
            </a:bodyPr>
            <a:lstStyle/>
            <a:p>
              <a:pPr algn="ctr"/>
              <a:r>
                <a:rPr lang="en-US" sz="1600" noProof="1">
                  <a:solidFill>
                    <a:prstClr val="black">
                      <a:lumMod val="65000"/>
                      <a:lumOff val="35000"/>
                    </a:prstClr>
                  </a:solidFill>
                  <a:latin typeface="Calibri" panose="020F0502020204030204"/>
                </a:rPr>
                <a:t>An agent might perform admirably in isolation yet their interconnected nature can create unexpected vulnerabilities</a:t>
              </a:r>
            </a:p>
          </p:txBody>
        </p:sp>
      </p:grpSp>
      <p:grpSp>
        <p:nvGrpSpPr>
          <p:cNvPr id="41" name="Group 40">
            <a:extLst>
              <a:ext uri="{FF2B5EF4-FFF2-40B4-BE49-F238E27FC236}">
                <a16:creationId xmlns:a16="http://schemas.microsoft.com/office/drawing/2014/main" id="{FA4EFC7F-849E-0DA2-7D4C-22B15EAA2EAD}"/>
              </a:ext>
            </a:extLst>
          </p:cNvPr>
          <p:cNvGrpSpPr/>
          <p:nvPr/>
        </p:nvGrpSpPr>
        <p:grpSpPr>
          <a:xfrm>
            <a:off x="3305210" y="3230881"/>
            <a:ext cx="2197375" cy="1721040"/>
            <a:chOff x="8921977" y="1528280"/>
            <a:chExt cx="2926080" cy="1721040"/>
          </a:xfrm>
        </p:grpSpPr>
        <p:sp>
          <p:nvSpPr>
            <p:cNvPr id="42" name="TextBox 41">
              <a:extLst>
                <a:ext uri="{FF2B5EF4-FFF2-40B4-BE49-F238E27FC236}">
                  <a16:creationId xmlns:a16="http://schemas.microsoft.com/office/drawing/2014/main" id="{99266900-5A91-C295-F21A-C74C69D300F7}"/>
                </a:ext>
              </a:extLst>
            </p:cNvPr>
            <p:cNvSpPr txBox="1"/>
            <p:nvPr/>
          </p:nvSpPr>
          <p:spPr>
            <a:xfrm>
              <a:off x="8921977" y="1528280"/>
              <a:ext cx="2926080" cy="400110"/>
            </a:xfrm>
            <a:prstGeom prst="rect">
              <a:avLst/>
            </a:prstGeom>
            <a:noFill/>
          </p:spPr>
          <p:txBody>
            <a:bodyPr wrap="square" lIns="0" rIns="0" rtlCol="0" anchor="b">
              <a:spAutoFit/>
            </a:bodyPr>
            <a:lstStyle/>
            <a:p>
              <a:pPr algn="ctr"/>
              <a:r>
                <a:rPr lang="en-US" sz="2000" b="1" noProof="1">
                  <a:solidFill>
                    <a:srgbClr val="063951"/>
                  </a:solidFill>
                  <a:latin typeface="Calibri" panose="020F0502020204030204"/>
                </a:rPr>
                <a:t>Error Multiplication</a:t>
              </a:r>
            </a:p>
          </p:txBody>
        </p:sp>
        <p:sp>
          <p:nvSpPr>
            <p:cNvPr id="43" name="TextBox 42">
              <a:extLst>
                <a:ext uri="{FF2B5EF4-FFF2-40B4-BE49-F238E27FC236}">
                  <a16:creationId xmlns:a16="http://schemas.microsoft.com/office/drawing/2014/main" id="{E0C57B0A-0FE8-3048-1F02-432068D520C3}"/>
                </a:ext>
              </a:extLst>
            </p:cNvPr>
            <p:cNvSpPr txBox="1"/>
            <p:nvPr/>
          </p:nvSpPr>
          <p:spPr>
            <a:xfrm>
              <a:off x="8921977" y="1925881"/>
              <a:ext cx="2926080" cy="1323439"/>
            </a:xfrm>
            <a:prstGeom prst="rect">
              <a:avLst/>
            </a:prstGeom>
            <a:noFill/>
          </p:spPr>
          <p:txBody>
            <a:bodyPr wrap="square" lIns="0" rIns="0" rtlCol="0" anchor="t">
              <a:spAutoFit/>
            </a:bodyPr>
            <a:lstStyle/>
            <a:p>
              <a:pPr algn="ctr"/>
              <a:r>
                <a:rPr lang="en-US" sz="1600" noProof="1">
                  <a:solidFill>
                    <a:prstClr val="black">
                      <a:lumMod val="65000"/>
                      <a:lumOff val="35000"/>
                    </a:prstClr>
                  </a:solidFill>
                  <a:latin typeface="Calibri" panose="020F0502020204030204"/>
                </a:rPr>
                <a:t>Reasoning errors don’t simply accumulate, they multiple in a network effect and compound a noisy signal</a:t>
              </a:r>
            </a:p>
          </p:txBody>
        </p:sp>
      </p:grpSp>
      <p:grpSp>
        <p:nvGrpSpPr>
          <p:cNvPr id="44" name="Group 43">
            <a:extLst>
              <a:ext uri="{FF2B5EF4-FFF2-40B4-BE49-F238E27FC236}">
                <a16:creationId xmlns:a16="http://schemas.microsoft.com/office/drawing/2014/main" id="{6BE5F93B-5CBD-80A8-645A-FD8B1ED7BC1C}"/>
              </a:ext>
            </a:extLst>
          </p:cNvPr>
          <p:cNvGrpSpPr/>
          <p:nvPr/>
        </p:nvGrpSpPr>
        <p:grpSpPr>
          <a:xfrm>
            <a:off x="5212079" y="4081639"/>
            <a:ext cx="3986899" cy="2028816"/>
            <a:chOff x="8619946" y="1220504"/>
            <a:chExt cx="3228111" cy="2028816"/>
          </a:xfrm>
        </p:grpSpPr>
        <p:sp>
          <p:nvSpPr>
            <p:cNvPr id="45" name="TextBox 44">
              <a:extLst>
                <a:ext uri="{FF2B5EF4-FFF2-40B4-BE49-F238E27FC236}">
                  <a16:creationId xmlns:a16="http://schemas.microsoft.com/office/drawing/2014/main" id="{380BD418-AA48-3968-0860-226BA2619E00}"/>
                </a:ext>
              </a:extLst>
            </p:cNvPr>
            <p:cNvSpPr txBox="1"/>
            <p:nvPr/>
          </p:nvSpPr>
          <p:spPr>
            <a:xfrm>
              <a:off x="8921977" y="1220504"/>
              <a:ext cx="2602092" cy="707886"/>
            </a:xfrm>
            <a:prstGeom prst="rect">
              <a:avLst/>
            </a:prstGeom>
            <a:noFill/>
          </p:spPr>
          <p:txBody>
            <a:bodyPr wrap="square" lIns="0" rIns="0" rtlCol="0" anchor="b">
              <a:spAutoFit/>
            </a:bodyPr>
            <a:lstStyle/>
            <a:p>
              <a:pPr algn="ctr"/>
              <a:r>
                <a:rPr lang="en-US" sz="2000" b="1" noProof="1">
                  <a:solidFill>
                    <a:srgbClr val="063951"/>
                  </a:solidFill>
                  <a:latin typeface="Calibri" panose="020F0502020204030204"/>
                </a:rPr>
                <a:t>Errors Spawn Invalid Reasoning &amp; Action Chains</a:t>
              </a:r>
            </a:p>
          </p:txBody>
        </p:sp>
        <p:sp>
          <p:nvSpPr>
            <p:cNvPr id="46" name="TextBox 45">
              <a:extLst>
                <a:ext uri="{FF2B5EF4-FFF2-40B4-BE49-F238E27FC236}">
                  <a16:creationId xmlns:a16="http://schemas.microsoft.com/office/drawing/2014/main" id="{9F76EBB3-FBA5-271D-C944-58E961433922}"/>
                </a:ext>
              </a:extLst>
            </p:cNvPr>
            <p:cNvSpPr txBox="1"/>
            <p:nvPr/>
          </p:nvSpPr>
          <p:spPr>
            <a:xfrm>
              <a:off x="8619946" y="1925881"/>
              <a:ext cx="3228111" cy="1323439"/>
            </a:xfrm>
            <a:prstGeom prst="rect">
              <a:avLst/>
            </a:prstGeom>
            <a:noFill/>
          </p:spPr>
          <p:txBody>
            <a:bodyPr wrap="square" lIns="0" rIns="0" rtlCol="0" anchor="t">
              <a:spAutoFit/>
            </a:bodyPr>
            <a:lstStyle/>
            <a:p>
              <a:pPr algn="ctr"/>
              <a:r>
                <a:rPr lang="en-US" sz="1600" noProof="1">
                  <a:solidFill>
                    <a:prstClr val="black">
                      <a:lumMod val="65000"/>
                      <a:lumOff val="35000"/>
                    </a:prstClr>
                  </a:solidFill>
                  <a:latin typeface="Calibri" panose="020F0502020204030204"/>
                </a:rPr>
                <a:t>Small errors trigger a series of invalid, irrelevant reasoning and action chains. For example, a small reasoning error assessing network capacity can lead to load balancing spawning resource allocation and maintenance agents.</a:t>
              </a:r>
            </a:p>
          </p:txBody>
        </p:sp>
      </p:grpSp>
      <p:grpSp>
        <p:nvGrpSpPr>
          <p:cNvPr id="47" name="Group 46">
            <a:extLst>
              <a:ext uri="{FF2B5EF4-FFF2-40B4-BE49-F238E27FC236}">
                <a16:creationId xmlns:a16="http://schemas.microsoft.com/office/drawing/2014/main" id="{3E3F13B5-47AA-2EE0-2AC1-D77372327A76}"/>
              </a:ext>
            </a:extLst>
          </p:cNvPr>
          <p:cNvGrpSpPr/>
          <p:nvPr/>
        </p:nvGrpSpPr>
        <p:grpSpPr>
          <a:xfrm>
            <a:off x="9608887" y="3529298"/>
            <a:ext cx="2391204" cy="3013701"/>
            <a:chOff x="8921977" y="1220504"/>
            <a:chExt cx="2926080" cy="3013701"/>
          </a:xfrm>
        </p:grpSpPr>
        <p:sp>
          <p:nvSpPr>
            <p:cNvPr id="48" name="TextBox 47">
              <a:extLst>
                <a:ext uri="{FF2B5EF4-FFF2-40B4-BE49-F238E27FC236}">
                  <a16:creationId xmlns:a16="http://schemas.microsoft.com/office/drawing/2014/main" id="{07BDCABA-4893-4EC5-8433-0EFF18E8F992}"/>
                </a:ext>
              </a:extLst>
            </p:cNvPr>
            <p:cNvSpPr txBox="1"/>
            <p:nvPr/>
          </p:nvSpPr>
          <p:spPr>
            <a:xfrm>
              <a:off x="8921977" y="1220504"/>
              <a:ext cx="2926080" cy="707886"/>
            </a:xfrm>
            <a:prstGeom prst="rect">
              <a:avLst/>
            </a:prstGeom>
            <a:noFill/>
          </p:spPr>
          <p:txBody>
            <a:bodyPr wrap="square" lIns="0" rIns="0" rtlCol="0" anchor="b">
              <a:spAutoFit/>
            </a:bodyPr>
            <a:lstStyle/>
            <a:p>
              <a:pPr algn="ctr"/>
              <a:r>
                <a:rPr lang="en-US" sz="2000" b="1" noProof="1">
                  <a:solidFill>
                    <a:srgbClr val="063951"/>
                  </a:solidFill>
                  <a:latin typeface="Calibri" panose="020F0502020204030204"/>
                </a:rPr>
                <a:t>Reasoning Checkpoints</a:t>
              </a:r>
            </a:p>
          </p:txBody>
        </p:sp>
        <p:sp>
          <p:nvSpPr>
            <p:cNvPr id="49" name="TextBox 48">
              <a:extLst>
                <a:ext uri="{FF2B5EF4-FFF2-40B4-BE49-F238E27FC236}">
                  <a16:creationId xmlns:a16="http://schemas.microsoft.com/office/drawing/2014/main" id="{227CBB0E-A54E-4242-3FB8-5941F2D0D47C}"/>
                </a:ext>
              </a:extLst>
            </p:cNvPr>
            <p:cNvSpPr txBox="1"/>
            <p:nvPr/>
          </p:nvSpPr>
          <p:spPr>
            <a:xfrm>
              <a:off x="8921977" y="1925881"/>
              <a:ext cx="2926080" cy="2308324"/>
            </a:xfrm>
            <a:prstGeom prst="rect">
              <a:avLst/>
            </a:prstGeom>
            <a:noFill/>
          </p:spPr>
          <p:txBody>
            <a:bodyPr wrap="square" lIns="0" rIns="0" rtlCol="0" anchor="t">
              <a:spAutoFit/>
            </a:bodyPr>
            <a:lstStyle/>
            <a:p>
              <a:pPr algn="ctr"/>
              <a:r>
                <a:rPr lang="en-US" sz="1600" noProof="1">
                  <a:solidFill>
                    <a:prstClr val="black">
                      <a:lumMod val="65000"/>
                      <a:lumOff val="35000"/>
                    </a:prstClr>
                  </a:solidFill>
                  <a:latin typeface="Calibri" panose="020F0502020204030204"/>
                </a:rPr>
                <a:t>Reasoning Checkpoints serve as circuit breakers that can intercede with human validation before propogation through system.</a:t>
              </a:r>
            </a:p>
          </p:txBody>
        </p:sp>
      </p:grpSp>
      <p:grpSp>
        <p:nvGrpSpPr>
          <p:cNvPr id="50" name="Group 49">
            <a:extLst>
              <a:ext uri="{FF2B5EF4-FFF2-40B4-BE49-F238E27FC236}">
                <a16:creationId xmlns:a16="http://schemas.microsoft.com/office/drawing/2014/main" id="{AC5047E2-F0EB-1591-ABD5-7B6B953A9F17}"/>
              </a:ext>
            </a:extLst>
          </p:cNvPr>
          <p:cNvGrpSpPr/>
          <p:nvPr/>
        </p:nvGrpSpPr>
        <p:grpSpPr>
          <a:xfrm>
            <a:off x="1630193" y="2558253"/>
            <a:ext cx="1341109" cy="1875861"/>
            <a:chOff x="1783487" y="2684586"/>
            <a:chExt cx="1130652" cy="1581487"/>
          </a:xfrm>
        </p:grpSpPr>
        <p:sp>
          <p:nvSpPr>
            <p:cNvPr id="51" name="Shape">
              <a:extLst>
                <a:ext uri="{FF2B5EF4-FFF2-40B4-BE49-F238E27FC236}">
                  <a16:creationId xmlns:a16="http://schemas.microsoft.com/office/drawing/2014/main" id="{576B4488-6FE7-2A6F-95A8-209836B5502A}"/>
                </a:ext>
              </a:extLst>
            </p:cNvPr>
            <p:cNvSpPr/>
            <p:nvPr/>
          </p:nvSpPr>
          <p:spPr>
            <a:xfrm>
              <a:off x="1783487" y="3767560"/>
              <a:ext cx="1034520" cy="498513"/>
            </a:xfrm>
            <a:custGeom>
              <a:avLst/>
              <a:gdLst/>
              <a:ahLst/>
              <a:cxnLst>
                <a:cxn ang="0">
                  <a:pos x="wd2" y="hd2"/>
                </a:cxn>
                <a:cxn ang="5400000">
                  <a:pos x="wd2" y="hd2"/>
                </a:cxn>
                <a:cxn ang="10800000">
                  <a:pos x="wd2" y="hd2"/>
                </a:cxn>
                <a:cxn ang="16200000">
                  <a:pos x="wd2" y="hd2"/>
                </a:cxn>
              </a:cxnLst>
              <a:rect l="0" t="0" r="r" b="b"/>
              <a:pathLst>
                <a:path w="21557" h="21600" extrusionOk="0">
                  <a:moveTo>
                    <a:pt x="13103" y="16386"/>
                  </a:moveTo>
                  <a:cubicBezTo>
                    <a:pt x="10237" y="18248"/>
                    <a:pt x="7336" y="20036"/>
                    <a:pt x="4363" y="20110"/>
                  </a:cubicBezTo>
                  <a:cubicBezTo>
                    <a:pt x="4005" y="20036"/>
                    <a:pt x="3646" y="20036"/>
                    <a:pt x="3288" y="20036"/>
                  </a:cubicBezTo>
                  <a:cubicBezTo>
                    <a:pt x="2930" y="19961"/>
                    <a:pt x="2572" y="19812"/>
                    <a:pt x="2250" y="19589"/>
                  </a:cubicBezTo>
                  <a:cubicBezTo>
                    <a:pt x="1569" y="19217"/>
                    <a:pt x="960" y="18472"/>
                    <a:pt x="745" y="17280"/>
                  </a:cubicBezTo>
                  <a:cubicBezTo>
                    <a:pt x="566" y="16088"/>
                    <a:pt x="817" y="14599"/>
                    <a:pt x="1175" y="13407"/>
                  </a:cubicBezTo>
                  <a:cubicBezTo>
                    <a:pt x="1533" y="12141"/>
                    <a:pt x="2035" y="11023"/>
                    <a:pt x="2572" y="9906"/>
                  </a:cubicBezTo>
                  <a:cubicBezTo>
                    <a:pt x="3109" y="8789"/>
                    <a:pt x="3718" y="7821"/>
                    <a:pt x="4327" y="6852"/>
                  </a:cubicBezTo>
                  <a:cubicBezTo>
                    <a:pt x="4148" y="7150"/>
                    <a:pt x="3933" y="7448"/>
                    <a:pt x="3754" y="7821"/>
                  </a:cubicBezTo>
                  <a:cubicBezTo>
                    <a:pt x="3288" y="8640"/>
                    <a:pt x="2894" y="9608"/>
                    <a:pt x="2536" y="10651"/>
                  </a:cubicBezTo>
                  <a:cubicBezTo>
                    <a:pt x="2357" y="11172"/>
                    <a:pt x="2214" y="11768"/>
                    <a:pt x="2142" y="12439"/>
                  </a:cubicBezTo>
                  <a:cubicBezTo>
                    <a:pt x="2070" y="13034"/>
                    <a:pt x="2034" y="13779"/>
                    <a:pt x="2142" y="14450"/>
                  </a:cubicBezTo>
                  <a:cubicBezTo>
                    <a:pt x="2249" y="15120"/>
                    <a:pt x="2464" y="15716"/>
                    <a:pt x="2751" y="16088"/>
                  </a:cubicBezTo>
                  <a:cubicBezTo>
                    <a:pt x="3002" y="16461"/>
                    <a:pt x="3324" y="16759"/>
                    <a:pt x="3611" y="16908"/>
                  </a:cubicBezTo>
                  <a:cubicBezTo>
                    <a:pt x="3897" y="17131"/>
                    <a:pt x="4219" y="17205"/>
                    <a:pt x="4506" y="17280"/>
                  </a:cubicBezTo>
                  <a:cubicBezTo>
                    <a:pt x="4793" y="17354"/>
                    <a:pt x="5115" y="17354"/>
                    <a:pt x="5437" y="17354"/>
                  </a:cubicBezTo>
                  <a:cubicBezTo>
                    <a:pt x="7873" y="17205"/>
                    <a:pt x="10202" y="15716"/>
                    <a:pt x="12458" y="14152"/>
                  </a:cubicBezTo>
                  <a:cubicBezTo>
                    <a:pt x="13569" y="13332"/>
                    <a:pt x="14679" y="12364"/>
                    <a:pt x="15790" y="11396"/>
                  </a:cubicBezTo>
                  <a:cubicBezTo>
                    <a:pt x="16864" y="10353"/>
                    <a:pt x="17975" y="9385"/>
                    <a:pt x="19014" y="8193"/>
                  </a:cubicBezTo>
                  <a:cubicBezTo>
                    <a:pt x="16828" y="10204"/>
                    <a:pt x="14608" y="11992"/>
                    <a:pt x="12351" y="13556"/>
                  </a:cubicBezTo>
                  <a:cubicBezTo>
                    <a:pt x="10094" y="15045"/>
                    <a:pt x="7766" y="16461"/>
                    <a:pt x="5437" y="16610"/>
                  </a:cubicBezTo>
                  <a:cubicBezTo>
                    <a:pt x="5151" y="16610"/>
                    <a:pt x="4864" y="16610"/>
                    <a:pt x="4578" y="16535"/>
                  </a:cubicBezTo>
                  <a:cubicBezTo>
                    <a:pt x="4291" y="16461"/>
                    <a:pt x="4005" y="16386"/>
                    <a:pt x="3718" y="16163"/>
                  </a:cubicBezTo>
                  <a:cubicBezTo>
                    <a:pt x="3181" y="15865"/>
                    <a:pt x="2643" y="15269"/>
                    <a:pt x="2464" y="14226"/>
                  </a:cubicBezTo>
                  <a:cubicBezTo>
                    <a:pt x="2285" y="13183"/>
                    <a:pt x="2536" y="11992"/>
                    <a:pt x="2823" y="11023"/>
                  </a:cubicBezTo>
                  <a:cubicBezTo>
                    <a:pt x="3109" y="9981"/>
                    <a:pt x="3539" y="9087"/>
                    <a:pt x="3933" y="8268"/>
                  </a:cubicBezTo>
                  <a:cubicBezTo>
                    <a:pt x="4793" y="6554"/>
                    <a:pt x="5760" y="5214"/>
                    <a:pt x="6799" y="3948"/>
                  </a:cubicBezTo>
                  <a:cubicBezTo>
                    <a:pt x="7802" y="2681"/>
                    <a:pt x="8876" y="1564"/>
                    <a:pt x="9987" y="596"/>
                  </a:cubicBezTo>
                  <a:cubicBezTo>
                    <a:pt x="8984" y="1341"/>
                    <a:pt x="8017" y="2234"/>
                    <a:pt x="7049" y="3277"/>
                  </a:cubicBezTo>
                  <a:cubicBezTo>
                    <a:pt x="8052" y="2086"/>
                    <a:pt x="9091" y="1043"/>
                    <a:pt x="10130" y="0"/>
                  </a:cubicBezTo>
                  <a:cubicBezTo>
                    <a:pt x="7300" y="2086"/>
                    <a:pt x="4506" y="4841"/>
                    <a:pt x="2178" y="9012"/>
                  </a:cubicBezTo>
                  <a:cubicBezTo>
                    <a:pt x="1605" y="10055"/>
                    <a:pt x="1067" y="11247"/>
                    <a:pt x="638" y="12662"/>
                  </a:cubicBezTo>
                  <a:cubicBezTo>
                    <a:pt x="423" y="13332"/>
                    <a:pt x="243" y="14152"/>
                    <a:pt x="100" y="14971"/>
                  </a:cubicBezTo>
                  <a:cubicBezTo>
                    <a:pt x="-7" y="15790"/>
                    <a:pt x="-43" y="16759"/>
                    <a:pt x="64" y="17652"/>
                  </a:cubicBezTo>
                  <a:cubicBezTo>
                    <a:pt x="208" y="18546"/>
                    <a:pt x="530" y="19365"/>
                    <a:pt x="888" y="19812"/>
                  </a:cubicBezTo>
                  <a:cubicBezTo>
                    <a:pt x="1246" y="20334"/>
                    <a:pt x="1641" y="20706"/>
                    <a:pt x="1999" y="20930"/>
                  </a:cubicBezTo>
                  <a:cubicBezTo>
                    <a:pt x="2393" y="21153"/>
                    <a:pt x="2787" y="21302"/>
                    <a:pt x="3181" y="21451"/>
                  </a:cubicBezTo>
                  <a:cubicBezTo>
                    <a:pt x="3575" y="21526"/>
                    <a:pt x="3969" y="21526"/>
                    <a:pt x="4363" y="21600"/>
                  </a:cubicBezTo>
                  <a:cubicBezTo>
                    <a:pt x="7479" y="21451"/>
                    <a:pt x="10417" y="19514"/>
                    <a:pt x="13282" y="17429"/>
                  </a:cubicBezTo>
                  <a:cubicBezTo>
                    <a:pt x="16148" y="15269"/>
                    <a:pt x="18906" y="12662"/>
                    <a:pt x="21557" y="9757"/>
                  </a:cubicBezTo>
                  <a:cubicBezTo>
                    <a:pt x="18799" y="12215"/>
                    <a:pt x="15969" y="14450"/>
                    <a:pt x="13103" y="16386"/>
                  </a:cubicBezTo>
                  <a:close/>
                </a:path>
              </a:pathLst>
            </a:custGeom>
            <a:solidFill>
              <a:srgbClr val="4CC1EF">
                <a:lumMod val="75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52" name="Shape">
              <a:extLst>
                <a:ext uri="{FF2B5EF4-FFF2-40B4-BE49-F238E27FC236}">
                  <a16:creationId xmlns:a16="http://schemas.microsoft.com/office/drawing/2014/main" id="{B2458AAA-FC51-AAB4-FF73-1836423397D4}"/>
                </a:ext>
              </a:extLst>
            </p:cNvPr>
            <p:cNvSpPr/>
            <p:nvPr/>
          </p:nvSpPr>
          <p:spPr>
            <a:xfrm>
              <a:off x="2006957" y="2684586"/>
              <a:ext cx="907182" cy="1403151"/>
            </a:xfrm>
            <a:custGeom>
              <a:avLst/>
              <a:gdLst/>
              <a:ahLst/>
              <a:cxnLst>
                <a:cxn ang="0">
                  <a:pos x="wd2" y="hd2"/>
                </a:cxn>
                <a:cxn ang="5400000">
                  <a:pos x="wd2" y="hd2"/>
                </a:cxn>
                <a:cxn ang="10800000">
                  <a:pos x="wd2" y="hd2"/>
                </a:cxn>
                <a:cxn ang="16200000">
                  <a:pos x="wd2" y="hd2"/>
                </a:cxn>
              </a:cxnLst>
              <a:rect l="0" t="0" r="r" b="b"/>
              <a:pathLst>
                <a:path w="21387" h="21449" extrusionOk="0">
                  <a:moveTo>
                    <a:pt x="1286" y="21442"/>
                  </a:moveTo>
                  <a:cubicBezTo>
                    <a:pt x="395" y="21416"/>
                    <a:pt x="-213" y="20838"/>
                    <a:pt x="71" y="20312"/>
                  </a:cubicBezTo>
                  <a:cubicBezTo>
                    <a:pt x="1570" y="17028"/>
                    <a:pt x="7325" y="6491"/>
                    <a:pt x="20901" y="236"/>
                  </a:cubicBezTo>
                  <a:cubicBezTo>
                    <a:pt x="21063" y="158"/>
                    <a:pt x="21225" y="79"/>
                    <a:pt x="21387" y="0"/>
                  </a:cubicBezTo>
                  <a:cubicBezTo>
                    <a:pt x="21387" y="0"/>
                    <a:pt x="18267" y="6254"/>
                    <a:pt x="17132" y="10958"/>
                  </a:cubicBezTo>
                  <a:cubicBezTo>
                    <a:pt x="16524" y="13507"/>
                    <a:pt x="17294" y="14926"/>
                    <a:pt x="18104" y="15714"/>
                  </a:cubicBezTo>
                  <a:cubicBezTo>
                    <a:pt x="18712" y="16292"/>
                    <a:pt x="18510" y="17080"/>
                    <a:pt x="17618" y="17501"/>
                  </a:cubicBezTo>
                  <a:cubicBezTo>
                    <a:pt x="14376" y="18946"/>
                    <a:pt x="7487" y="21600"/>
                    <a:pt x="1286" y="21442"/>
                  </a:cubicBezTo>
                  <a:close/>
                </a:path>
              </a:pathLst>
            </a:custGeom>
            <a:solidFill>
              <a:sysClr val="windowText" lastClr="000000">
                <a:lumMod val="75000"/>
                <a:lumOff val="25000"/>
              </a:sys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dirty="0">
                <a:ln>
                  <a:noFill/>
                </a:ln>
                <a:solidFill>
                  <a:srgbClr val="FFFFFF"/>
                </a:solidFill>
                <a:effectLst/>
                <a:uLnTx/>
                <a:uFillTx/>
                <a:latin typeface="Calibri" panose="020F0502020204030204"/>
              </a:endParaRPr>
            </a:p>
          </p:txBody>
        </p:sp>
        <p:sp>
          <p:nvSpPr>
            <p:cNvPr id="53" name="Shape">
              <a:extLst>
                <a:ext uri="{FF2B5EF4-FFF2-40B4-BE49-F238E27FC236}">
                  <a16:creationId xmlns:a16="http://schemas.microsoft.com/office/drawing/2014/main" id="{13EF5A92-CFD4-923D-5B22-52792D6761A7}"/>
                </a:ext>
              </a:extLst>
            </p:cNvPr>
            <p:cNvSpPr/>
            <p:nvPr/>
          </p:nvSpPr>
          <p:spPr>
            <a:xfrm>
              <a:off x="2196049" y="2873677"/>
              <a:ext cx="568994" cy="85262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79" y="19510"/>
                    <a:pt x="2284" y="17506"/>
                    <a:pt x="3785" y="15547"/>
                  </a:cubicBezTo>
                  <a:cubicBezTo>
                    <a:pt x="5221" y="13587"/>
                    <a:pt x="6917" y="11715"/>
                    <a:pt x="8744" y="9885"/>
                  </a:cubicBezTo>
                  <a:cubicBezTo>
                    <a:pt x="9658" y="8971"/>
                    <a:pt x="10637" y="8100"/>
                    <a:pt x="11551" y="7185"/>
                  </a:cubicBezTo>
                  <a:lnTo>
                    <a:pt x="13051" y="5879"/>
                  </a:lnTo>
                  <a:lnTo>
                    <a:pt x="13835" y="5226"/>
                  </a:lnTo>
                  <a:lnTo>
                    <a:pt x="14618" y="4616"/>
                  </a:lnTo>
                  <a:cubicBezTo>
                    <a:pt x="16706" y="2961"/>
                    <a:pt x="19120" y="1437"/>
                    <a:pt x="21600" y="0"/>
                  </a:cubicBezTo>
                  <a:cubicBezTo>
                    <a:pt x="19512" y="1655"/>
                    <a:pt x="17358" y="3310"/>
                    <a:pt x="15401" y="5052"/>
                  </a:cubicBezTo>
                  <a:cubicBezTo>
                    <a:pt x="13443" y="6750"/>
                    <a:pt x="11551" y="8535"/>
                    <a:pt x="9788" y="10321"/>
                  </a:cubicBezTo>
                  <a:cubicBezTo>
                    <a:pt x="7961" y="12106"/>
                    <a:pt x="6265" y="13979"/>
                    <a:pt x="4633" y="15852"/>
                  </a:cubicBezTo>
                  <a:cubicBezTo>
                    <a:pt x="3002" y="17768"/>
                    <a:pt x="1436" y="19640"/>
                    <a:pt x="0" y="21600"/>
                  </a:cubicBezTo>
                  <a:close/>
                </a:path>
              </a:pathLst>
            </a:custGeom>
            <a:solidFill>
              <a:sysClr val="windowText" lastClr="000000">
                <a:lumMod val="50000"/>
                <a:lumOff val="50000"/>
              </a:sys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54" name="TextBox 53">
              <a:extLst>
                <a:ext uri="{FF2B5EF4-FFF2-40B4-BE49-F238E27FC236}">
                  <a16:creationId xmlns:a16="http://schemas.microsoft.com/office/drawing/2014/main" id="{254D2ABE-51AA-86B5-2D97-CC195D8E348F}"/>
                </a:ext>
              </a:extLst>
            </p:cNvPr>
            <p:cNvSpPr txBox="1"/>
            <p:nvPr/>
          </p:nvSpPr>
          <p:spPr>
            <a:xfrm>
              <a:off x="2265234" y="3546064"/>
              <a:ext cx="418704" cy="369332"/>
            </a:xfrm>
            <a:prstGeom prst="rect">
              <a:avLst/>
            </a:prstGeom>
            <a:noFill/>
          </p:spPr>
          <p:txBody>
            <a:bodyPr wrap="non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Calibri" panose="020F0502020204030204"/>
                </a:rPr>
                <a:t>01</a:t>
              </a:r>
            </a:p>
          </p:txBody>
        </p:sp>
      </p:grpSp>
      <p:grpSp>
        <p:nvGrpSpPr>
          <p:cNvPr id="55" name="Group 54">
            <a:extLst>
              <a:ext uri="{FF2B5EF4-FFF2-40B4-BE49-F238E27FC236}">
                <a16:creationId xmlns:a16="http://schemas.microsoft.com/office/drawing/2014/main" id="{DA95626F-C81B-FE49-2CA7-5071C698143A}"/>
              </a:ext>
            </a:extLst>
          </p:cNvPr>
          <p:cNvGrpSpPr/>
          <p:nvPr/>
        </p:nvGrpSpPr>
        <p:grpSpPr>
          <a:xfrm>
            <a:off x="3431516" y="1436501"/>
            <a:ext cx="1442468" cy="1792902"/>
            <a:chOff x="4499517" y="1570347"/>
            <a:chExt cx="1216105" cy="1511546"/>
          </a:xfrm>
        </p:grpSpPr>
        <p:sp>
          <p:nvSpPr>
            <p:cNvPr id="56" name="Shape">
              <a:extLst>
                <a:ext uri="{FF2B5EF4-FFF2-40B4-BE49-F238E27FC236}">
                  <a16:creationId xmlns:a16="http://schemas.microsoft.com/office/drawing/2014/main" id="{A440A7CA-E613-AE42-0644-4F7473E71B7C}"/>
                </a:ext>
              </a:extLst>
            </p:cNvPr>
            <p:cNvSpPr/>
            <p:nvPr/>
          </p:nvSpPr>
          <p:spPr>
            <a:xfrm>
              <a:off x="4671419" y="2601750"/>
              <a:ext cx="1044203" cy="480143"/>
            </a:xfrm>
            <a:custGeom>
              <a:avLst/>
              <a:gdLst/>
              <a:ahLst/>
              <a:cxnLst>
                <a:cxn ang="0">
                  <a:pos x="wd2" y="hd2"/>
                </a:cxn>
                <a:cxn ang="5400000">
                  <a:pos x="wd2" y="hd2"/>
                </a:cxn>
                <a:cxn ang="10800000">
                  <a:pos x="wd2" y="hd2"/>
                </a:cxn>
                <a:cxn ang="16200000">
                  <a:pos x="wd2" y="hd2"/>
                </a:cxn>
              </a:cxnLst>
              <a:rect l="0" t="0" r="r" b="b"/>
              <a:pathLst>
                <a:path w="21545" h="21394" extrusionOk="0">
                  <a:moveTo>
                    <a:pt x="8654" y="17157"/>
                  </a:moveTo>
                  <a:cubicBezTo>
                    <a:pt x="11527" y="18689"/>
                    <a:pt x="14471" y="20068"/>
                    <a:pt x="17379" y="19762"/>
                  </a:cubicBezTo>
                  <a:cubicBezTo>
                    <a:pt x="17734" y="19685"/>
                    <a:pt x="18089" y="19608"/>
                    <a:pt x="18443" y="19532"/>
                  </a:cubicBezTo>
                  <a:cubicBezTo>
                    <a:pt x="18798" y="19379"/>
                    <a:pt x="19153" y="19226"/>
                    <a:pt x="19472" y="18919"/>
                  </a:cubicBezTo>
                  <a:cubicBezTo>
                    <a:pt x="20110" y="18460"/>
                    <a:pt x="20713" y="17540"/>
                    <a:pt x="20855" y="16315"/>
                  </a:cubicBezTo>
                  <a:cubicBezTo>
                    <a:pt x="20997" y="15089"/>
                    <a:pt x="20713" y="13634"/>
                    <a:pt x="20323" y="12408"/>
                  </a:cubicBezTo>
                  <a:cubicBezTo>
                    <a:pt x="19933" y="11183"/>
                    <a:pt x="19401" y="10034"/>
                    <a:pt x="18833" y="9038"/>
                  </a:cubicBezTo>
                  <a:cubicBezTo>
                    <a:pt x="18266" y="7966"/>
                    <a:pt x="17628" y="7047"/>
                    <a:pt x="16989" y="6204"/>
                  </a:cubicBezTo>
                  <a:cubicBezTo>
                    <a:pt x="17202" y="6511"/>
                    <a:pt x="17379" y="6817"/>
                    <a:pt x="17592" y="7123"/>
                  </a:cubicBezTo>
                  <a:cubicBezTo>
                    <a:pt x="18053" y="7889"/>
                    <a:pt x="18514" y="8809"/>
                    <a:pt x="18869" y="9881"/>
                  </a:cubicBezTo>
                  <a:cubicBezTo>
                    <a:pt x="19046" y="10417"/>
                    <a:pt x="19188" y="11030"/>
                    <a:pt x="19330" y="11643"/>
                  </a:cubicBezTo>
                  <a:cubicBezTo>
                    <a:pt x="19436" y="12255"/>
                    <a:pt x="19472" y="13021"/>
                    <a:pt x="19401" y="13711"/>
                  </a:cubicBezTo>
                  <a:cubicBezTo>
                    <a:pt x="19330" y="14400"/>
                    <a:pt x="19117" y="15013"/>
                    <a:pt x="18869" y="15472"/>
                  </a:cubicBezTo>
                  <a:cubicBezTo>
                    <a:pt x="18621" y="15932"/>
                    <a:pt x="18337" y="16238"/>
                    <a:pt x="18053" y="16468"/>
                  </a:cubicBezTo>
                  <a:cubicBezTo>
                    <a:pt x="17769" y="16698"/>
                    <a:pt x="17486" y="16851"/>
                    <a:pt x="17166" y="17004"/>
                  </a:cubicBezTo>
                  <a:cubicBezTo>
                    <a:pt x="16883" y="17081"/>
                    <a:pt x="16563" y="17157"/>
                    <a:pt x="16280" y="17234"/>
                  </a:cubicBezTo>
                  <a:cubicBezTo>
                    <a:pt x="13868" y="17387"/>
                    <a:pt x="11527" y="16238"/>
                    <a:pt x="9257" y="14936"/>
                  </a:cubicBezTo>
                  <a:cubicBezTo>
                    <a:pt x="8122" y="14247"/>
                    <a:pt x="6987" y="13481"/>
                    <a:pt x="5888" y="12638"/>
                  </a:cubicBezTo>
                  <a:cubicBezTo>
                    <a:pt x="4788" y="11796"/>
                    <a:pt x="3689" y="10877"/>
                    <a:pt x="2589" y="9804"/>
                  </a:cubicBezTo>
                  <a:cubicBezTo>
                    <a:pt x="4824" y="11566"/>
                    <a:pt x="7058" y="13098"/>
                    <a:pt x="9328" y="14400"/>
                  </a:cubicBezTo>
                  <a:cubicBezTo>
                    <a:pt x="11598" y="15625"/>
                    <a:pt x="13939" y="16774"/>
                    <a:pt x="16244" y="16545"/>
                  </a:cubicBezTo>
                  <a:cubicBezTo>
                    <a:pt x="16528" y="16468"/>
                    <a:pt x="16812" y="16468"/>
                    <a:pt x="17095" y="16315"/>
                  </a:cubicBezTo>
                  <a:cubicBezTo>
                    <a:pt x="17379" y="16162"/>
                    <a:pt x="17663" y="16085"/>
                    <a:pt x="17911" y="15855"/>
                  </a:cubicBezTo>
                  <a:cubicBezTo>
                    <a:pt x="18443" y="15472"/>
                    <a:pt x="18940" y="14783"/>
                    <a:pt x="19082" y="13634"/>
                  </a:cubicBezTo>
                  <a:cubicBezTo>
                    <a:pt x="19223" y="12562"/>
                    <a:pt x="18940" y="11336"/>
                    <a:pt x="18621" y="10340"/>
                  </a:cubicBezTo>
                  <a:cubicBezTo>
                    <a:pt x="18301" y="9345"/>
                    <a:pt x="17876" y="8502"/>
                    <a:pt x="17415" y="7660"/>
                  </a:cubicBezTo>
                  <a:cubicBezTo>
                    <a:pt x="16528" y="6051"/>
                    <a:pt x="15499" y="4749"/>
                    <a:pt x="14435" y="3600"/>
                  </a:cubicBezTo>
                  <a:cubicBezTo>
                    <a:pt x="13371" y="2451"/>
                    <a:pt x="12307" y="1455"/>
                    <a:pt x="11172" y="613"/>
                  </a:cubicBezTo>
                  <a:cubicBezTo>
                    <a:pt x="12201" y="1226"/>
                    <a:pt x="13194" y="1991"/>
                    <a:pt x="14152" y="2911"/>
                  </a:cubicBezTo>
                  <a:cubicBezTo>
                    <a:pt x="13123" y="1838"/>
                    <a:pt x="12059" y="919"/>
                    <a:pt x="10995" y="0"/>
                  </a:cubicBezTo>
                  <a:cubicBezTo>
                    <a:pt x="13868" y="1762"/>
                    <a:pt x="16705" y="4136"/>
                    <a:pt x="19153" y="8119"/>
                  </a:cubicBezTo>
                  <a:cubicBezTo>
                    <a:pt x="19756" y="9115"/>
                    <a:pt x="20323" y="10264"/>
                    <a:pt x="20784" y="11643"/>
                  </a:cubicBezTo>
                  <a:cubicBezTo>
                    <a:pt x="21032" y="12332"/>
                    <a:pt x="21210" y="13098"/>
                    <a:pt x="21387" y="13940"/>
                  </a:cubicBezTo>
                  <a:cubicBezTo>
                    <a:pt x="21529" y="14783"/>
                    <a:pt x="21600" y="15779"/>
                    <a:pt x="21494" y="16698"/>
                  </a:cubicBezTo>
                  <a:cubicBezTo>
                    <a:pt x="21387" y="17694"/>
                    <a:pt x="21103" y="18460"/>
                    <a:pt x="20749" y="19072"/>
                  </a:cubicBezTo>
                  <a:cubicBezTo>
                    <a:pt x="20430" y="19609"/>
                    <a:pt x="20039" y="20068"/>
                    <a:pt x="19685" y="20374"/>
                  </a:cubicBezTo>
                  <a:cubicBezTo>
                    <a:pt x="19295" y="20681"/>
                    <a:pt x="18940" y="20911"/>
                    <a:pt x="18550" y="21064"/>
                  </a:cubicBezTo>
                  <a:cubicBezTo>
                    <a:pt x="18160" y="21217"/>
                    <a:pt x="17769" y="21294"/>
                    <a:pt x="17379" y="21370"/>
                  </a:cubicBezTo>
                  <a:cubicBezTo>
                    <a:pt x="14294" y="21600"/>
                    <a:pt x="11350" y="20145"/>
                    <a:pt x="8441" y="18383"/>
                  </a:cubicBezTo>
                  <a:cubicBezTo>
                    <a:pt x="5568" y="16545"/>
                    <a:pt x="2731" y="14323"/>
                    <a:pt x="0" y="11643"/>
                  </a:cubicBezTo>
                  <a:cubicBezTo>
                    <a:pt x="2908" y="13711"/>
                    <a:pt x="5781" y="15549"/>
                    <a:pt x="8654" y="17157"/>
                  </a:cubicBezTo>
                  <a:close/>
                </a:path>
              </a:pathLst>
            </a:custGeom>
            <a:solidFill>
              <a:srgbClr val="4CC1EF">
                <a:lumMod val="75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57" name="Shape">
              <a:extLst>
                <a:ext uri="{FF2B5EF4-FFF2-40B4-BE49-F238E27FC236}">
                  <a16:creationId xmlns:a16="http://schemas.microsoft.com/office/drawing/2014/main" id="{7F1460E4-18B9-FA83-17C6-41264766F884}"/>
                </a:ext>
              </a:extLst>
            </p:cNvPr>
            <p:cNvSpPr/>
            <p:nvPr/>
          </p:nvSpPr>
          <p:spPr>
            <a:xfrm>
              <a:off x="4499517" y="1570347"/>
              <a:ext cx="995952" cy="1346165"/>
            </a:xfrm>
            <a:custGeom>
              <a:avLst/>
              <a:gdLst/>
              <a:ahLst/>
              <a:cxnLst>
                <a:cxn ang="0">
                  <a:pos x="wd2" y="hd2"/>
                </a:cxn>
                <a:cxn ang="5400000">
                  <a:pos x="wd2" y="hd2"/>
                </a:cxn>
                <a:cxn ang="10800000">
                  <a:pos x="wd2" y="hd2"/>
                </a:cxn>
                <a:cxn ang="16200000">
                  <a:pos x="wd2" y="hd2"/>
                </a:cxn>
              </a:cxnLst>
              <a:rect l="0" t="0" r="r" b="b"/>
              <a:pathLst>
                <a:path w="21392" h="21197" extrusionOk="0">
                  <a:moveTo>
                    <a:pt x="20308" y="21140"/>
                  </a:moveTo>
                  <a:cubicBezTo>
                    <a:pt x="21120" y="21086"/>
                    <a:pt x="21600" y="20463"/>
                    <a:pt x="21305" y="19922"/>
                  </a:cubicBezTo>
                  <a:cubicBezTo>
                    <a:pt x="19606" y="16592"/>
                    <a:pt x="13440" y="6036"/>
                    <a:pt x="480" y="217"/>
                  </a:cubicBezTo>
                  <a:cubicBezTo>
                    <a:pt x="332" y="135"/>
                    <a:pt x="148" y="81"/>
                    <a:pt x="0" y="0"/>
                  </a:cubicBezTo>
                  <a:cubicBezTo>
                    <a:pt x="0" y="0"/>
                    <a:pt x="3397" y="6307"/>
                    <a:pt x="4874" y="11071"/>
                  </a:cubicBezTo>
                  <a:cubicBezTo>
                    <a:pt x="5686" y="13642"/>
                    <a:pt x="5095" y="15158"/>
                    <a:pt x="4431" y="15997"/>
                  </a:cubicBezTo>
                  <a:cubicBezTo>
                    <a:pt x="3914" y="16620"/>
                    <a:pt x="4172" y="17432"/>
                    <a:pt x="5022" y="17811"/>
                  </a:cubicBezTo>
                  <a:cubicBezTo>
                    <a:pt x="8197" y="19164"/>
                    <a:pt x="14695" y="21600"/>
                    <a:pt x="20308" y="21140"/>
                  </a:cubicBezTo>
                  <a:close/>
                </a:path>
              </a:pathLst>
            </a:custGeom>
            <a:solidFill>
              <a:sysClr val="windowText" lastClr="000000">
                <a:lumMod val="75000"/>
                <a:lumOff val="25000"/>
              </a:sys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58" name="Shape">
              <a:extLst>
                <a:ext uri="{FF2B5EF4-FFF2-40B4-BE49-F238E27FC236}">
                  <a16:creationId xmlns:a16="http://schemas.microsoft.com/office/drawing/2014/main" id="{2BB96581-EF42-DD72-C627-E162FC43CEE5}"/>
                </a:ext>
              </a:extLst>
            </p:cNvPr>
            <p:cNvSpPr/>
            <p:nvPr/>
          </p:nvSpPr>
          <p:spPr>
            <a:xfrm>
              <a:off x="4654229" y="1742248"/>
              <a:ext cx="623997" cy="81137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20529" y="19449"/>
                    <a:pt x="19160" y="17436"/>
                    <a:pt x="17613" y="15422"/>
                  </a:cubicBezTo>
                  <a:cubicBezTo>
                    <a:pt x="16126" y="13454"/>
                    <a:pt x="14400" y="11532"/>
                    <a:pt x="12615" y="9702"/>
                  </a:cubicBezTo>
                  <a:cubicBezTo>
                    <a:pt x="11722" y="8786"/>
                    <a:pt x="10770" y="7917"/>
                    <a:pt x="9818" y="7002"/>
                  </a:cubicBezTo>
                  <a:lnTo>
                    <a:pt x="8331" y="5720"/>
                  </a:lnTo>
                  <a:lnTo>
                    <a:pt x="7557" y="5080"/>
                  </a:lnTo>
                  <a:lnTo>
                    <a:pt x="6783" y="4485"/>
                  </a:lnTo>
                  <a:cubicBezTo>
                    <a:pt x="4701" y="2837"/>
                    <a:pt x="2380" y="1327"/>
                    <a:pt x="0" y="0"/>
                  </a:cubicBezTo>
                  <a:cubicBezTo>
                    <a:pt x="2083" y="1647"/>
                    <a:pt x="4165" y="3249"/>
                    <a:pt x="6069" y="4988"/>
                  </a:cubicBezTo>
                  <a:cubicBezTo>
                    <a:pt x="8033" y="6681"/>
                    <a:pt x="9878" y="8466"/>
                    <a:pt x="11663" y="10251"/>
                  </a:cubicBezTo>
                  <a:cubicBezTo>
                    <a:pt x="13448" y="12036"/>
                    <a:pt x="15173" y="13912"/>
                    <a:pt x="16840" y="15788"/>
                  </a:cubicBezTo>
                  <a:cubicBezTo>
                    <a:pt x="18506" y="17710"/>
                    <a:pt x="20112" y="19632"/>
                    <a:pt x="21600" y="21600"/>
                  </a:cubicBezTo>
                  <a:close/>
                </a:path>
              </a:pathLst>
            </a:custGeom>
            <a:solidFill>
              <a:sysClr val="windowText" lastClr="000000">
                <a:lumMod val="50000"/>
                <a:lumOff val="50000"/>
              </a:sys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59" name="TextBox 58">
              <a:extLst>
                <a:ext uri="{FF2B5EF4-FFF2-40B4-BE49-F238E27FC236}">
                  <a16:creationId xmlns:a16="http://schemas.microsoft.com/office/drawing/2014/main" id="{35052A6C-95B2-F242-55AC-BBE03EE5F7D5}"/>
                </a:ext>
              </a:extLst>
            </p:cNvPr>
            <p:cNvSpPr txBox="1"/>
            <p:nvPr/>
          </p:nvSpPr>
          <p:spPr>
            <a:xfrm>
              <a:off x="4788978" y="2398509"/>
              <a:ext cx="418704" cy="369332"/>
            </a:xfrm>
            <a:prstGeom prst="rect">
              <a:avLst/>
            </a:prstGeom>
            <a:noFill/>
          </p:spPr>
          <p:txBody>
            <a:bodyPr wrap="non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Calibri" panose="020F0502020204030204"/>
                </a:rPr>
                <a:t>02</a:t>
              </a:r>
            </a:p>
          </p:txBody>
        </p:sp>
      </p:grpSp>
      <p:grpSp>
        <p:nvGrpSpPr>
          <p:cNvPr id="60" name="Group 59">
            <a:extLst>
              <a:ext uri="{FF2B5EF4-FFF2-40B4-BE49-F238E27FC236}">
                <a16:creationId xmlns:a16="http://schemas.microsoft.com/office/drawing/2014/main" id="{CB8D6A25-9365-613D-33CB-638B7505770D}"/>
              </a:ext>
            </a:extLst>
          </p:cNvPr>
          <p:cNvGrpSpPr/>
          <p:nvPr/>
        </p:nvGrpSpPr>
        <p:grpSpPr>
          <a:xfrm>
            <a:off x="6614573" y="2088503"/>
            <a:ext cx="1341109" cy="1875861"/>
            <a:chOff x="6648277" y="2684586"/>
            <a:chExt cx="1130652" cy="1581487"/>
          </a:xfrm>
        </p:grpSpPr>
        <p:sp>
          <p:nvSpPr>
            <p:cNvPr id="61" name="Shape">
              <a:extLst>
                <a:ext uri="{FF2B5EF4-FFF2-40B4-BE49-F238E27FC236}">
                  <a16:creationId xmlns:a16="http://schemas.microsoft.com/office/drawing/2014/main" id="{5088AD35-B3B6-8FDA-F629-F9DCD9CB69EA}"/>
                </a:ext>
              </a:extLst>
            </p:cNvPr>
            <p:cNvSpPr/>
            <p:nvPr/>
          </p:nvSpPr>
          <p:spPr>
            <a:xfrm>
              <a:off x="6648277" y="3767560"/>
              <a:ext cx="1034520" cy="498513"/>
            </a:xfrm>
            <a:custGeom>
              <a:avLst/>
              <a:gdLst/>
              <a:ahLst/>
              <a:cxnLst>
                <a:cxn ang="0">
                  <a:pos x="wd2" y="hd2"/>
                </a:cxn>
                <a:cxn ang="5400000">
                  <a:pos x="wd2" y="hd2"/>
                </a:cxn>
                <a:cxn ang="10800000">
                  <a:pos x="wd2" y="hd2"/>
                </a:cxn>
                <a:cxn ang="16200000">
                  <a:pos x="wd2" y="hd2"/>
                </a:cxn>
              </a:cxnLst>
              <a:rect l="0" t="0" r="r" b="b"/>
              <a:pathLst>
                <a:path w="21557" h="21600" extrusionOk="0">
                  <a:moveTo>
                    <a:pt x="13103" y="16386"/>
                  </a:moveTo>
                  <a:cubicBezTo>
                    <a:pt x="10237" y="18248"/>
                    <a:pt x="7336" y="20036"/>
                    <a:pt x="4363" y="20110"/>
                  </a:cubicBezTo>
                  <a:cubicBezTo>
                    <a:pt x="4005" y="20036"/>
                    <a:pt x="3646" y="20036"/>
                    <a:pt x="3288" y="20036"/>
                  </a:cubicBezTo>
                  <a:cubicBezTo>
                    <a:pt x="2930" y="19961"/>
                    <a:pt x="2572" y="19812"/>
                    <a:pt x="2250" y="19589"/>
                  </a:cubicBezTo>
                  <a:cubicBezTo>
                    <a:pt x="1569" y="19217"/>
                    <a:pt x="960" y="18472"/>
                    <a:pt x="745" y="17280"/>
                  </a:cubicBezTo>
                  <a:cubicBezTo>
                    <a:pt x="566" y="16088"/>
                    <a:pt x="817" y="14599"/>
                    <a:pt x="1175" y="13407"/>
                  </a:cubicBezTo>
                  <a:cubicBezTo>
                    <a:pt x="1533" y="12141"/>
                    <a:pt x="2035" y="11023"/>
                    <a:pt x="2572" y="9906"/>
                  </a:cubicBezTo>
                  <a:cubicBezTo>
                    <a:pt x="3109" y="8789"/>
                    <a:pt x="3718" y="7821"/>
                    <a:pt x="4327" y="6852"/>
                  </a:cubicBezTo>
                  <a:cubicBezTo>
                    <a:pt x="4148" y="7150"/>
                    <a:pt x="3933" y="7448"/>
                    <a:pt x="3754" y="7821"/>
                  </a:cubicBezTo>
                  <a:cubicBezTo>
                    <a:pt x="3288" y="8640"/>
                    <a:pt x="2894" y="9608"/>
                    <a:pt x="2536" y="10651"/>
                  </a:cubicBezTo>
                  <a:cubicBezTo>
                    <a:pt x="2357" y="11172"/>
                    <a:pt x="2214" y="11768"/>
                    <a:pt x="2142" y="12439"/>
                  </a:cubicBezTo>
                  <a:cubicBezTo>
                    <a:pt x="2070" y="13034"/>
                    <a:pt x="2034" y="13779"/>
                    <a:pt x="2142" y="14450"/>
                  </a:cubicBezTo>
                  <a:cubicBezTo>
                    <a:pt x="2249" y="15120"/>
                    <a:pt x="2464" y="15716"/>
                    <a:pt x="2751" y="16088"/>
                  </a:cubicBezTo>
                  <a:cubicBezTo>
                    <a:pt x="3002" y="16461"/>
                    <a:pt x="3324" y="16759"/>
                    <a:pt x="3611" y="16908"/>
                  </a:cubicBezTo>
                  <a:cubicBezTo>
                    <a:pt x="3897" y="17131"/>
                    <a:pt x="4219" y="17205"/>
                    <a:pt x="4506" y="17280"/>
                  </a:cubicBezTo>
                  <a:cubicBezTo>
                    <a:pt x="4793" y="17354"/>
                    <a:pt x="5115" y="17354"/>
                    <a:pt x="5437" y="17354"/>
                  </a:cubicBezTo>
                  <a:cubicBezTo>
                    <a:pt x="7873" y="17205"/>
                    <a:pt x="10202" y="15716"/>
                    <a:pt x="12458" y="14152"/>
                  </a:cubicBezTo>
                  <a:cubicBezTo>
                    <a:pt x="13569" y="13332"/>
                    <a:pt x="14679" y="12364"/>
                    <a:pt x="15790" y="11396"/>
                  </a:cubicBezTo>
                  <a:cubicBezTo>
                    <a:pt x="16864" y="10353"/>
                    <a:pt x="17975" y="9385"/>
                    <a:pt x="19014" y="8193"/>
                  </a:cubicBezTo>
                  <a:cubicBezTo>
                    <a:pt x="16828" y="10204"/>
                    <a:pt x="14608" y="11992"/>
                    <a:pt x="12351" y="13556"/>
                  </a:cubicBezTo>
                  <a:cubicBezTo>
                    <a:pt x="10094" y="15045"/>
                    <a:pt x="7766" y="16461"/>
                    <a:pt x="5437" y="16610"/>
                  </a:cubicBezTo>
                  <a:cubicBezTo>
                    <a:pt x="5151" y="16610"/>
                    <a:pt x="4864" y="16610"/>
                    <a:pt x="4578" y="16535"/>
                  </a:cubicBezTo>
                  <a:cubicBezTo>
                    <a:pt x="4291" y="16461"/>
                    <a:pt x="4005" y="16386"/>
                    <a:pt x="3718" y="16163"/>
                  </a:cubicBezTo>
                  <a:cubicBezTo>
                    <a:pt x="3181" y="15865"/>
                    <a:pt x="2643" y="15269"/>
                    <a:pt x="2464" y="14226"/>
                  </a:cubicBezTo>
                  <a:cubicBezTo>
                    <a:pt x="2285" y="13183"/>
                    <a:pt x="2536" y="11992"/>
                    <a:pt x="2823" y="11023"/>
                  </a:cubicBezTo>
                  <a:cubicBezTo>
                    <a:pt x="3109" y="9981"/>
                    <a:pt x="3539" y="9087"/>
                    <a:pt x="3933" y="8268"/>
                  </a:cubicBezTo>
                  <a:cubicBezTo>
                    <a:pt x="4793" y="6554"/>
                    <a:pt x="5760" y="5214"/>
                    <a:pt x="6799" y="3948"/>
                  </a:cubicBezTo>
                  <a:cubicBezTo>
                    <a:pt x="7802" y="2681"/>
                    <a:pt x="8876" y="1564"/>
                    <a:pt x="9987" y="596"/>
                  </a:cubicBezTo>
                  <a:cubicBezTo>
                    <a:pt x="8984" y="1341"/>
                    <a:pt x="8017" y="2234"/>
                    <a:pt x="7049" y="3277"/>
                  </a:cubicBezTo>
                  <a:cubicBezTo>
                    <a:pt x="8052" y="2086"/>
                    <a:pt x="9091" y="1043"/>
                    <a:pt x="10130" y="0"/>
                  </a:cubicBezTo>
                  <a:cubicBezTo>
                    <a:pt x="7300" y="2086"/>
                    <a:pt x="4506" y="4841"/>
                    <a:pt x="2178" y="9012"/>
                  </a:cubicBezTo>
                  <a:cubicBezTo>
                    <a:pt x="1605" y="10055"/>
                    <a:pt x="1067" y="11247"/>
                    <a:pt x="638" y="12662"/>
                  </a:cubicBezTo>
                  <a:cubicBezTo>
                    <a:pt x="423" y="13332"/>
                    <a:pt x="243" y="14152"/>
                    <a:pt x="100" y="14971"/>
                  </a:cubicBezTo>
                  <a:cubicBezTo>
                    <a:pt x="-7" y="15790"/>
                    <a:pt x="-43" y="16759"/>
                    <a:pt x="64" y="17652"/>
                  </a:cubicBezTo>
                  <a:cubicBezTo>
                    <a:pt x="208" y="18546"/>
                    <a:pt x="530" y="19365"/>
                    <a:pt x="888" y="19812"/>
                  </a:cubicBezTo>
                  <a:cubicBezTo>
                    <a:pt x="1246" y="20334"/>
                    <a:pt x="1641" y="20706"/>
                    <a:pt x="1999" y="20930"/>
                  </a:cubicBezTo>
                  <a:cubicBezTo>
                    <a:pt x="2393" y="21153"/>
                    <a:pt x="2787" y="21302"/>
                    <a:pt x="3181" y="21451"/>
                  </a:cubicBezTo>
                  <a:cubicBezTo>
                    <a:pt x="3575" y="21526"/>
                    <a:pt x="3969" y="21526"/>
                    <a:pt x="4363" y="21600"/>
                  </a:cubicBezTo>
                  <a:cubicBezTo>
                    <a:pt x="7479" y="21451"/>
                    <a:pt x="10417" y="19514"/>
                    <a:pt x="13282" y="17429"/>
                  </a:cubicBezTo>
                  <a:cubicBezTo>
                    <a:pt x="16148" y="15269"/>
                    <a:pt x="18906" y="12662"/>
                    <a:pt x="21557" y="9757"/>
                  </a:cubicBezTo>
                  <a:cubicBezTo>
                    <a:pt x="18763" y="12215"/>
                    <a:pt x="15969" y="14450"/>
                    <a:pt x="13103" y="16386"/>
                  </a:cubicBezTo>
                  <a:close/>
                </a:path>
              </a:pathLst>
            </a:custGeom>
            <a:solidFill>
              <a:srgbClr val="4CC1EF">
                <a:lumMod val="75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62" name="Shape">
              <a:extLst>
                <a:ext uri="{FF2B5EF4-FFF2-40B4-BE49-F238E27FC236}">
                  <a16:creationId xmlns:a16="http://schemas.microsoft.com/office/drawing/2014/main" id="{52C42836-EF01-1887-309B-B839633376F5}"/>
                </a:ext>
              </a:extLst>
            </p:cNvPr>
            <p:cNvSpPr/>
            <p:nvPr/>
          </p:nvSpPr>
          <p:spPr>
            <a:xfrm>
              <a:off x="6871747" y="2684586"/>
              <a:ext cx="907182" cy="1403305"/>
            </a:xfrm>
            <a:custGeom>
              <a:avLst/>
              <a:gdLst/>
              <a:ahLst/>
              <a:cxnLst>
                <a:cxn ang="0">
                  <a:pos x="wd2" y="hd2"/>
                </a:cxn>
                <a:cxn ang="5400000">
                  <a:pos x="wd2" y="hd2"/>
                </a:cxn>
                <a:cxn ang="10800000">
                  <a:pos x="wd2" y="hd2"/>
                </a:cxn>
                <a:cxn ang="16200000">
                  <a:pos x="wd2" y="hd2"/>
                </a:cxn>
              </a:cxnLst>
              <a:rect l="0" t="0" r="r" b="b"/>
              <a:pathLst>
                <a:path w="21387" h="21425" extrusionOk="0">
                  <a:moveTo>
                    <a:pt x="1286" y="21416"/>
                  </a:moveTo>
                  <a:cubicBezTo>
                    <a:pt x="395" y="21390"/>
                    <a:pt x="-213" y="20813"/>
                    <a:pt x="71" y="20288"/>
                  </a:cubicBezTo>
                  <a:cubicBezTo>
                    <a:pt x="1570" y="17007"/>
                    <a:pt x="7325" y="6483"/>
                    <a:pt x="20901" y="236"/>
                  </a:cubicBezTo>
                  <a:cubicBezTo>
                    <a:pt x="21063" y="157"/>
                    <a:pt x="21225" y="79"/>
                    <a:pt x="21387" y="0"/>
                  </a:cubicBezTo>
                  <a:cubicBezTo>
                    <a:pt x="21387" y="0"/>
                    <a:pt x="18267" y="6246"/>
                    <a:pt x="17132" y="10944"/>
                  </a:cubicBezTo>
                  <a:cubicBezTo>
                    <a:pt x="16524" y="13490"/>
                    <a:pt x="17294" y="14907"/>
                    <a:pt x="18104" y="15695"/>
                  </a:cubicBezTo>
                  <a:cubicBezTo>
                    <a:pt x="18712" y="16272"/>
                    <a:pt x="18510" y="17060"/>
                    <a:pt x="17618" y="17479"/>
                  </a:cubicBezTo>
                  <a:cubicBezTo>
                    <a:pt x="14376" y="18949"/>
                    <a:pt x="7487" y="21600"/>
                    <a:pt x="1286" y="21416"/>
                  </a:cubicBezTo>
                  <a:close/>
                </a:path>
              </a:pathLst>
            </a:custGeom>
            <a:solidFill>
              <a:sysClr val="windowText" lastClr="000000">
                <a:lumMod val="75000"/>
                <a:lumOff val="25000"/>
              </a:sys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63" name="Shape">
              <a:extLst>
                <a:ext uri="{FF2B5EF4-FFF2-40B4-BE49-F238E27FC236}">
                  <a16:creationId xmlns:a16="http://schemas.microsoft.com/office/drawing/2014/main" id="{7E907F6C-F4AF-988E-20CA-A8B026EA5787}"/>
                </a:ext>
              </a:extLst>
            </p:cNvPr>
            <p:cNvSpPr/>
            <p:nvPr/>
          </p:nvSpPr>
          <p:spPr>
            <a:xfrm>
              <a:off x="7060839" y="2873676"/>
              <a:ext cx="568994" cy="85262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79" y="19510"/>
                    <a:pt x="2284" y="17506"/>
                    <a:pt x="3785" y="15547"/>
                  </a:cubicBezTo>
                  <a:cubicBezTo>
                    <a:pt x="5221" y="13587"/>
                    <a:pt x="6917" y="11715"/>
                    <a:pt x="8744" y="9885"/>
                  </a:cubicBezTo>
                  <a:cubicBezTo>
                    <a:pt x="9658" y="8971"/>
                    <a:pt x="10637" y="8100"/>
                    <a:pt x="11551" y="7185"/>
                  </a:cubicBezTo>
                  <a:lnTo>
                    <a:pt x="13051" y="5879"/>
                  </a:lnTo>
                  <a:lnTo>
                    <a:pt x="13835" y="5226"/>
                  </a:lnTo>
                  <a:lnTo>
                    <a:pt x="14618" y="4616"/>
                  </a:lnTo>
                  <a:cubicBezTo>
                    <a:pt x="16706" y="2961"/>
                    <a:pt x="19120" y="1437"/>
                    <a:pt x="21600" y="0"/>
                  </a:cubicBezTo>
                  <a:cubicBezTo>
                    <a:pt x="19512" y="1655"/>
                    <a:pt x="17358" y="3310"/>
                    <a:pt x="15401" y="5052"/>
                  </a:cubicBezTo>
                  <a:cubicBezTo>
                    <a:pt x="13443" y="6750"/>
                    <a:pt x="11551" y="8535"/>
                    <a:pt x="9788" y="10321"/>
                  </a:cubicBezTo>
                  <a:cubicBezTo>
                    <a:pt x="7961" y="12106"/>
                    <a:pt x="6265" y="13979"/>
                    <a:pt x="4633" y="15852"/>
                  </a:cubicBezTo>
                  <a:cubicBezTo>
                    <a:pt x="3067" y="17724"/>
                    <a:pt x="1501" y="19640"/>
                    <a:pt x="0" y="21600"/>
                  </a:cubicBezTo>
                  <a:close/>
                </a:path>
              </a:pathLst>
            </a:custGeom>
            <a:solidFill>
              <a:sysClr val="windowText" lastClr="000000">
                <a:lumMod val="50000"/>
                <a:lumOff val="50000"/>
              </a:sys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64" name="TextBox 63">
              <a:extLst>
                <a:ext uri="{FF2B5EF4-FFF2-40B4-BE49-F238E27FC236}">
                  <a16:creationId xmlns:a16="http://schemas.microsoft.com/office/drawing/2014/main" id="{7F7A818D-5D98-B808-8786-728B8E9A9FB2}"/>
                </a:ext>
              </a:extLst>
            </p:cNvPr>
            <p:cNvSpPr txBox="1"/>
            <p:nvPr/>
          </p:nvSpPr>
          <p:spPr>
            <a:xfrm>
              <a:off x="7111554" y="3517910"/>
              <a:ext cx="418704" cy="369332"/>
            </a:xfrm>
            <a:prstGeom prst="rect">
              <a:avLst/>
            </a:prstGeom>
            <a:noFill/>
          </p:spPr>
          <p:txBody>
            <a:bodyPr wrap="non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Calibri" panose="020F0502020204030204"/>
                </a:rPr>
                <a:t>03</a:t>
              </a:r>
            </a:p>
          </p:txBody>
        </p:sp>
      </p:grpSp>
      <p:grpSp>
        <p:nvGrpSpPr>
          <p:cNvPr id="65" name="Group 64">
            <a:extLst>
              <a:ext uri="{FF2B5EF4-FFF2-40B4-BE49-F238E27FC236}">
                <a16:creationId xmlns:a16="http://schemas.microsoft.com/office/drawing/2014/main" id="{F017A93D-DC0B-4542-E0A5-BE297AEA52A6}"/>
              </a:ext>
            </a:extLst>
          </p:cNvPr>
          <p:cNvGrpSpPr/>
          <p:nvPr/>
        </p:nvGrpSpPr>
        <p:grpSpPr>
          <a:xfrm>
            <a:off x="9847311" y="1661801"/>
            <a:ext cx="1442469" cy="1792903"/>
            <a:chOff x="9192406" y="1896957"/>
            <a:chExt cx="1216106" cy="1511547"/>
          </a:xfrm>
        </p:grpSpPr>
        <p:sp>
          <p:nvSpPr>
            <p:cNvPr id="66" name="Shape">
              <a:extLst>
                <a:ext uri="{FF2B5EF4-FFF2-40B4-BE49-F238E27FC236}">
                  <a16:creationId xmlns:a16="http://schemas.microsoft.com/office/drawing/2014/main" id="{62BDAE4E-A003-1221-6AD5-F2340869C510}"/>
                </a:ext>
              </a:extLst>
            </p:cNvPr>
            <p:cNvSpPr/>
            <p:nvPr/>
          </p:nvSpPr>
          <p:spPr>
            <a:xfrm>
              <a:off x="9364309" y="2928361"/>
              <a:ext cx="1044203" cy="480143"/>
            </a:xfrm>
            <a:custGeom>
              <a:avLst/>
              <a:gdLst/>
              <a:ahLst/>
              <a:cxnLst>
                <a:cxn ang="0">
                  <a:pos x="wd2" y="hd2"/>
                </a:cxn>
                <a:cxn ang="5400000">
                  <a:pos x="wd2" y="hd2"/>
                </a:cxn>
                <a:cxn ang="10800000">
                  <a:pos x="wd2" y="hd2"/>
                </a:cxn>
                <a:cxn ang="16200000">
                  <a:pos x="wd2" y="hd2"/>
                </a:cxn>
              </a:cxnLst>
              <a:rect l="0" t="0" r="r" b="b"/>
              <a:pathLst>
                <a:path w="21545" h="21394" extrusionOk="0">
                  <a:moveTo>
                    <a:pt x="8654" y="17157"/>
                  </a:moveTo>
                  <a:cubicBezTo>
                    <a:pt x="11527" y="18689"/>
                    <a:pt x="14471" y="20068"/>
                    <a:pt x="17379" y="19762"/>
                  </a:cubicBezTo>
                  <a:cubicBezTo>
                    <a:pt x="17734" y="19685"/>
                    <a:pt x="18089" y="19608"/>
                    <a:pt x="18443" y="19532"/>
                  </a:cubicBezTo>
                  <a:cubicBezTo>
                    <a:pt x="18798" y="19379"/>
                    <a:pt x="19153" y="19226"/>
                    <a:pt x="19472" y="18919"/>
                  </a:cubicBezTo>
                  <a:cubicBezTo>
                    <a:pt x="20110" y="18460"/>
                    <a:pt x="20713" y="17540"/>
                    <a:pt x="20855" y="16315"/>
                  </a:cubicBezTo>
                  <a:cubicBezTo>
                    <a:pt x="20997" y="15089"/>
                    <a:pt x="20713" y="13634"/>
                    <a:pt x="20323" y="12408"/>
                  </a:cubicBezTo>
                  <a:cubicBezTo>
                    <a:pt x="19933" y="11183"/>
                    <a:pt x="19401" y="10034"/>
                    <a:pt x="18833" y="9038"/>
                  </a:cubicBezTo>
                  <a:cubicBezTo>
                    <a:pt x="18266" y="7966"/>
                    <a:pt x="17628" y="7047"/>
                    <a:pt x="16989" y="6204"/>
                  </a:cubicBezTo>
                  <a:cubicBezTo>
                    <a:pt x="17202" y="6511"/>
                    <a:pt x="17379" y="6817"/>
                    <a:pt x="17592" y="7123"/>
                  </a:cubicBezTo>
                  <a:cubicBezTo>
                    <a:pt x="18053" y="7889"/>
                    <a:pt x="18514" y="8809"/>
                    <a:pt x="18869" y="9881"/>
                  </a:cubicBezTo>
                  <a:cubicBezTo>
                    <a:pt x="19046" y="10417"/>
                    <a:pt x="19188" y="11030"/>
                    <a:pt x="19330" y="11643"/>
                  </a:cubicBezTo>
                  <a:cubicBezTo>
                    <a:pt x="19436" y="12255"/>
                    <a:pt x="19472" y="13021"/>
                    <a:pt x="19401" y="13711"/>
                  </a:cubicBezTo>
                  <a:cubicBezTo>
                    <a:pt x="19330" y="14400"/>
                    <a:pt x="19117" y="15013"/>
                    <a:pt x="18869" y="15472"/>
                  </a:cubicBezTo>
                  <a:cubicBezTo>
                    <a:pt x="18621" y="15932"/>
                    <a:pt x="18337" y="16238"/>
                    <a:pt x="18053" y="16468"/>
                  </a:cubicBezTo>
                  <a:cubicBezTo>
                    <a:pt x="17769" y="16698"/>
                    <a:pt x="17486" y="16851"/>
                    <a:pt x="17166" y="17004"/>
                  </a:cubicBezTo>
                  <a:cubicBezTo>
                    <a:pt x="16883" y="17081"/>
                    <a:pt x="16563" y="17157"/>
                    <a:pt x="16280" y="17234"/>
                  </a:cubicBezTo>
                  <a:cubicBezTo>
                    <a:pt x="13868" y="17387"/>
                    <a:pt x="11527" y="16238"/>
                    <a:pt x="9257" y="14936"/>
                  </a:cubicBezTo>
                  <a:cubicBezTo>
                    <a:pt x="8122" y="14247"/>
                    <a:pt x="6987" y="13481"/>
                    <a:pt x="5888" y="12638"/>
                  </a:cubicBezTo>
                  <a:cubicBezTo>
                    <a:pt x="4788" y="11796"/>
                    <a:pt x="3689" y="10877"/>
                    <a:pt x="2589" y="9804"/>
                  </a:cubicBezTo>
                  <a:cubicBezTo>
                    <a:pt x="4824" y="11566"/>
                    <a:pt x="7058" y="13098"/>
                    <a:pt x="9328" y="14400"/>
                  </a:cubicBezTo>
                  <a:cubicBezTo>
                    <a:pt x="11598" y="15625"/>
                    <a:pt x="13939" y="16774"/>
                    <a:pt x="16244" y="16545"/>
                  </a:cubicBezTo>
                  <a:cubicBezTo>
                    <a:pt x="16528" y="16468"/>
                    <a:pt x="16812" y="16468"/>
                    <a:pt x="17095" y="16315"/>
                  </a:cubicBezTo>
                  <a:cubicBezTo>
                    <a:pt x="17379" y="16162"/>
                    <a:pt x="17663" y="16085"/>
                    <a:pt x="17911" y="15855"/>
                  </a:cubicBezTo>
                  <a:cubicBezTo>
                    <a:pt x="18443" y="15472"/>
                    <a:pt x="18940" y="14783"/>
                    <a:pt x="19082" y="13634"/>
                  </a:cubicBezTo>
                  <a:cubicBezTo>
                    <a:pt x="19223" y="12562"/>
                    <a:pt x="18940" y="11336"/>
                    <a:pt x="18621" y="10340"/>
                  </a:cubicBezTo>
                  <a:cubicBezTo>
                    <a:pt x="18301" y="9345"/>
                    <a:pt x="17876" y="8502"/>
                    <a:pt x="17415" y="7660"/>
                  </a:cubicBezTo>
                  <a:cubicBezTo>
                    <a:pt x="16528" y="6051"/>
                    <a:pt x="15499" y="4749"/>
                    <a:pt x="14435" y="3600"/>
                  </a:cubicBezTo>
                  <a:cubicBezTo>
                    <a:pt x="13371" y="2451"/>
                    <a:pt x="12307" y="1455"/>
                    <a:pt x="11172" y="613"/>
                  </a:cubicBezTo>
                  <a:cubicBezTo>
                    <a:pt x="12201" y="1226"/>
                    <a:pt x="13194" y="1991"/>
                    <a:pt x="14152" y="2911"/>
                  </a:cubicBezTo>
                  <a:cubicBezTo>
                    <a:pt x="13123" y="1838"/>
                    <a:pt x="12059" y="919"/>
                    <a:pt x="10995" y="0"/>
                  </a:cubicBezTo>
                  <a:cubicBezTo>
                    <a:pt x="13868" y="1762"/>
                    <a:pt x="16705" y="4136"/>
                    <a:pt x="19153" y="8119"/>
                  </a:cubicBezTo>
                  <a:cubicBezTo>
                    <a:pt x="19756" y="9115"/>
                    <a:pt x="20323" y="10264"/>
                    <a:pt x="20784" y="11643"/>
                  </a:cubicBezTo>
                  <a:cubicBezTo>
                    <a:pt x="21032" y="12332"/>
                    <a:pt x="21210" y="13098"/>
                    <a:pt x="21387" y="13940"/>
                  </a:cubicBezTo>
                  <a:cubicBezTo>
                    <a:pt x="21529" y="14783"/>
                    <a:pt x="21600" y="15779"/>
                    <a:pt x="21494" y="16698"/>
                  </a:cubicBezTo>
                  <a:cubicBezTo>
                    <a:pt x="21387" y="17694"/>
                    <a:pt x="21103" y="18460"/>
                    <a:pt x="20749" y="19072"/>
                  </a:cubicBezTo>
                  <a:cubicBezTo>
                    <a:pt x="20430" y="19609"/>
                    <a:pt x="20039" y="20068"/>
                    <a:pt x="19685" y="20374"/>
                  </a:cubicBezTo>
                  <a:cubicBezTo>
                    <a:pt x="19295" y="20681"/>
                    <a:pt x="18940" y="20911"/>
                    <a:pt x="18550" y="21064"/>
                  </a:cubicBezTo>
                  <a:cubicBezTo>
                    <a:pt x="18160" y="21217"/>
                    <a:pt x="17769" y="21294"/>
                    <a:pt x="17379" y="21370"/>
                  </a:cubicBezTo>
                  <a:cubicBezTo>
                    <a:pt x="14294" y="21600"/>
                    <a:pt x="11350" y="20145"/>
                    <a:pt x="8441" y="18383"/>
                  </a:cubicBezTo>
                  <a:cubicBezTo>
                    <a:pt x="5568" y="16545"/>
                    <a:pt x="2731" y="14323"/>
                    <a:pt x="0" y="11643"/>
                  </a:cubicBezTo>
                  <a:cubicBezTo>
                    <a:pt x="2908" y="13711"/>
                    <a:pt x="5781" y="15549"/>
                    <a:pt x="8654" y="17157"/>
                  </a:cubicBezTo>
                  <a:close/>
                </a:path>
              </a:pathLst>
            </a:custGeom>
            <a:solidFill>
              <a:srgbClr val="4CC1EF">
                <a:lumMod val="75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67" name="Shape">
              <a:extLst>
                <a:ext uri="{FF2B5EF4-FFF2-40B4-BE49-F238E27FC236}">
                  <a16:creationId xmlns:a16="http://schemas.microsoft.com/office/drawing/2014/main" id="{7EBE46B3-AACE-BBED-5AED-6D756A3D5224}"/>
                </a:ext>
              </a:extLst>
            </p:cNvPr>
            <p:cNvSpPr/>
            <p:nvPr/>
          </p:nvSpPr>
          <p:spPr>
            <a:xfrm>
              <a:off x="9192406" y="1896957"/>
              <a:ext cx="995952" cy="1345778"/>
            </a:xfrm>
            <a:custGeom>
              <a:avLst/>
              <a:gdLst/>
              <a:ahLst/>
              <a:cxnLst>
                <a:cxn ang="0">
                  <a:pos x="wd2" y="hd2"/>
                </a:cxn>
                <a:cxn ang="5400000">
                  <a:pos x="wd2" y="hd2"/>
                </a:cxn>
                <a:cxn ang="10800000">
                  <a:pos x="wd2" y="hd2"/>
                </a:cxn>
                <a:cxn ang="16200000">
                  <a:pos x="wd2" y="hd2"/>
                </a:cxn>
              </a:cxnLst>
              <a:rect l="0" t="0" r="r" b="b"/>
              <a:pathLst>
                <a:path w="21392" h="21217" extrusionOk="0">
                  <a:moveTo>
                    <a:pt x="20308" y="21166"/>
                  </a:moveTo>
                  <a:cubicBezTo>
                    <a:pt x="21120" y="21112"/>
                    <a:pt x="21600" y="20489"/>
                    <a:pt x="21305" y="19947"/>
                  </a:cubicBezTo>
                  <a:cubicBezTo>
                    <a:pt x="19606" y="16613"/>
                    <a:pt x="13440" y="6044"/>
                    <a:pt x="480" y="217"/>
                  </a:cubicBezTo>
                  <a:cubicBezTo>
                    <a:pt x="332" y="136"/>
                    <a:pt x="148" y="81"/>
                    <a:pt x="0" y="0"/>
                  </a:cubicBezTo>
                  <a:cubicBezTo>
                    <a:pt x="0" y="0"/>
                    <a:pt x="3397" y="6315"/>
                    <a:pt x="4874" y="11085"/>
                  </a:cubicBezTo>
                  <a:cubicBezTo>
                    <a:pt x="5686" y="13659"/>
                    <a:pt x="5095" y="15177"/>
                    <a:pt x="4431" y="16017"/>
                  </a:cubicBezTo>
                  <a:cubicBezTo>
                    <a:pt x="3914" y="16640"/>
                    <a:pt x="4172" y="17453"/>
                    <a:pt x="5022" y="17833"/>
                  </a:cubicBezTo>
                  <a:cubicBezTo>
                    <a:pt x="8160" y="19161"/>
                    <a:pt x="14658" y="21600"/>
                    <a:pt x="20308" y="21166"/>
                  </a:cubicBezTo>
                  <a:close/>
                </a:path>
              </a:pathLst>
            </a:custGeom>
            <a:solidFill>
              <a:sysClr val="windowText" lastClr="000000">
                <a:lumMod val="75000"/>
                <a:lumOff val="25000"/>
              </a:sys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68" name="Shape">
              <a:extLst>
                <a:ext uri="{FF2B5EF4-FFF2-40B4-BE49-F238E27FC236}">
                  <a16:creationId xmlns:a16="http://schemas.microsoft.com/office/drawing/2014/main" id="{31D83C3B-4576-300E-CC46-8019E4FC95FF}"/>
                </a:ext>
              </a:extLst>
            </p:cNvPr>
            <p:cNvSpPr/>
            <p:nvPr/>
          </p:nvSpPr>
          <p:spPr>
            <a:xfrm>
              <a:off x="9347118" y="2068859"/>
              <a:ext cx="623997" cy="81137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20529" y="19449"/>
                    <a:pt x="19160" y="17436"/>
                    <a:pt x="17613" y="15422"/>
                  </a:cubicBezTo>
                  <a:cubicBezTo>
                    <a:pt x="16126" y="13454"/>
                    <a:pt x="14400" y="11532"/>
                    <a:pt x="12615" y="9702"/>
                  </a:cubicBezTo>
                  <a:cubicBezTo>
                    <a:pt x="11722" y="8786"/>
                    <a:pt x="10770" y="7917"/>
                    <a:pt x="9818" y="7002"/>
                  </a:cubicBezTo>
                  <a:lnTo>
                    <a:pt x="8331" y="5720"/>
                  </a:lnTo>
                  <a:lnTo>
                    <a:pt x="7557" y="5080"/>
                  </a:lnTo>
                  <a:lnTo>
                    <a:pt x="6783" y="4485"/>
                  </a:lnTo>
                  <a:cubicBezTo>
                    <a:pt x="4701" y="2837"/>
                    <a:pt x="2380" y="1327"/>
                    <a:pt x="0" y="0"/>
                  </a:cubicBezTo>
                  <a:cubicBezTo>
                    <a:pt x="2083" y="1647"/>
                    <a:pt x="4165" y="3249"/>
                    <a:pt x="6069" y="4988"/>
                  </a:cubicBezTo>
                  <a:cubicBezTo>
                    <a:pt x="8033" y="6681"/>
                    <a:pt x="9878" y="8466"/>
                    <a:pt x="11663" y="10251"/>
                  </a:cubicBezTo>
                  <a:cubicBezTo>
                    <a:pt x="13448" y="12036"/>
                    <a:pt x="15173" y="13912"/>
                    <a:pt x="16840" y="15788"/>
                  </a:cubicBezTo>
                  <a:cubicBezTo>
                    <a:pt x="18506" y="17710"/>
                    <a:pt x="20112" y="19632"/>
                    <a:pt x="21600" y="21600"/>
                  </a:cubicBezTo>
                  <a:close/>
                </a:path>
              </a:pathLst>
            </a:custGeom>
            <a:solidFill>
              <a:sysClr val="windowText" lastClr="000000">
                <a:lumMod val="50000"/>
                <a:lumOff val="50000"/>
              </a:sys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69" name="TextBox 68">
              <a:extLst>
                <a:ext uri="{FF2B5EF4-FFF2-40B4-BE49-F238E27FC236}">
                  <a16:creationId xmlns:a16="http://schemas.microsoft.com/office/drawing/2014/main" id="{DB9D69FE-0041-808D-DA4B-551082B14909}"/>
                </a:ext>
              </a:extLst>
            </p:cNvPr>
            <p:cNvSpPr txBox="1"/>
            <p:nvPr/>
          </p:nvSpPr>
          <p:spPr>
            <a:xfrm>
              <a:off x="9488994" y="2745981"/>
              <a:ext cx="418704" cy="369332"/>
            </a:xfrm>
            <a:prstGeom prst="rect">
              <a:avLst/>
            </a:prstGeom>
            <a:noFill/>
          </p:spPr>
          <p:txBody>
            <a:bodyPr wrap="non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Calibri" panose="020F0502020204030204"/>
                </a:rPr>
                <a:t>04</a:t>
              </a:r>
            </a:p>
          </p:txBody>
        </p:sp>
      </p:grpSp>
      <p:sp>
        <p:nvSpPr>
          <p:cNvPr id="72" name="TextBox 71">
            <a:extLst>
              <a:ext uri="{FF2B5EF4-FFF2-40B4-BE49-F238E27FC236}">
                <a16:creationId xmlns:a16="http://schemas.microsoft.com/office/drawing/2014/main" id="{CEE11E1F-EF1B-38D3-69D6-F78CC0A8944A}"/>
              </a:ext>
            </a:extLst>
          </p:cNvPr>
          <p:cNvSpPr txBox="1"/>
          <p:nvPr/>
        </p:nvSpPr>
        <p:spPr>
          <a:xfrm>
            <a:off x="136357" y="6233165"/>
            <a:ext cx="7386307" cy="646331"/>
          </a:xfrm>
          <a:prstGeom prst="rect">
            <a:avLst/>
          </a:prstGeom>
          <a:noFill/>
        </p:spPr>
        <p:txBody>
          <a:bodyPr wrap="square" rtlCol="0">
            <a:spAutoFit/>
          </a:bodyPr>
          <a:lstStyle/>
          <a:p>
            <a:r>
              <a:rPr lang="en-US" dirty="0">
                <a:hlinkClick r:id="rId2"/>
              </a:rPr>
              <a:t>https://arxiv.org/pdf/2406.12374</a:t>
            </a:r>
            <a:r>
              <a:rPr lang="en-US" dirty="0"/>
              <a:t>; </a:t>
            </a:r>
            <a:r>
              <a:rPr lang="en-US" dirty="0">
                <a:hlinkClick r:id="rId3"/>
              </a:rPr>
              <a:t>https://ojs.aaai.org/index.php/AAAI/article/view/21498</a:t>
            </a:r>
            <a:r>
              <a:rPr lang="en-US" dirty="0"/>
              <a:t> </a:t>
            </a:r>
          </a:p>
        </p:txBody>
      </p:sp>
    </p:spTree>
    <p:extLst>
      <p:ext uri="{BB962C8B-B14F-4D97-AF65-F5344CB8AC3E}">
        <p14:creationId xmlns:p14="http://schemas.microsoft.com/office/powerpoint/2010/main" val="1512157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75D592-6E59-D1B0-9E9C-2FA3EDC39004}"/>
            </a:ext>
          </a:extLst>
        </p:cNvPr>
        <p:cNvGrpSpPr/>
        <p:nvPr/>
      </p:nvGrpSpPr>
      <p:grpSpPr>
        <a:xfrm>
          <a:off x="0" y="0"/>
          <a:ext cx="0" cy="0"/>
          <a:chOff x="0" y="0"/>
          <a:chExt cx="0" cy="0"/>
        </a:xfrm>
      </p:grpSpPr>
      <p:grpSp>
        <p:nvGrpSpPr>
          <p:cNvPr id="31" name="Group 30">
            <a:extLst>
              <a:ext uri="{FF2B5EF4-FFF2-40B4-BE49-F238E27FC236}">
                <a16:creationId xmlns:a16="http://schemas.microsoft.com/office/drawing/2014/main" id="{2C88D2ED-2B61-0773-9E74-EB510B4109D3}"/>
              </a:ext>
            </a:extLst>
          </p:cNvPr>
          <p:cNvGrpSpPr/>
          <p:nvPr/>
        </p:nvGrpSpPr>
        <p:grpSpPr>
          <a:xfrm>
            <a:off x="0" y="0"/>
            <a:ext cx="12192000" cy="6858000"/>
            <a:chOff x="0" y="0"/>
            <a:chExt cx="12192000" cy="6858000"/>
          </a:xfrm>
        </p:grpSpPr>
        <p:sp>
          <p:nvSpPr>
            <p:cNvPr id="15" name="Rectangle 14">
              <a:extLst>
                <a:ext uri="{FF2B5EF4-FFF2-40B4-BE49-F238E27FC236}">
                  <a16:creationId xmlns:a16="http://schemas.microsoft.com/office/drawing/2014/main" id="{344941C7-0039-35FC-FE87-83F58F272326}"/>
                </a:ext>
              </a:extLst>
            </p:cNvPr>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5" name="Picture 4">
              <a:extLst>
                <a:ext uri="{FF2B5EF4-FFF2-40B4-BE49-F238E27FC236}">
                  <a16:creationId xmlns:a16="http://schemas.microsoft.com/office/drawing/2014/main" id="{A3AAF0D9-F784-8326-F63C-7B16AEBF335A}"/>
                </a:ext>
              </a:extLst>
            </p:cNvPr>
            <p:cNvPicPr>
              <a:picLocks noChangeAspect="1"/>
            </p:cNvPicPr>
            <p:nvPr/>
          </p:nvPicPr>
          <p:blipFill>
            <a:blip r:embed="rId4"/>
            <a:srcRect t="3857" b="4037"/>
            <a:stretch>
              <a:fillRect/>
            </a:stretch>
          </p:blipFill>
          <p:spPr>
            <a:xfrm>
              <a:off x="91439" y="84913"/>
              <a:ext cx="12006072" cy="6675121"/>
            </a:xfrm>
            <a:prstGeom prst="rect">
              <a:avLst/>
            </a:prstGeom>
          </p:spPr>
        </p:pic>
      </p:grpSp>
      <p:graphicFrame>
        <p:nvGraphicFramePr>
          <p:cNvPr id="199" name="think-cell data - do not delete" hidden="1">
            <a:extLst>
              <a:ext uri="{FF2B5EF4-FFF2-40B4-BE49-F238E27FC236}">
                <a16:creationId xmlns:a16="http://schemas.microsoft.com/office/drawing/2014/main" id="{93122961-7E55-896A-B762-812677816B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99" name="think-cell data - do not delete" hidden="1">
                        <a:extLst>
                          <a:ext uri="{FF2B5EF4-FFF2-40B4-BE49-F238E27FC236}">
                            <a16:creationId xmlns:a16="http://schemas.microsoft.com/office/drawing/2014/main" id="{93122961-7E55-896A-B762-812677816B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Title 2">
            <a:extLst>
              <a:ext uri="{FF2B5EF4-FFF2-40B4-BE49-F238E27FC236}">
                <a16:creationId xmlns:a16="http://schemas.microsoft.com/office/drawing/2014/main" id="{CD7DFC7E-FC32-C441-BE2A-9C2F6BB3BA73}"/>
              </a:ext>
            </a:extLst>
          </p:cNvPr>
          <p:cNvSpPr txBox="1">
            <a:spLocks/>
          </p:cNvSpPr>
          <p:nvPr/>
        </p:nvSpPr>
        <p:spPr>
          <a:xfrm>
            <a:off x="655077" y="3598301"/>
            <a:ext cx="9994449" cy="600296"/>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Medium" panose="020B0503030202060203" pitchFamily="34" charset="77"/>
                <a:ea typeface="+mj-ea"/>
                <a:cs typeface="Arial"/>
              </a:defRPr>
            </a:lvl1pPr>
          </a:lstStyle>
          <a:p>
            <a:pPr marL="0" marR="0" lvl="0" indent="0" algn="l" defTabSz="457192" rtl="0" eaLnBrk="1" fontAlgn="auto" latinLnBrk="0" hangingPunct="1">
              <a:lnSpc>
                <a:spcPct val="80000"/>
              </a:lnSpc>
              <a:spcBef>
                <a:spcPct val="0"/>
              </a:spcBef>
              <a:spcAft>
                <a:spcPts val="1200"/>
              </a:spcAft>
              <a:buClrTx/>
              <a:buSzTx/>
              <a:buFont typeface="Arial" panose="020B0604020202020204" pitchFamily="34" charset="0"/>
              <a:buNone/>
              <a:tabLst/>
              <a:defRPr/>
            </a:pPr>
            <a:r>
              <a:rPr kumimoji="0" lang="en-US" sz="48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t>Citizens AI Academy</a:t>
            </a:r>
            <a:endParaRPr kumimoji="0" lang="en-US" sz="4800" i="0" u="none" strike="noStrike" kern="1200" cap="none" spc="0" normalizeH="0" baseline="0" noProof="0" dirty="0">
              <a:ln>
                <a:noFill/>
              </a:ln>
              <a:solidFill>
                <a:schemeClr val="bg1"/>
              </a:solidFill>
              <a:effectLst/>
              <a:uLnTx/>
              <a:uFillTx/>
              <a:latin typeface="Graphik-Medium" panose="020B0503030202060203" pitchFamily="34" charset="77"/>
              <a:ea typeface="+mj-ea"/>
              <a:cs typeface="Arial"/>
            </a:endParaRPr>
          </a:p>
        </p:txBody>
      </p:sp>
      <p:grpSp>
        <p:nvGrpSpPr>
          <p:cNvPr id="36" name="Group 35">
            <a:extLst>
              <a:ext uri="{FF2B5EF4-FFF2-40B4-BE49-F238E27FC236}">
                <a16:creationId xmlns:a16="http://schemas.microsoft.com/office/drawing/2014/main" id="{FDFF609D-1ECB-E6CD-24BC-324D41098246}"/>
              </a:ext>
            </a:extLst>
          </p:cNvPr>
          <p:cNvGrpSpPr/>
          <p:nvPr/>
        </p:nvGrpSpPr>
        <p:grpSpPr>
          <a:xfrm>
            <a:off x="384445" y="2767404"/>
            <a:ext cx="4788470" cy="661596"/>
            <a:chOff x="384445" y="2767404"/>
            <a:chExt cx="4788470" cy="661596"/>
          </a:xfrm>
        </p:grpSpPr>
        <p:pic>
          <p:nvPicPr>
            <p:cNvPr id="33" name="Picture 32" descr="A black background with a black square&#10;&#10;Description automatically generated with medium confidence">
              <a:extLst>
                <a:ext uri="{FF2B5EF4-FFF2-40B4-BE49-F238E27FC236}">
                  <a16:creationId xmlns:a16="http://schemas.microsoft.com/office/drawing/2014/main" id="{26AF7AC9-DE65-B074-1013-0E921ABB3ECB}"/>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398050" y="2767404"/>
              <a:ext cx="1774865" cy="468765"/>
            </a:xfrm>
            <a:prstGeom prst="rect">
              <a:avLst/>
            </a:prstGeom>
          </p:spPr>
        </p:pic>
        <p:cxnSp>
          <p:nvCxnSpPr>
            <p:cNvPr id="34" name="Straight Connector 33">
              <a:extLst>
                <a:ext uri="{FF2B5EF4-FFF2-40B4-BE49-F238E27FC236}">
                  <a16:creationId xmlns:a16="http://schemas.microsoft.com/office/drawing/2014/main" id="{6FEFBD42-DC01-C250-6125-68B92B264768}"/>
                </a:ext>
              </a:extLst>
            </p:cNvPr>
            <p:cNvCxnSpPr>
              <a:cxnSpLocks/>
            </p:cNvCxnSpPr>
            <p:nvPr/>
          </p:nvCxnSpPr>
          <p:spPr>
            <a:xfrm>
              <a:off x="3204099" y="2767404"/>
              <a:ext cx="0" cy="66159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35" name="Picture 34" descr="A close up of a logo&#10;&#10;Description automatically generated">
              <a:extLst>
                <a:ext uri="{FF2B5EF4-FFF2-40B4-BE49-F238E27FC236}">
                  <a16:creationId xmlns:a16="http://schemas.microsoft.com/office/drawing/2014/main" id="{FBFE51C9-BE01-679B-6CE3-ED0F1892B936}"/>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t="29087" b="33997"/>
            <a:stretch/>
          </p:blipFill>
          <p:spPr>
            <a:xfrm>
              <a:off x="384445" y="2798361"/>
              <a:ext cx="2721690" cy="565180"/>
            </a:xfrm>
            <a:prstGeom prst="rect">
              <a:avLst/>
            </a:prstGeom>
          </p:spPr>
        </p:pic>
      </p:grpSp>
      <p:sp>
        <p:nvSpPr>
          <p:cNvPr id="37" name="Title 2">
            <a:extLst>
              <a:ext uri="{FF2B5EF4-FFF2-40B4-BE49-F238E27FC236}">
                <a16:creationId xmlns:a16="http://schemas.microsoft.com/office/drawing/2014/main" id="{791C013C-B1D4-6688-0697-9B70B1A0714A}"/>
              </a:ext>
            </a:extLst>
          </p:cNvPr>
          <p:cNvSpPr txBox="1">
            <a:spLocks/>
          </p:cNvSpPr>
          <p:nvPr/>
        </p:nvSpPr>
        <p:spPr>
          <a:xfrm>
            <a:off x="732711" y="4253902"/>
            <a:ext cx="9994449" cy="1978353"/>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Medium" panose="020B0503030202060203" pitchFamily="34" charset="77"/>
                <a:ea typeface="+mj-ea"/>
                <a:cs typeface="Arial"/>
              </a:defRPr>
            </a:lvl1pPr>
          </a:lstStyle>
          <a:p>
            <a:pPr marL="0" marR="0" lvl="0" indent="0" algn="l" defTabSz="457192" rtl="0" eaLnBrk="1" fontAlgn="auto" latinLnBrk="0" hangingPunct="1">
              <a:lnSpc>
                <a:spcPct val="80000"/>
              </a:lnSpc>
              <a:spcBef>
                <a:spcPct val="0"/>
              </a:spcBef>
              <a:spcAft>
                <a:spcPts val="1200"/>
              </a:spcAft>
              <a:buClrTx/>
              <a:buSzTx/>
              <a:buFont typeface="Arial" panose="020B0604020202020204" pitchFamily="34" charset="0"/>
              <a:buNone/>
              <a:tabLst/>
              <a:defRPr/>
            </a:pPr>
            <a:r>
              <a:rPr kumimoji="0" lang="en-US" sz="3600" b="1"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t>Track C Tool Use for AI Agents</a:t>
            </a:r>
            <a:br>
              <a:rPr kumimoji="0" lang="en-US" sz="3600" b="1"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br>
              <a:rPr kumimoji="0" lang="en-US" sz="3200" i="0" u="none" strike="noStrike" kern="1200" cap="none" spc="0" normalizeH="0" baseline="0" noProof="0" dirty="0">
                <a:ln>
                  <a:noFill/>
                </a:ln>
                <a:solidFill>
                  <a:srgbClr val="FFFFFF"/>
                </a:solidFill>
                <a:effectLst/>
                <a:uLnTx/>
                <a:uFillTx/>
                <a:latin typeface="Graphik-Light" panose="020B0403030202060203" pitchFamily="34" charset="77"/>
                <a:ea typeface="+mj-ea"/>
                <a:cs typeface="Arial"/>
              </a:rPr>
            </a:br>
            <a:r>
              <a:rPr kumimoji="0" lang="en-US" sz="2400" i="0" u="none" strike="noStrike" kern="1200" cap="none" spc="0" normalizeH="0" baseline="0" noProof="0" dirty="0">
                <a:ln>
                  <a:noFill/>
                </a:ln>
                <a:solidFill>
                  <a:schemeClr val="bg1"/>
                </a:solidFill>
                <a:effectLst/>
                <a:uLnTx/>
                <a:uFillTx/>
                <a:latin typeface="Graphik-Medium" panose="020B0503030202060203" pitchFamily="34" charset="77"/>
                <a:ea typeface="+mj-ea"/>
                <a:cs typeface="Arial"/>
              </a:rPr>
              <a:t>September 2025</a:t>
            </a:r>
            <a:endParaRPr kumimoji="0" lang="en-US" sz="4800" i="0" u="none" strike="noStrike" kern="1200" cap="none" spc="0" normalizeH="0" baseline="0" noProof="0" dirty="0">
              <a:ln>
                <a:noFill/>
              </a:ln>
              <a:solidFill>
                <a:schemeClr val="bg1"/>
              </a:solidFill>
              <a:effectLst/>
              <a:uLnTx/>
              <a:uFillTx/>
              <a:latin typeface="Graphik-Medium" panose="020B0503030202060203" pitchFamily="34" charset="77"/>
              <a:ea typeface="+mj-ea"/>
              <a:cs typeface="Arial"/>
            </a:endParaRPr>
          </a:p>
        </p:txBody>
      </p:sp>
    </p:spTree>
    <p:extLst>
      <p:ext uri="{BB962C8B-B14F-4D97-AF65-F5344CB8AC3E}">
        <p14:creationId xmlns:p14="http://schemas.microsoft.com/office/powerpoint/2010/main" val="17453029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772506-3820-4978-8143-52CD218B8A4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715F05D-36BC-FC4E-8DC7-55B3F71F33D7}"/>
              </a:ext>
            </a:extLst>
          </p:cNvPr>
          <p:cNvSpPr>
            <a:spLocks noGrp="1"/>
          </p:cNvSpPr>
          <p:nvPr>
            <p:ph type="title"/>
          </p:nvPr>
        </p:nvSpPr>
        <p:spPr/>
        <p:txBody>
          <a:bodyPr/>
          <a:lstStyle/>
          <a:p>
            <a:r>
              <a:rPr lang="en-US" dirty="0"/>
              <a:t>A Successful Multi-Agent Orchestration</a:t>
            </a:r>
          </a:p>
        </p:txBody>
      </p:sp>
      <p:pic>
        <p:nvPicPr>
          <p:cNvPr id="2" name="Picture 1">
            <a:extLst>
              <a:ext uri="{FF2B5EF4-FFF2-40B4-BE49-F238E27FC236}">
                <a16:creationId xmlns:a16="http://schemas.microsoft.com/office/drawing/2014/main" id="{6C666D1C-69F4-8336-D68D-CA22715C90DE}"/>
              </a:ext>
            </a:extLst>
          </p:cNvPr>
          <p:cNvPicPr>
            <a:picLocks noChangeAspect="1"/>
          </p:cNvPicPr>
          <p:nvPr/>
        </p:nvPicPr>
        <p:blipFill>
          <a:blip r:embed="rId2"/>
          <a:stretch>
            <a:fillRect/>
          </a:stretch>
        </p:blipFill>
        <p:spPr>
          <a:xfrm>
            <a:off x="2546739" y="338567"/>
            <a:ext cx="5537810" cy="8998941"/>
          </a:xfrm>
          <a:prstGeom prst="rect">
            <a:avLst/>
          </a:prstGeom>
          <a:scene3d>
            <a:camera prst="isometricOffAxis2Top">
              <a:rot lat="19968540" lon="4348852" rev="16409719"/>
            </a:camera>
            <a:lightRig rig="threePt" dir="t"/>
          </a:scene3d>
        </p:spPr>
      </p:pic>
      <p:grpSp>
        <p:nvGrpSpPr>
          <p:cNvPr id="5" name="Group 4">
            <a:extLst>
              <a:ext uri="{FF2B5EF4-FFF2-40B4-BE49-F238E27FC236}">
                <a16:creationId xmlns:a16="http://schemas.microsoft.com/office/drawing/2014/main" id="{AECBB6C9-ADE9-3CA1-03D8-819F11B7805A}"/>
              </a:ext>
            </a:extLst>
          </p:cNvPr>
          <p:cNvGrpSpPr/>
          <p:nvPr/>
        </p:nvGrpSpPr>
        <p:grpSpPr>
          <a:xfrm>
            <a:off x="397100" y="2333330"/>
            <a:ext cx="2348232" cy="1290153"/>
            <a:chOff x="397100" y="1929088"/>
            <a:chExt cx="2348232" cy="1290153"/>
          </a:xfrm>
        </p:grpSpPr>
        <p:sp>
          <p:nvSpPr>
            <p:cNvPr id="6" name="TextBox 5">
              <a:extLst>
                <a:ext uri="{FF2B5EF4-FFF2-40B4-BE49-F238E27FC236}">
                  <a16:creationId xmlns:a16="http://schemas.microsoft.com/office/drawing/2014/main" id="{A80C13B5-E68A-1FA7-BE04-B0D6BF6D5FA3}"/>
                </a:ext>
              </a:extLst>
            </p:cNvPr>
            <p:cNvSpPr txBox="1"/>
            <p:nvPr/>
          </p:nvSpPr>
          <p:spPr>
            <a:xfrm>
              <a:off x="397100" y="1929088"/>
              <a:ext cx="2348232" cy="461665"/>
            </a:xfrm>
            <a:prstGeom prst="rect">
              <a:avLst/>
            </a:prstGeom>
            <a:noFill/>
          </p:spPr>
          <p:txBody>
            <a:bodyPr wrap="square" lIns="0" rIns="0" rtlCol="0" anchor="b">
              <a:spAutoFit/>
            </a:bodyPr>
            <a:lstStyle/>
            <a:p>
              <a:r>
                <a:rPr lang="en-US" sz="2400" b="1" cap="all" dirty="0"/>
                <a:t>Explain</a:t>
              </a:r>
            </a:p>
          </p:txBody>
        </p:sp>
        <p:sp>
          <p:nvSpPr>
            <p:cNvPr id="7" name="TextBox 6">
              <a:extLst>
                <a:ext uri="{FF2B5EF4-FFF2-40B4-BE49-F238E27FC236}">
                  <a16:creationId xmlns:a16="http://schemas.microsoft.com/office/drawing/2014/main" id="{E01ABC00-267D-076A-579D-3F5C61603339}"/>
                </a:ext>
              </a:extLst>
            </p:cNvPr>
            <p:cNvSpPr txBox="1"/>
            <p:nvPr/>
          </p:nvSpPr>
          <p:spPr>
            <a:xfrm>
              <a:off x="403332" y="2388244"/>
              <a:ext cx="2342000" cy="830997"/>
            </a:xfrm>
            <a:prstGeom prst="rect">
              <a:avLst/>
            </a:prstGeom>
            <a:noFill/>
          </p:spPr>
          <p:txBody>
            <a:bodyPr wrap="square" lIns="0" rIns="0" rtlCol="0" anchor="t">
              <a:spAutoFit/>
            </a:bodyPr>
            <a:lstStyle/>
            <a:p>
              <a:r>
                <a:rPr lang="en-US" sz="1200" dirty="0">
                  <a:solidFill>
                    <a:schemeClr val="tx1">
                      <a:lumMod val="65000"/>
                      <a:lumOff val="35000"/>
                    </a:schemeClr>
                  </a:solidFill>
                </a:rPr>
                <a:t>Regularly ask agents to explain their dependencies on other inputs and gauge whether their output is faithful.</a:t>
              </a:r>
            </a:p>
          </p:txBody>
        </p:sp>
      </p:grpSp>
      <p:grpSp>
        <p:nvGrpSpPr>
          <p:cNvPr id="8" name="Group 7">
            <a:extLst>
              <a:ext uri="{FF2B5EF4-FFF2-40B4-BE49-F238E27FC236}">
                <a16:creationId xmlns:a16="http://schemas.microsoft.com/office/drawing/2014/main" id="{24AE7B77-22EE-4B16-9E17-E9FDFA716412}"/>
              </a:ext>
            </a:extLst>
          </p:cNvPr>
          <p:cNvGrpSpPr/>
          <p:nvPr/>
        </p:nvGrpSpPr>
        <p:grpSpPr>
          <a:xfrm>
            <a:off x="6464744" y="1052681"/>
            <a:ext cx="2348232" cy="1105487"/>
            <a:chOff x="6464744" y="1052681"/>
            <a:chExt cx="2348232" cy="1105487"/>
          </a:xfrm>
        </p:grpSpPr>
        <p:sp>
          <p:nvSpPr>
            <p:cNvPr id="9" name="TextBox 8">
              <a:extLst>
                <a:ext uri="{FF2B5EF4-FFF2-40B4-BE49-F238E27FC236}">
                  <a16:creationId xmlns:a16="http://schemas.microsoft.com/office/drawing/2014/main" id="{3C5AD59B-9574-C320-60FD-3144BD84174D}"/>
                </a:ext>
              </a:extLst>
            </p:cNvPr>
            <p:cNvSpPr txBox="1"/>
            <p:nvPr/>
          </p:nvSpPr>
          <p:spPr>
            <a:xfrm>
              <a:off x="6464744" y="1052681"/>
              <a:ext cx="2348232" cy="461665"/>
            </a:xfrm>
            <a:prstGeom prst="rect">
              <a:avLst/>
            </a:prstGeom>
            <a:noFill/>
          </p:spPr>
          <p:txBody>
            <a:bodyPr wrap="square" lIns="0" rIns="0" rtlCol="0" anchor="b">
              <a:spAutoFit/>
            </a:bodyPr>
            <a:lstStyle/>
            <a:p>
              <a:r>
                <a:rPr lang="en-US" sz="2400" b="1" cap="all" dirty="0"/>
                <a:t>HITL</a:t>
              </a:r>
            </a:p>
          </p:txBody>
        </p:sp>
        <p:sp>
          <p:nvSpPr>
            <p:cNvPr id="10" name="TextBox 9">
              <a:extLst>
                <a:ext uri="{FF2B5EF4-FFF2-40B4-BE49-F238E27FC236}">
                  <a16:creationId xmlns:a16="http://schemas.microsoft.com/office/drawing/2014/main" id="{76CCAC51-1144-EDEA-976B-B9142C53781A}"/>
                </a:ext>
              </a:extLst>
            </p:cNvPr>
            <p:cNvSpPr txBox="1"/>
            <p:nvPr/>
          </p:nvSpPr>
          <p:spPr>
            <a:xfrm>
              <a:off x="6470976" y="1511837"/>
              <a:ext cx="2342000" cy="646331"/>
            </a:xfrm>
            <a:prstGeom prst="rect">
              <a:avLst/>
            </a:prstGeom>
            <a:noFill/>
          </p:spPr>
          <p:txBody>
            <a:bodyPr wrap="square" lIns="0" rIns="0" rtlCol="0" anchor="t">
              <a:spAutoFit/>
            </a:bodyPr>
            <a:lstStyle/>
            <a:p>
              <a:r>
                <a:rPr lang="en-US" sz="1200" dirty="0">
                  <a:solidFill>
                    <a:schemeClr val="tx1">
                      <a:lumMod val="65000"/>
                      <a:lumOff val="35000"/>
                    </a:schemeClr>
                  </a:solidFill>
                </a:rPr>
                <a:t>Set up explicit checkpoints for human in the loop and human scoring/validation.</a:t>
              </a:r>
            </a:p>
          </p:txBody>
        </p:sp>
      </p:grpSp>
      <p:grpSp>
        <p:nvGrpSpPr>
          <p:cNvPr id="11" name="Group 10">
            <a:extLst>
              <a:ext uri="{FF2B5EF4-FFF2-40B4-BE49-F238E27FC236}">
                <a16:creationId xmlns:a16="http://schemas.microsoft.com/office/drawing/2014/main" id="{24A89729-306D-5CAA-F73D-CE0B11BA3B45}"/>
              </a:ext>
            </a:extLst>
          </p:cNvPr>
          <p:cNvGrpSpPr/>
          <p:nvPr/>
        </p:nvGrpSpPr>
        <p:grpSpPr>
          <a:xfrm>
            <a:off x="3364743" y="1693006"/>
            <a:ext cx="2348232" cy="920821"/>
            <a:chOff x="3364743" y="1266973"/>
            <a:chExt cx="2348232" cy="920821"/>
          </a:xfrm>
        </p:grpSpPr>
        <p:sp>
          <p:nvSpPr>
            <p:cNvPr id="12" name="TextBox 11">
              <a:extLst>
                <a:ext uri="{FF2B5EF4-FFF2-40B4-BE49-F238E27FC236}">
                  <a16:creationId xmlns:a16="http://schemas.microsoft.com/office/drawing/2014/main" id="{E2E743D1-C0D3-DF4C-AF43-F2B45A94F8C9}"/>
                </a:ext>
              </a:extLst>
            </p:cNvPr>
            <p:cNvSpPr txBox="1"/>
            <p:nvPr/>
          </p:nvSpPr>
          <p:spPr>
            <a:xfrm>
              <a:off x="3364743" y="1266973"/>
              <a:ext cx="2348232" cy="461665"/>
            </a:xfrm>
            <a:prstGeom prst="rect">
              <a:avLst/>
            </a:prstGeom>
            <a:noFill/>
          </p:spPr>
          <p:txBody>
            <a:bodyPr wrap="square" lIns="0" rIns="0" rtlCol="0" anchor="b">
              <a:spAutoFit/>
            </a:bodyPr>
            <a:lstStyle/>
            <a:p>
              <a:r>
                <a:rPr lang="en-US" sz="2400" b="1" cap="all" dirty="0"/>
                <a:t>Checks</a:t>
              </a:r>
            </a:p>
          </p:txBody>
        </p:sp>
        <p:sp>
          <p:nvSpPr>
            <p:cNvPr id="13" name="TextBox 12">
              <a:extLst>
                <a:ext uri="{FF2B5EF4-FFF2-40B4-BE49-F238E27FC236}">
                  <a16:creationId xmlns:a16="http://schemas.microsoft.com/office/drawing/2014/main" id="{8EC679E2-38FC-A93C-8C92-571CC5A58E03}"/>
                </a:ext>
              </a:extLst>
            </p:cNvPr>
            <p:cNvSpPr txBox="1"/>
            <p:nvPr/>
          </p:nvSpPr>
          <p:spPr>
            <a:xfrm>
              <a:off x="3370975" y="1726129"/>
              <a:ext cx="2342000" cy="461665"/>
            </a:xfrm>
            <a:prstGeom prst="rect">
              <a:avLst/>
            </a:prstGeom>
            <a:noFill/>
          </p:spPr>
          <p:txBody>
            <a:bodyPr wrap="square" lIns="0" rIns="0" rtlCol="0" anchor="t">
              <a:spAutoFit/>
            </a:bodyPr>
            <a:lstStyle/>
            <a:p>
              <a:r>
                <a:rPr lang="en-US" sz="1200" dirty="0">
                  <a:solidFill>
                    <a:schemeClr val="tx1">
                      <a:lumMod val="65000"/>
                      <a:lumOff val="35000"/>
                    </a:schemeClr>
                  </a:solidFill>
                </a:rPr>
                <a:t>Request periodic system-wide consistency checks</a:t>
              </a:r>
            </a:p>
          </p:txBody>
        </p:sp>
      </p:grpSp>
      <p:sp>
        <p:nvSpPr>
          <p:cNvPr id="14" name="Freeform: Shape 30">
            <a:extLst>
              <a:ext uri="{FF2B5EF4-FFF2-40B4-BE49-F238E27FC236}">
                <a16:creationId xmlns:a16="http://schemas.microsoft.com/office/drawing/2014/main" id="{B84A7FB5-16CF-4DD1-48E9-8B2D16F2A71E}"/>
              </a:ext>
            </a:extLst>
          </p:cNvPr>
          <p:cNvSpPr/>
          <p:nvPr/>
        </p:nvSpPr>
        <p:spPr>
          <a:xfrm>
            <a:off x="193916" y="4243705"/>
            <a:ext cx="1780145" cy="1190810"/>
          </a:xfrm>
          <a:custGeom>
            <a:avLst/>
            <a:gdLst>
              <a:gd name="connsiteX0" fmla="*/ 1028113 w 1780145"/>
              <a:gd name="connsiteY0" fmla="*/ 170374 h 1190810"/>
              <a:gd name="connsiteX1" fmla="*/ 1252329 w 1780145"/>
              <a:gd name="connsiteY1" fmla="*/ 197395 h 1190810"/>
              <a:gd name="connsiteX2" fmla="*/ 1396084 w 1780145"/>
              <a:gd name="connsiteY2" fmla="*/ 364752 h 1190810"/>
              <a:gd name="connsiteX3" fmla="*/ 1396084 w 1780145"/>
              <a:gd name="connsiteY3" fmla="*/ 1104986 h 1190810"/>
              <a:gd name="connsiteX4" fmla="*/ 1310260 w 1780145"/>
              <a:gd name="connsiteY4" fmla="*/ 1190810 h 1190810"/>
              <a:gd name="connsiteX5" fmla="*/ 1224436 w 1780145"/>
              <a:gd name="connsiteY5" fmla="*/ 1104986 h 1190810"/>
              <a:gd name="connsiteX6" fmla="*/ 1224436 w 1780145"/>
              <a:gd name="connsiteY6" fmla="*/ 547129 h 1190810"/>
              <a:gd name="connsiteX7" fmla="*/ 801752 w 1780145"/>
              <a:gd name="connsiteY7" fmla="*/ 547129 h 1190810"/>
              <a:gd name="connsiteX8" fmla="*/ 973401 w 1780145"/>
              <a:gd name="connsiteY8" fmla="*/ 669429 h 1190810"/>
              <a:gd name="connsiteX9" fmla="*/ 999148 w 1780145"/>
              <a:gd name="connsiteY9" fmla="*/ 778854 h 1190810"/>
              <a:gd name="connsiteX10" fmla="*/ 806044 w 1780145"/>
              <a:gd name="connsiteY10" fmla="*/ 1143606 h 1190810"/>
              <a:gd name="connsiteX11" fmla="*/ 730948 w 1780145"/>
              <a:gd name="connsiteY11" fmla="*/ 1188664 h 1190810"/>
              <a:gd name="connsiteX12" fmla="*/ 690181 w 1780145"/>
              <a:gd name="connsiteY12" fmla="*/ 1177936 h 1190810"/>
              <a:gd name="connsiteX13" fmla="*/ 653706 w 1780145"/>
              <a:gd name="connsiteY13" fmla="*/ 1062074 h 1190810"/>
              <a:gd name="connsiteX14" fmla="*/ 810335 w 1780145"/>
              <a:gd name="connsiteY14" fmla="*/ 763835 h 1190810"/>
              <a:gd name="connsiteX15" fmla="*/ 578609 w 1780145"/>
              <a:gd name="connsiteY15" fmla="*/ 596478 h 1190810"/>
              <a:gd name="connsiteX16" fmla="*/ 578609 w 1780145"/>
              <a:gd name="connsiteY16" fmla="*/ 909736 h 1190810"/>
              <a:gd name="connsiteX17" fmla="*/ 529260 w 1780145"/>
              <a:gd name="connsiteY17" fmla="*/ 986978 h 1190810"/>
              <a:gd name="connsiteX18" fmla="*/ 121596 w 1780145"/>
              <a:gd name="connsiteY18" fmla="*/ 1180082 h 1190810"/>
              <a:gd name="connsiteX19" fmla="*/ 85121 w 1780145"/>
              <a:gd name="connsiteY19" fmla="*/ 1188664 h 1190810"/>
              <a:gd name="connsiteX20" fmla="*/ 7879 w 1780145"/>
              <a:gd name="connsiteY20" fmla="*/ 1139315 h 1190810"/>
              <a:gd name="connsiteX21" fmla="*/ 48645 w 1780145"/>
              <a:gd name="connsiteY21" fmla="*/ 1025598 h 1190810"/>
              <a:gd name="connsiteX22" fmla="*/ 406961 w 1780145"/>
              <a:gd name="connsiteY22" fmla="*/ 856096 h 1190810"/>
              <a:gd name="connsiteX23" fmla="*/ 406961 w 1780145"/>
              <a:gd name="connsiteY23" fmla="*/ 495635 h 1190810"/>
              <a:gd name="connsiteX24" fmla="*/ 516386 w 1780145"/>
              <a:gd name="connsiteY24" fmla="*/ 321840 h 1190810"/>
              <a:gd name="connsiteX25" fmla="*/ 1028113 w 1780145"/>
              <a:gd name="connsiteY25" fmla="*/ 170374 h 1190810"/>
              <a:gd name="connsiteX26" fmla="*/ 1608497 w 1780145"/>
              <a:gd name="connsiteY26" fmla="*/ 0 h 1190810"/>
              <a:gd name="connsiteX27" fmla="*/ 1780145 w 1780145"/>
              <a:gd name="connsiteY27" fmla="*/ 171648 h 1190810"/>
              <a:gd name="connsiteX28" fmla="*/ 1608497 w 1780145"/>
              <a:gd name="connsiteY28" fmla="*/ 343296 h 1190810"/>
              <a:gd name="connsiteX29" fmla="*/ 1436849 w 1780145"/>
              <a:gd name="connsiteY29" fmla="*/ 171648 h 1190810"/>
              <a:gd name="connsiteX30" fmla="*/ 1608497 w 1780145"/>
              <a:gd name="connsiteY30" fmla="*/ 0 h 1190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780145" h="1190810">
                <a:moveTo>
                  <a:pt x="1028113" y="170374"/>
                </a:moveTo>
                <a:cubicBezTo>
                  <a:pt x="1100259" y="168430"/>
                  <a:pt x="1175624" y="175939"/>
                  <a:pt x="1252329" y="197395"/>
                </a:cubicBezTo>
                <a:cubicBezTo>
                  <a:pt x="1331716" y="210269"/>
                  <a:pt x="1393938" y="281074"/>
                  <a:pt x="1396084" y="364752"/>
                </a:cubicBezTo>
                <a:lnTo>
                  <a:pt x="1396084" y="1104986"/>
                </a:lnTo>
                <a:cubicBezTo>
                  <a:pt x="1396084" y="1152189"/>
                  <a:pt x="1357463" y="1190810"/>
                  <a:pt x="1310260" y="1190810"/>
                </a:cubicBezTo>
                <a:cubicBezTo>
                  <a:pt x="1263057" y="1190810"/>
                  <a:pt x="1224436" y="1152189"/>
                  <a:pt x="1224436" y="1104986"/>
                </a:cubicBezTo>
                <a:lnTo>
                  <a:pt x="1224436" y="547129"/>
                </a:lnTo>
                <a:lnTo>
                  <a:pt x="801752" y="547129"/>
                </a:lnTo>
                <a:lnTo>
                  <a:pt x="973401" y="669429"/>
                </a:lnTo>
                <a:cubicBezTo>
                  <a:pt x="1007730" y="693030"/>
                  <a:pt x="1018458" y="740233"/>
                  <a:pt x="999148" y="778854"/>
                </a:cubicBezTo>
                <a:lnTo>
                  <a:pt x="806044" y="1143606"/>
                </a:lnTo>
                <a:cubicBezTo>
                  <a:pt x="791024" y="1171499"/>
                  <a:pt x="760986" y="1188664"/>
                  <a:pt x="730948" y="1188664"/>
                </a:cubicBezTo>
                <a:cubicBezTo>
                  <a:pt x="715928" y="1188664"/>
                  <a:pt x="703055" y="1184373"/>
                  <a:pt x="690181" y="1177936"/>
                </a:cubicBezTo>
                <a:cubicBezTo>
                  <a:pt x="647268" y="1156480"/>
                  <a:pt x="632250" y="1104986"/>
                  <a:pt x="653706" y="1062074"/>
                </a:cubicBezTo>
                <a:lnTo>
                  <a:pt x="810335" y="763835"/>
                </a:lnTo>
                <a:lnTo>
                  <a:pt x="578609" y="596478"/>
                </a:lnTo>
                <a:lnTo>
                  <a:pt x="578609" y="909736"/>
                </a:lnTo>
                <a:cubicBezTo>
                  <a:pt x="578609" y="941920"/>
                  <a:pt x="559299" y="971958"/>
                  <a:pt x="529260" y="986978"/>
                </a:cubicBezTo>
                <a:lnTo>
                  <a:pt x="121596" y="1180082"/>
                </a:lnTo>
                <a:cubicBezTo>
                  <a:pt x="110868" y="1186518"/>
                  <a:pt x="97994" y="1188664"/>
                  <a:pt x="85121" y="1188664"/>
                </a:cubicBezTo>
                <a:cubicBezTo>
                  <a:pt x="52937" y="1188664"/>
                  <a:pt x="22898" y="1169354"/>
                  <a:pt x="7879" y="1139315"/>
                </a:cubicBezTo>
                <a:cubicBezTo>
                  <a:pt x="-11431" y="1096403"/>
                  <a:pt x="5733" y="1044909"/>
                  <a:pt x="48645" y="1025598"/>
                </a:cubicBezTo>
                <a:lnTo>
                  <a:pt x="406961" y="856096"/>
                </a:lnTo>
                <a:lnTo>
                  <a:pt x="406961" y="495635"/>
                </a:lnTo>
                <a:cubicBezTo>
                  <a:pt x="406961" y="418392"/>
                  <a:pt x="452018" y="354024"/>
                  <a:pt x="516386" y="321840"/>
                </a:cubicBezTo>
                <a:cubicBezTo>
                  <a:pt x="624204" y="267128"/>
                  <a:pt x="811676" y="176208"/>
                  <a:pt x="1028113" y="170374"/>
                </a:cubicBezTo>
                <a:close/>
                <a:moveTo>
                  <a:pt x="1608497" y="0"/>
                </a:moveTo>
                <a:cubicBezTo>
                  <a:pt x="1703296" y="0"/>
                  <a:pt x="1780145" y="76849"/>
                  <a:pt x="1780145" y="171648"/>
                </a:cubicBezTo>
                <a:cubicBezTo>
                  <a:pt x="1780145" y="266447"/>
                  <a:pt x="1703296" y="343296"/>
                  <a:pt x="1608497" y="343296"/>
                </a:cubicBezTo>
                <a:cubicBezTo>
                  <a:pt x="1513698" y="343296"/>
                  <a:pt x="1436849" y="266447"/>
                  <a:pt x="1436849" y="171648"/>
                </a:cubicBezTo>
                <a:cubicBezTo>
                  <a:pt x="1436849" y="76849"/>
                  <a:pt x="1513698" y="0"/>
                  <a:pt x="1608497" y="0"/>
                </a:cubicBezTo>
                <a:close/>
              </a:path>
            </a:pathLst>
          </a:custGeom>
          <a:solidFill>
            <a:schemeClr val="tx2"/>
          </a:solidFill>
          <a:ln w="38100" cap="flat">
            <a:solidFill>
              <a:schemeClr val="bg1"/>
            </a:solidFill>
            <a:prstDash val="solid"/>
            <a:miter/>
          </a:ln>
        </p:spPr>
        <p:txBody>
          <a:bodyPr rtlCol="0" anchor="ctr"/>
          <a:lstStyle/>
          <a:p>
            <a:endParaRPr lang="en-US"/>
          </a:p>
        </p:txBody>
      </p:sp>
      <p:sp>
        <p:nvSpPr>
          <p:cNvPr id="15" name="Freeform: Shape 31">
            <a:extLst>
              <a:ext uri="{FF2B5EF4-FFF2-40B4-BE49-F238E27FC236}">
                <a16:creationId xmlns:a16="http://schemas.microsoft.com/office/drawing/2014/main" id="{705AECCD-3B9C-D9AF-6AE0-9BB73ADC0A59}"/>
              </a:ext>
            </a:extLst>
          </p:cNvPr>
          <p:cNvSpPr/>
          <p:nvPr/>
        </p:nvSpPr>
        <p:spPr>
          <a:xfrm>
            <a:off x="3745590" y="3298084"/>
            <a:ext cx="1620346" cy="1845218"/>
          </a:xfrm>
          <a:custGeom>
            <a:avLst/>
            <a:gdLst>
              <a:gd name="connsiteX0" fmla="*/ 643681 w 1620346"/>
              <a:gd name="connsiteY0" fmla="*/ 364752 h 1845218"/>
              <a:gd name="connsiteX1" fmla="*/ 1008434 w 1620346"/>
              <a:gd name="connsiteY1" fmla="*/ 364752 h 1845218"/>
              <a:gd name="connsiteX2" fmla="*/ 1053491 w 1620346"/>
              <a:gd name="connsiteY2" fmla="*/ 377626 h 1845218"/>
              <a:gd name="connsiteX3" fmla="*/ 1383914 w 1620346"/>
              <a:gd name="connsiteY3" fmla="*/ 585749 h 1845218"/>
              <a:gd name="connsiteX4" fmla="*/ 1459010 w 1620346"/>
              <a:gd name="connsiteY4" fmla="*/ 444139 h 1845218"/>
              <a:gd name="connsiteX5" fmla="*/ 1574872 w 1620346"/>
              <a:gd name="connsiteY5" fmla="*/ 407664 h 1845218"/>
              <a:gd name="connsiteX6" fmla="*/ 1609202 w 1620346"/>
              <a:gd name="connsiteY6" fmla="*/ 523526 h 1845218"/>
              <a:gd name="connsiteX7" fmla="*/ 1491194 w 1620346"/>
              <a:gd name="connsiteY7" fmla="*/ 748815 h 1845218"/>
              <a:gd name="connsiteX8" fmla="*/ 1437554 w 1620346"/>
              <a:gd name="connsiteY8" fmla="*/ 791727 h 1845218"/>
              <a:gd name="connsiteX9" fmla="*/ 1368895 w 1620346"/>
              <a:gd name="connsiteY9" fmla="*/ 780999 h 1845218"/>
              <a:gd name="connsiteX10" fmla="*/ 1120005 w 1620346"/>
              <a:gd name="connsiteY10" fmla="*/ 624370 h 1845218"/>
              <a:gd name="connsiteX11" fmla="*/ 901153 w 1620346"/>
              <a:gd name="connsiteY11" fmla="*/ 1032035 h 1845218"/>
              <a:gd name="connsiteX12" fmla="*/ 1109277 w 1620346"/>
              <a:gd name="connsiteY12" fmla="*/ 1225139 h 1845218"/>
              <a:gd name="connsiteX13" fmla="*/ 1137170 w 1620346"/>
              <a:gd name="connsiteY13" fmla="*/ 1291653 h 1845218"/>
              <a:gd name="connsiteX14" fmla="*/ 1115714 w 1620346"/>
              <a:gd name="connsiteY14" fmla="*/ 1763685 h 1845218"/>
              <a:gd name="connsiteX15" fmla="*/ 1029890 w 1620346"/>
              <a:gd name="connsiteY15" fmla="*/ 1845218 h 1845218"/>
              <a:gd name="connsiteX16" fmla="*/ 1025598 w 1620346"/>
              <a:gd name="connsiteY16" fmla="*/ 1845218 h 1845218"/>
              <a:gd name="connsiteX17" fmla="*/ 946211 w 1620346"/>
              <a:gd name="connsiteY17" fmla="*/ 1755103 h 1845218"/>
              <a:gd name="connsiteX18" fmla="*/ 965522 w 1620346"/>
              <a:gd name="connsiteY18" fmla="*/ 1323837 h 1845218"/>
              <a:gd name="connsiteX19" fmla="*/ 718777 w 1620346"/>
              <a:gd name="connsiteY19" fmla="*/ 1094257 h 1845218"/>
              <a:gd name="connsiteX20" fmla="*/ 568585 w 1620346"/>
              <a:gd name="connsiteY20" fmla="*/ 1371040 h 1845218"/>
              <a:gd name="connsiteX21" fmla="*/ 493489 w 1620346"/>
              <a:gd name="connsiteY21" fmla="*/ 1416098 h 1845218"/>
              <a:gd name="connsiteX22" fmla="*/ 85824 w 1620346"/>
              <a:gd name="connsiteY22" fmla="*/ 1416098 h 1845218"/>
              <a:gd name="connsiteX23" fmla="*/ 0 w 1620346"/>
              <a:gd name="connsiteY23" fmla="*/ 1330274 h 1845218"/>
              <a:gd name="connsiteX24" fmla="*/ 85824 w 1620346"/>
              <a:gd name="connsiteY24" fmla="*/ 1244449 h 1845218"/>
              <a:gd name="connsiteX25" fmla="*/ 441994 w 1620346"/>
              <a:gd name="connsiteY25" fmla="*/ 1244449 h 1845218"/>
              <a:gd name="connsiteX26" fmla="*/ 821766 w 1620346"/>
              <a:gd name="connsiteY26" fmla="*/ 536400 h 1845218"/>
              <a:gd name="connsiteX27" fmla="*/ 695176 w 1620346"/>
              <a:gd name="connsiteY27" fmla="*/ 536400 h 1845218"/>
              <a:gd name="connsiteX28" fmla="*/ 579313 w 1620346"/>
              <a:gd name="connsiteY28" fmla="*/ 748815 h 1845218"/>
              <a:gd name="connsiteX29" fmla="*/ 504217 w 1620346"/>
              <a:gd name="connsiteY29" fmla="*/ 793872 h 1845218"/>
              <a:gd name="connsiteX30" fmla="*/ 463451 w 1620346"/>
              <a:gd name="connsiteY30" fmla="*/ 783144 h 1845218"/>
              <a:gd name="connsiteX31" fmla="*/ 429120 w 1620346"/>
              <a:gd name="connsiteY31" fmla="*/ 667282 h 1845218"/>
              <a:gd name="connsiteX32" fmla="*/ 568585 w 1620346"/>
              <a:gd name="connsiteY32" fmla="*/ 409810 h 1845218"/>
              <a:gd name="connsiteX33" fmla="*/ 643681 w 1620346"/>
              <a:gd name="connsiteY33" fmla="*/ 364752 h 1845218"/>
              <a:gd name="connsiteX34" fmla="*/ 1158625 w 1620346"/>
              <a:gd name="connsiteY34" fmla="*/ 0 h 1845218"/>
              <a:gd name="connsiteX35" fmla="*/ 1330273 w 1620346"/>
              <a:gd name="connsiteY35" fmla="*/ 171648 h 1845218"/>
              <a:gd name="connsiteX36" fmla="*/ 1158625 w 1620346"/>
              <a:gd name="connsiteY36" fmla="*/ 343296 h 1845218"/>
              <a:gd name="connsiteX37" fmla="*/ 986977 w 1620346"/>
              <a:gd name="connsiteY37" fmla="*/ 171648 h 1845218"/>
              <a:gd name="connsiteX38" fmla="*/ 1158625 w 1620346"/>
              <a:gd name="connsiteY38" fmla="*/ 0 h 1845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20346" h="1845218">
                <a:moveTo>
                  <a:pt x="643681" y="364752"/>
                </a:moveTo>
                <a:lnTo>
                  <a:pt x="1008434" y="364752"/>
                </a:lnTo>
                <a:cubicBezTo>
                  <a:pt x="1025598" y="364752"/>
                  <a:pt x="1040618" y="369043"/>
                  <a:pt x="1053491" y="377626"/>
                </a:cubicBezTo>
                <a:lnTo>
                  <a:pt x="1383914" y="585749"/>
                </a:lnTo>
                <a:lnTo>
                  <a:pt x="1459010" y="444139"/>
                </a:lnTo>
                <a:cubicBezTo>
                  <a:pt x="1480466" y="401227"/>
                  <a:pt x="1531960" y="386208"/>
                  <a:pt x="1574872" y="407664"/>
                </a:cubicBezTo>
                <a:cubicBezTo>
                  <a:pt x="1617784" y="431266"/>
                  <a:pt x="1632804" y="482760"/>
                  <a:pt x="1609202" y="523526"/>
                </a:cubicBezTo>
                <a:lnTo>
                  <a:pt x="1491194" y="748815"/>
                </a:lnTo>
                <a:cubicBezTo>
                  <a:pt x="1480466" y="770271"/>
                  <a:pt x="1461155" y="785290"/>
                  <a:pt x="1437554" y="791727"/>
                </a:cubicBezTo>
                <a:cubicBezTo>
                  <a:pt x="1413952" y="798163"/>
                  <a:pt x="1388205" y="793872"/>
                  <a:pt x="1368895" y="780999"/>
                </a:cubicBezTo>
                <a:lnTo>
                  <a:pt x="1120005" y="624370"/>
                </a:lnTo>
                <a:lnTo>
                  <a:pt x="901153" y="1032035"/>
                </a:lnTo>
                <a:lnTo>
                  <a:pt x="1109277" y="1225139"/>
                </a:lnTo>
                <a:cubicBezTo>
                  <a:pt x="1128587" y="1242304"/>
                  <a:pt x="1139315" y="1265905"/>
                  <a:pt x="1137170" y="1291653"/>
                </a:cubicBezTo>
                <a:lnTo>
                  <a:pt x="1115714" y="1763685"/>
                </a:lnTo>
                <a:cubicBezTo>
                  <a:pt x="1113568" y="1808743"/>
                  <a:pt x="1074947" y="1845218"/>
                  <a:pt x="1029890" y="1845218"/>
                </a:cubicBezTo>
                <a:cubicBezTo>
                  <a:pt x="1027744" y="1845218"/>
                  <a:pt x="1027744" y="1845218"/>
                  <a:pt x="1025598" y="1845218"/>
                </a:cubicBezTo>
                <a:cubicBezTo>
                  <a:pt x="978395" y="1843072"/>
                  <a:pt x="941920" y="1802306"/>
                  <a:pt x="946211" y="1755103"/>
                </a:cubicBezTo>
                <a:lnTo>
                  <a:pt x="965522" y="1323837"/>
                </a:lnTo>
                <a:lnTo>
                  <a:pt x="718777" y="1094257"/>
                </a:lnTo>
                <a:lnTo>
                  <a:pt x="568585" y="1371040"/>
                </a:lnTo>
                <a:cubicBezTo>
                  <a:pt x="553566" y="1398933"/>
                  <a:pt x="525673" y="1416098"/>
                  <a:pt x="493489" y="1416098"/>
                </a:cubicBezTo>
                <a:lnTo>
                  <a:pt x="85824" y="1416098"/>
                </a:lnTo>
                <a:cubicBezTo>
                  <a:pt x="38621" y="1416098"/>
                  <a:pt x="0" y="1377477"/>
                  <a:pt x="0" y="1330274"/>
                </a:cubicBezTo>
                <a:cubicBezTo>
                  <a:pt x="0" y="1283070"/>
                  <a:pt x="38621" y="1244449"/>
                  <a:pt x="85824" y="1244449"/>
                </a:cubicBezTo>
                <a:lnTo>
                  <a:pt x="441994" y="1244449"/>
                </a:lnTo>
                <a:lnTo>
                  <a:pt x="821766" y="536400"/>
                </a:lnTo>
                <a:lnTo>
                  <a:pt x="695176" y="536400"/>
                </a:lnTo>
                <a:lnTo>
                  <a:pt x="579313" y="748815"/>
                </a:lnTo>
                <a:cubicBezTo>
                  <a:pt x="564294" y="776707"/>
                  <a:pt x="534256" y="793872"/>
                  <a:pt x="504217" y="793872"/>
                </a:cubicBezTo>
                <a:cubicBezTo>
                  <a:pt x="491344" y="793872"/>
                  <a:pt x="476324" y="789581"/>
                  <a:pt x="463451" y="783144"/>
                </a:cubicBezTo>
                <a:cubicBezTo>
                  <a:pt x="422683" y="761688"/>
                  <a:pt x="405519" y="708048"/>
                  <a:pt x="429120" y="667282"/>
                </a:cubicBezTo>
                <a:lnTo>
                  <a:pt x="568585" y="409810"/>
                </a:lnTo>
                <a:cubicBezTo>
                  <a:pt x="583605" y="381917"/>
                  <a:pt x="611497" y="364752"/>
                  <a:pt x="643681" y="364752"/>
                </a:cubicBezTo>
                <a:close/>
                <a:moveTo>
                  <a:pt x="1158625" y="0"/>
                </a:moveTo>
                <a:cubicBezTo>
                  <a:pt x="1253424" y="0"/>
                  <a:pt x="1330273" y="76849"/>
                  <a:pt x="1330273" y="171648"/>
                </a:cubicBezTo>
                <a:cubicBezTo>
                  <a:pt x="1330273" y="266447"/>
                  <a:pt x="1253424" y="343296"/>
                  <a:pt x="1158625" y="343296"/>
                </a:cubicBezTo>
                <a:cubicBezTo>
                  <a:pt x="1063826" y="343296"/>
                  <a:pt x="986977" y="266447"/>
                  <a:pt x="986977" y="171648"/>
                </a:cubicBezTo>
                <a:cubicBezTo>
                  <a:pt x="986977" y="76849"/>
                  <a:pt x="1063826" y="0"/>
                  <a:pt x="1158625" y="0"/>
                </a:cubicBezTo>
                <a:close/>
              </a:path>
            </a:pathLst>
          </a:custGeom>
          <a:solidFill>
            <a:schemeClr val="tx2"/>
          </a:solidFill>
          <a:ln w="38100" cap="flat">
            <a:solidFill>
              <a:schemeClr val="bg1"/>
            </a:solidFill>
            <a:prstDash val="solid"/>
            <a:miter/>
          </a:ln>
        </p:spPr>
        <p:txBody>
          <a:bodyPr rtlCol="0" anchor="ctr"/>
          <a:lstStyle/>
          <a:p>
            <a:endParaRPr lang="en-US"/>
          </a:p>
        </p:txBody>
      </p:sp>
      <p:sp>
        <p:nvSpPr>
          <p:cNvPr id="16" name="Freeform: Shape 32">
            <a:extLst>
              <a:ext uri="{FF2B5EF4-FFF2-40B4-BE49-F238E27FC236}">
                <a16:creationId xmlns:a16="http://schemas.microsoft.com/office/drawing/2014/main" id="{546D3069-4D57-9444-220B-6BA4CE36F7AB}"/>
              </a:ext>
            </a:extLst>
          </p:cNvPr>
          <p:cNvSpPr/>
          <p:nvPr/>
        </p:nvSpPr>
        <p:spPr>
          <a:xfrm>
            <a:off x="7087927" y="3095142"/>
            <a:ext cx="1202347" cy="1845218"/>
          </a:xfrm>
          <a:custGeom>
            <a:avLst/>
            <a:gdLst>
              <a:gd name="connsiteX0" fmla="*/ 646413 w 1202347"/>
              <a:gd name="connsiteY0" fmla="*/ 386208 h 1845218"/>
              <a:gd name="connsiteX1" fmla="*/ 796605 w 1202347"/>
              <a:gd name="connsiteY1" fmla="*/ 476323 h 1845218"/>
              <a:gd name="connsiteX2" fmla="*/ 923195 w 1202347"/>
              <a:gd name="connsiteY2" fmla="*/ 768125 h 1845218"/>
              <a:gd name="connsiteX3" fmla="*/ 1144192 w 1202347"/>
              <a:gd name="connsiteY3" fmla="*/ 841075 h 1845218"/>
              <a:gd name="connsiteX4" fmla="*/ 1197832 w 1202347"/>
              <a:gd name="connsiteY4" fmla="*/ 950502 h 1845218"/>
              <a:gd name="connsiteX5" fmla="*/ 1116299 w 1202347"/>
              <a:gd name="connsiteY5" fmla="*/ 1008433 h 1845218"/>
              <a:gd name="connsiteX6" fmla="*/ 1088406 w 1202347"/>
              <a:gd name="connsiteY6" fmla="*/ 1004142 h 1845218"/>
              <a:gd name="connsiteX7" fmla="*/ 830934 w 1202347"/>
              <a:gd name="connsiteY7" fmla="*/ 918318 h 1845218"/>
              <a:gd name="connsiteX8" fmla="*/ 779440 w 1202347"/>
              <a:gd name="connsiteY8" fmla="*/ 871114 h 1845218"/>
              <a:gd name="connsiteX9" fmla="*/ 738674 w 1202347"/>
              <a:gd name="connsiteY9" fmla="*/ 776707 h 1845218"/>
              <a:gd name="connsiteX10" fmla="*/ 680742 w 1202347"/>
              <a:gd name="connsiteY10" fmla="*/ 1066365 h 1845218"/>
              <a:gd name="connsiteX11" fmla="*/ 888866 w 1202347"/>
              <a:gd name="connsiteY11" fmla="*/ 1218702 h 1845218"/>
              <a:gd name="connsiteX12" fmla="*/ 923195 w 1202347"/>
              <a:gd name="connsiteY12" fmla="*/ 1287361 h 1845218"/>
              <a:gd name="connsiteX13" fmla="*/ 923195 w 1202347"/>
              <a:gd name="connsiteY13" fmla="*/ 1759394 h 1845218"/>
              <a:gd name="connsiteX14" fmla="*/ 837371 w 1202347"/>
              <a:gd name="connsiteY14" fmla="*/ 1845218 h 1845218"/>
              <a:gd name="connsiteX15" fmla="*/ 751547 w 1202347"/>
              <a:gd name="connsiteY15" fmla="*/ 1759394 h 1845218"/>
              <a:gd name="connsiteX16" fmla="*/ 751547 w 1202347"/>
              <a:gd name="connsiteY16" fmla="*/ 1330273 h 1845218"/>
              <a:gd name="connsiteX17" fmla="*/ 519822 w 1202347"/>
              <a:gd name="connsiteY17" fmla="*/ 1162917 h 1845218"/>
              <a:gd name="connsiteX18" fmla="*/ 468328 w 1202347"/>
              <a:gd name="connsiteY18" fmla="*/ 1411806 h 1845218"/>
              <a:gd name="connsiteX19" fmla="*/ 451163 w 1202347"/>
              <a:gd name="connsiteY19" fmla="*/ 1448282 h 1845218"/>
              <a:gd name="connsiteX20" fmla="*/ 150778 w 1202347"/>
              <a:gd name="connsiteY20" fmla="*/ 1813034 h 1845218"/>
              <a:gd name="connsiteX21" fmla="*/ 84264 w 1202347"/>
              <a:gd name="connsiteY21" fmla="*/ 1845218 h 1845218"/>
              <a:gd name="connsiteX22" fmla="*/ 30624 w 1202347"/>
              <a:gd name="connsiteY22" fmla="*/ 1825907 h 1845218"/>
              <a:gd name="connsiteX23" fmla="*/ 19896 w 1202347"/>
              <a:gd name="connsiteY23" fmla="*/ 1705754 h 1845218"/>
              <a:gd name="connsiteX24" fmla="*/ 307407 w 1202347"/>
              <a:gd name="connsiteY24" fmla="*/ 1356021 h 1845218"/>
              <a:gd name="connsiteX25" fmla="*/ 455454 w 1202347"/>
              <a:gd name="connsiteY25" fmla="*/ 632952 h 1845218"/>
              <a:gd name="connsiteX26" fmla="*/ 365339 w 1202347"/>
              <a:gd name="connsiteY26" fmla="*/ 667282 h 1845218"/>
              <a:gd name="connsiteX27" fmla="*/ 277368 w 1202347"/>
              <a:gd name="connsiteY27" fmla="*/ 890424 h 1845218"/>
              <a:gd name="connsiteX28" fmla="*/ 197981 w 1202347"/>
              <a:gd name="connsiteY28" fmla="*/ 944065 h 1845218"/>
              <a:gd name="connsiteX29" fmla="*/ 165797 w 1202347"/>
              <a:gd name="connsiteY29" fmla="*/ 937629 h 1845218"/>
              <a:gd name="connsiteX30" fmla="*/ 118594 w 1202347"/>
              <a:gd name="connsiteY30" fmla="*/ 826056 h 1845218"/>
              <a:gd name="connsiteX31" fmla="*/ 225874 w 1202347"/>
              <a:gd name="connsiteY31" fmla="*/ 568584 h 1845218"/>
              <a:gd name="connsiteX32" fmla="*/ 273077 w 1202347"/>
              <a:gd name="connsiteY32" fmla="*/ 521381 h 1845218"/>
              <a:gd name="connsiteX33" fmla="*/ 573462 w 1202347"/>
              <a:gd name="connsiteY33" fmla="*/ 403373 h 1845218"/>
              <a:gd name="connsiteX34" fmla="*/ 646413 w 1202347"/>
              <a:gd name="connsiteY34" fmla="*/ 386208 h 1845218"/>
              <a:gd name="connsiteX35" fmla="*/ 708634 w 1202347"/>
              <a:gd name="connsiteY35" fmla="*/ 0 h 1845218"/>
              <a:gd name="connsiteX36" fmla="*/ 880282 w 1202347"/>
              <a:gd name="connsiteY36" fmla="*/ 171648 h 1845218"/>
              <a:gd name="connsiteX37" fmla="*/ 708634 w 1202347"/>
              <a:gd name="connsiteY37" fmla="*/ 343296 h 1845218"/>
              <a:gd name="connsiteX38" fmla="*/ 536986 w 1202347"/>
              <a:gd name="connsiteY38" fmla="*/ 171648 h 1845218"/>
              <a:gd name="connsiteX39" fmla="*/ 708634 w 1202347"/>
              <a:gd name="connsiteY39" fmla="*/ 0 h 1845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02347" h="1845218">
                <a:moveTo>
                  <a:pt x="646413" y="386208"/>
                </a:moveTo>
                <a:cubicBezTo>
                  <a:pt x="710781" y="386208"/>
                  <a:pt x="766566" y="422683"/>
                  <a:pt x="796605" y="476323"/>
                </a:cubicBezTo>
                <a:cubicBezTo>
                  <a:pt x="800896" y="484906"/>
                  <a:pt x="923195" y="768125"/>
                  <a:pt x="923195" y="768125"/>
                </a:cubicBezTo>
                <a:lnTo>
                  <a:pt x="1144192" y="841075"/>
                </a:lnTo>
                <a:cubicBezTo>
                  <a:pt x="1189250" y="856095"/>
                  <a:pt x="1212851" y="905445"/>
                  <a:pt x="1197832" y="950502"/>
                </a:cubicBezTo>
                <a:cubicBezTo>
                  <a:pt x="1184959" y="984832"/>
                  <a:pt x="1152775" y="1008433"/>
                  <a:pt x="1116299" y="1008433"/>
                </a:cubicBezTo>
                <a:cubicBezTo>
                  <a:pt x="1105571" y="1008433"/>
                  <a:pt x="1096989" y="1006288"/>
                  <a:pt x="1088406" y="1004142"/>
                </a:cubicBezTo>
                <a:lnTo>
                  <a:pt x="830934" y="918318"/>
                </a:lnTo>
                <a:cubicBezTo>
                  <a:pt x="807333" y="909736"/>
                  <a:pt x="790168" y="892570"/>
                  <a:pt x="779440" y="871114"/>
                </a:cubicBezTo>
                <a:lnTo>
                  <a:pt x="738674" y="776707"/>
                </a:lnTo>
                <a:lnTo>
                  <a:pt x="680742" y="1066365"/>
                </a:lnTo>
                <a:lnTo>
                  <a:pt x="888866" y="1218702"/>
                </a:lnTo>
                <a:cubicBezTo>
                  <a:pt x="910322" y="1233721"/>
                  <a:pt x="923195" y="1259469"/>
                  <a:pt x="923195" y="1287361"/>
                </a:cubicBezTo>
                <a:lnTo>
                  <a:pt x="923195" y="1759394"/>
                </a:lnTo>
                <a:cubicBezTo>
                  <a:pt x="923195" y="1806597"/>
                  <a:pt x="884574" y="1845218"/>
                  <a:pt x="837371" y="1845218"/>
                </a:cubicBezTo>
                <a:cubicBezTo>
                  <a:pt x="790168" y="1845218"/>
                  <a:pt x="751547" y="1806597"/>
                  <a:pt x="751547" y="1759394"/>
                </a:cubicBezTo>
                <a:lnTo>
                  <a:pt x="751547" y="1330273"/>
                </a:lnTo>
                <a:lnTo>
                  <a:pt x="519822" y="1162917"/>
                </a:lnTo>
                <a:lnTo>
                  <a:pt x="468328" y="1411806"/>
                </a:lnTo>
                <a:cubicBezTo>
                  <a:pt x="466182" y="1424680"/>
                  <a:pt x="459745" y="1437554"/>
                  <a:pt x="451163" y="1448282"/>
                </a:cubicBezTo>
                <a:lnTo>
                  <a:pt x="150778" y="1813034"/>
                </a:lnTo>
                <a:cubicBezTo>
                  <a:pt x="133613" y="1834490"/>
                  <a:pt x="110011" y="1845218"/>
                  <a:pt x="84264" y="1845218"/>
                </a:cubicBezTo>
                <a:cubicBezTo>
                  <a:pt x="64954" y="1845218"/>
                  <a:pt x="45643" y="1838781"/>
                  <a:pt x="30624" y="1825907"/>
                </a:cubicBezTo>
                <a:cubicBezTo>
                  <a:pt x="-5851" y="1795869"/>
                  <a:pt x="-10142" y="1742229"/>
                  <a:pt x="19896" y="1705754"/>
                </a:cubicBezTo>
                <a:lnTo>
                  <a:pt x="307407" y="1356021"/>
                </a:lnTo>
                <a:lnTo>
                  <a:pt x="455454" y="632952"/>
                </a:lnTo>
                <a:lnTo>
                  <a:pt x="365339" y="667282"/>
                </a:lnTo>
                <a:lnTo>
                  <a:pt x="277368" y="890424"/>
                </a:lnTo>
                <a:cubicBezTo>
                  <a:pt x="264495" y="924755"/>
                  <a:pt x="232311" y="944065"/>
                  <a:pt x="197981" y="944065"/>
                </a:cubicBezTo>
                <a:cubicBezTo>
                  <a:pt x="187253" y="944065"/>
                  <a:pt x="176525" y="941920"/>
                  <a:pt x="165797" y="937629"/>
                </a:cubicBezTo>
                <a:cubicBezTo>
                  <a:pt x="120739" y="920464"/>
                  <a:pt x="101429" y="868968"/>
                  <a:pt x="118594" y="826056"/>
                </a:cubicBezTo>
                <a:lnTo>
                  <a:pt x="225874" y="568584"/>
                </a:lnTo>
                <a:cubicBezTo>
                  <a:pt x="234456" y="547128"/>
                  <a:pt x="251621" y="529963"/>
                  <a:pt x="273077" y="521381"/>
                </a:cubicBezTo>
                <a:lnTo>
                  <a:pt x="573462" y="403373"/>
                </a:lnTo>
                <a:cubicBezTo>
                  <a:pt x="594918" y="392645"/>
                  <a:pt x="620666" y="386208"/>
                  <a:pt x="646413" y="386208"/>
                </a:cubicBezTo>
                <a:close/>
                <a:moveTo>
                  <a:pt x="708634" y="0"/>
                </a:moveTo>
                <a:cubicBezTo>
                  <a:pt x="803433" y="0"/>
                  <a:pt x="880282" y="76849"/>
                  <a:pt x="880282" y="171648"/>
                </a:cubicBezTo>
                <a:cubicBezTo>
                  <a:pt x="880282" y="266447"/>
                  <a:pt x="803433" y="343296"/>
                  <a:pt x="708634" y="343296"/>
                </a:cubicBezTo>
                <a:cubicBezTo>
                  <a:pt x="613835" y="343296"/>
                  <a:pt x="536986" y="266447"/>
                  <a:pt x="536986" y="171648"/>
                </a:cubicBezTo>
                <a:cubicBezTo>
                  <a:pt x="536986" y="76849"/>
                  <a:pt x="613835" y="0"/>
                  <a:pt x="708634" y="0"/>
                </a:cubicBezTo>
                <a:close/>
              </a:path>
            </a:pathLst>
          </a:custGeom>
          <a:solidFill>
            <a:schemeClr val="tx2"/>
          </a:solidFill>
          <a:ln w="38100" cap="flat">
            <a:solidFill>
              <a:schemeClr val="bg1"/>
            </a:solidFill>
            <a:prstDash val="solid"/>
            <a:miter/>
          </a:ln>
        </p:spPr>
        <p:txBody>
          <a:bodyPr rtlCol="0" anchor="ctr"/>
          <a:lstStyle/>
          <a:p>
            <a:endParaRPr lang="en-US"/>
          </a:p>
        </p:txBody>
      </p:sp>
      <p:grpSp>
        <p:nvGrpSpPr>
          <p:cNvPr id="30" name="Group 29">
            <a:extLst>
              <a:ext uri="{FF2B5EF4-FFF2-40B4-BE49-F238E27FC236}">
                <a16:creationId xmlns:a16="http://schemas.microsoft.com/office/drawing/2014/main" id="{BDD58D05-3A29-1C26-C5D0-3C785F2BD78A}"/>
              </a:ext>
            </a:extLst>
          </p:cNvPr>
          <p:cNvGrpSpPr/>
          <p:nvPr/>
        </p:nvGrpSpPr>
        <p:grpSpPr>
          <a:xfrm>
            <a:off x="9570977" y="994179"/>
            <a:ext cx="2348232" cy="920821"/>
            <a:chOff x="6464744" y="1052681"/>
            <a:chExt cx="2348232" cy="920821"/>
          </a:xfrm>
        </p:grpSpPr>
        <p:sp>
          <p:nvSpPr>
            <p:cNvPr id="31" name="TextBox 30">
              <a:extLst>
                <a:ext uri="{FF2B5EF4-FFF2-40B4-BE49-F238E27FC236}">
                  <a16:creationId xmlns:a16="http://schemas.microsoft.com/office/drawing/2014/main" id="{15162AC0-7922-46E3-69D4-DC093422569E}"/>
                </a:ext>
              </a:extLst>
            </p:cNvPr>
            <p:cNvSpPr txBox="1"/>
            <p:nvPr/>
          </p:nvSpPr>
          <p:spPr>
            <a:xfrm>
              <a:off x="6464744" y="1052681"/>
              <a:ext cx="2348232" cy="461665"/>
            </a:xfrm>
            <a:prstGeom prst="rect">
              <a:avLst/>
            </a:prstGeom>
            <a:noFill/>
          </p:spPr>
          <p:txBody>
            <a:bodyPr wrap="square" lIns="0" rIns="0" rtlCol="0" anchor="b">
              <a:spAutoFit/>
            </a:bodyPr>
            <a:lstStyle/>
            <a:p>
              <a:r>
                <a:rPr lang="en-US" sz="2400" b="1" cap="all" dirty="0"/>
                <a:t>HITL</a:t>
              </a:r>
            </a:p>
          </p:txBody>
        </p:sp>
        <p:sp>
          <p:nvSpPr>
            <p:cNvPr id="32" name="TextBox 31">
              <a:extLst>
                <a:ext uri="{FF2B5EF4-FFF2-40B4-BE49-F238E27FC236}">
                  <a16:creationId xmlns:a16="http://schemas.microsoft.com/office/drawing/2014/main" id="{B8A27E54-9F9A-A27E-A7A9-C35ACCE2C5AF}"/>
                </a:ext>
              </a:extLst>
            </p:cNvPr>
            <p:cNvSpPr txBox="1"/>
            <p:nvPr/>
          </p:nvSpPr>
          <p:spPr>
            <a:xfrm>
              <a:off x="6470976" y="1511837"/>
              <a:ext cx="2342000" cy="461665"/>
            </a:xfrm>
            <a:prstGeom prst="rect">
              <a:avLst/>
            </a:prstGeom>
            <a:noFill/>
          </p:spPr>
          <p:txBody>
            <a:bodyPr wrap="square" lIns="0" rIns="0" rtlCol="0" anchor="t">
              <a:spAutoFit/>
            </a:bodyPr>
            <a:lstStyle/>
            <a:p>
              <a:r>
                <a:rPr lang="en-US" sz="1200" dirty="0">
                  <a:solidFill>
                    <a:schemeClr val="tx1">
                      <a:lumMod val="65000"/>
                      <a:lumOff val="35000"/>
                    </a:schemeClr>
                  </a:solidFill>
                </a:rPr>
                <a:t>Monitor for signs of error amplification in the system.</a:t>
              </a:r>
            </a:p>
          </p:txBody>
        </p:sp>
      </p:grpSp>
      <p:sp>
        <p:nvSpPr>
          <p:cNvPr id="33" name="Freeform: Shape 46">
            <a:extLst>
              <a:ext uri="{FF2B5EF4-FFF2-40B4-BE49-F238E27FC236}">
                <a16:creationId xmlns:a16="http://schemas.microsoft.com/office/drawing/2014/main" id="{17C650DC-8A9C-E90B-5985-D62B1E11BBFC}"/>
              </a:ext>
            </a:extLst>
          </p:cNvPr>
          <p:cNvSpPr/>
          <p:nvPr/>
        </p:nvSpPr>
        <p:spPr>
          <a:xfrm>
            <a:off x="9720491" y="2992819"/>
            <a:ext cx="1053497" cy="1845218"/>
          </a:xfrm>
          <a:custGeom>
            <a:avLst/>
            <a:gdLst>
              <a:gd name="connsiteX0" fmla="*/ 411200 w 821737"/>
              <a:gd name="connsiteY0" fmla="*/ 58939 h 1379914"/>
              <a:gd name="connsiteX1" fmla="*/ 528620 w 821737"/>
              <a:gd name="connsiteY1" fmla="*/ 176360 h 1379914"/>
              <a:gd name="connsiteX2" fmla="*/ 411200 w 821737"/>
              <a:gd name="connsiteY2" fmla="*/ 293780 h 1379914"/>
              <a:gd name="connsiteX3" fmla="*/ 293779 w 821737"/>
              <a:gd name="connsiteY3" fmla="*/ 176360 h 1379914"/>
              <a:gd name="connsiteX4" fmla="*/ 411200 w 821737"/>
              <a:gd name="connsiteY4" fmla="*/ 58939 h 1379914"/>
              <a:gd name="connsiteX5" fmla="*/ 50638 w 821737"/>
              <a:gd name="connsiteY5" fmla="*/ 688 h 1379914"/>
              <a:gd name="connsiteX6" fmla="*/ 108843 w 821737"/>
              <a:gd name="connsiteY6" fmla="*/ 29585 h 1379914"/>
              <a:gd name="connsiteX7" fmla="*/ 293780 w 821737"/>
              <a:gd name="connsiteY7" fmla="*/ 343683 h 1379914"/>
              <a:gd name="connsiteX8" fmla="*/ 314328 w 821737"/>
              <a:gd name="connsiteY8" fmla="*/ 337812 h 1379914"/>
              <a:gd name="connsiteX9" fmla="*/ 411199 w 821737"/>
              <a:gd name="connsiteY9" fmla="*/ 323135 h 1379914"/>
              <a:gd name="connsiteX10" fmla="*/ 508071 w 821737"/>
              <a:gd name="connsiteY10" fmla="*/ 337812 h 1379914"/>
              <a:gd name="connsiteX11" fmla="*/ 528619 w 821737"/>
              <a:gd name="connsiteY11" fmla="*/ 343683 h 1379914"/>
              <a:gd name="connsiteX12" fmla="*/ 713556 w 821737"/>
              <a:gd name="connsiteY12" fmla="*/ 29585 h 1379914"/>
              <a:gd name="connsiteX13" fmla="*/ 792814 w 821737"/>
              <a:gd name="connsiteY13" fmla="*/ 9036 h 1379914"/>
              <a:gd name="connsiteX14" fmla="*/ 813363 w 821737"/>
              <a:gd name="connsiteY14" fmla="*/ 88295 h 1379914"/>
              <a:gd name="connsiteX15" fmla="*/ 557974 w 821737"/>
              <a:gd name="connsiteY15" fmla="*/ 522748 h 1379914"/>
              <a:gd name="connsiteX16" fmla="*/ 557974 w 821737"/>
              <a:gd name="connsiteY16" fmla="*/ 910234 h 1379914"/>
              <a:gd name="connsiteX17" fmla="*/ 557974 w 821737"/>
              <a:gd name="connsiteY17" fmla="*/ 1379914 h 1379914"/>
              <a:gd name="connsiteX18" fmla="*/ 440554 w 821737"/>
              <a:gd name="connsiteY18" fmla="*/ 1379914 h 1379914"/>
              <a:gd name="connsiteX19" fmla="*/ 440554 w 821737"/>
              <a:gd name="connsiteY19" fmla="*/ 851524 h 1379914"/>
              <a:gd name="connsiteX20" fmla="*/ 381844 w 821737"/>
              <a:gd name="connsiteY20" fmla="*/ 851524 h 1379914"/>
              <a:gd name="connsiteX21" fmla="*/ 381844 w 821737"/>
              <a:gd name="connsiteY21" fmla="*/ 1379914 h 1379914"/>
              <a:gd name="connsiteX22" fmla="*/ 264425 w 821737"/>
              <a:gd name="connsiteY22" fmla="*/ 1379914 h 1379914"/>
              <a:gd name="connsiteX23" fmla="*/ 264425 w 821737"/>
              <a:gd name="connsiteY23" fmla="*/ 910234 h 1379914"/>
              <a:gd name="connsiteX24" fmla="*/ 264425 w 821737"/>
              <a:gd name="connsiteY24" fmla="*/ 522748 h 1379914"/>
              <a:gd name="connsiteX25" fmla="*/ 9036 w 821737"/>
              <a:gd name="connsiteY25" fmla="*/ 88295 h 1379914"/>
              <a:gd name="connsiteX26" fmla="*/ 29585 w 821737"/>
              <a:gd name="connsiteY26" fmla="*/ 9036 h 1379914"/>
              <a:gd name="connsiteX27" fmla="*/ 50638 w 821737"/>
              <a:gd name="connsiteY27" fmla="*/ 688 h 13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21737" h="1379914">
                <a:moveTo>
                  <a:pt x="411200" y="58939"/>
                </a:moveTo>
                <a:cubicBezTo>
                  <a:pt x="476049" y="58939"/>
                  <a:pt x="528620" y="111510"/>
                  <a:pt x="528620" y="176360"/>
                </a:cubicBezTo>
                <a:cubicBezTo>
                  <a:pt x="528620" y="241209"/>
                  <a:pt x="476049" y="293780"/>
                  <a:pt x="411200" y="293780"/>
                </a:cubicBezTo>
                <a:cubicBezTo>
                  <a:pt x="346350" y="293780"/>
                  <a:pt x="293779" y="241209"/>
                  <a:pt x="293779" y="176360"/>
                </a:cubicBezTo>
                <a:cubicBezTo>
                  <a:pt x="293779" y="111510"/>
                  <a:pt x="346350" y="58939"/>
                  <a:pt x="411200" y="58939"/>
                </a:cubicBezTo>
                <a:close/>
                <a:moveTo>
                  <a:pt x="50638" y="688"/>
                </a:moveTo>
                <a:cubicBezTo>
                  <a:pt x="72516" y="-2889"/>
                  <a:pt x="95633" y="7569"/>
                  <a:pt x="108843" y="29585"/>
                </a:cubicBezTo>
                <a:lnTo>
                  <a:pt x="293780" y="343683"/>
                </a:lnTo>
                <a:cubicBezTo>
                  <a:pt x="302586" y="340748"/>
                  <a:pt x="308457" y="340748"/>
                  <a:pt x="314328" y="337812"/>
                </a:cubicBezTo>
                <a:cubicBezTo>
                  <a:pt x="346618" y="329006"/>
                  <a:pt x="378909" y="323135"/>
                  <a:pt x="411199" y="323135"/>
                </a:cubicBezTo>
                <a:cubicBezTo>
                  <a:pt x="443490" y="323135"/>
                  <a:pt x="475780" y="329006"/>
                  <a:pt x="508071" y="337812"/>
                </a:cubicBezTo>
                <a:cubicBezTo>
                  <a:pt x="516877" y="337812"/>
                  <a:pt x="522748" y="340748"/>
                  <a:pt x="528619" y="343683"/>
                </a:cubicBezTo>
                <a:lnTo>
                  <a:pt x="713556" y="29585"/>
                </a:lnTo>
                <a:cubicBezTo>
                  <a:pt x="728233" y="3165"/>
                  <a:pt x="763459" y="-8577"/>
                  <a:pt x="792814" y="9036"/>
                </a:cubicBezTo>
                <a:cubicBezTo>
                  <a:pt x="819234" y="23714"/>
                  <a:pt x="830976" y="58940"/>
                  <a:pt x="813363" y="88295"/>
                </a:cubicBezTo>
                <a:lnTo>
                  <a:pt x="557974" y="522748"/>
                </a:lnTo>
                <a:lnTo>
                  <a:pt x="557974" y="910234"/>
                </a:lnTo>
                <a:lnTo>
                  <a:pt x="557974" y="1379914"/>
                </a:lnTo>
                <a:lnTo>
                  <a:pt x="440554" y="1379914"/>
                </a:lnTo>
                <a:lnTo>
                  <a:pt x="440554" y="851524"/>
                </a:lnTo>
                <a:lnTo>
                  <a:pt x="381844" y="851524"/>
                </a:lnTo>
                <a:lnTo>
                  <a:pt x="381844" y="1379914"/>
                </a:lnTo>
                <a:lnTo>
                  <a:pt x="264425" y="1379914"/>
                </a:lnTo>
                <a:lnTo>
                  <a:pt x="264425" y="910234"/>
                </a:lnTo>
                <a:lnTo>
                  <a:pt x="264425" y="522748"/>
                </a:lnTo>
                <a:lnTo>
                  <a:pt x="9036" y="88295"/>
                </a:lnTo>
                <a:cubicBezTo>
                  <a:pt x="-8577" y="61875"/>
                  <a:pt x="230" y="26649"/>
                  <a:pt x="29585" y="9036"/>
                </a:cubicBezTo>
                <a:cubicBezTo>
                  <a:pt x="36190" y="4633"/>
                  <a:pt x="43345" y="1881"/>
                  <a:pt x="50638" y="688"/>
                </a:cubicBezTo>
                <a:close/>
              </a:path>
            </a:pathLst>
          </a:custGeom>
          <a:solidFill>
            <a:schemeClr val="tx2"/>
          </a:solidFill>
          <a:ln w="9525" cap="flat">
            <a:solidFill>
              <a:schemeClr val="bg2"/>
            </a:solidFill>
            <a:prstDash val="solid"/>
            <a:miter/>
          </a:ln>
        </p:spPr>
        <p:txBody>
          <a:bodyPr rtlCol="0" anchor="ctr"/>
          <a:lstStyle/>
          <a:p>
            <a:endParaRPr lang="en-US"/>
          </a:p>
        </p:txBody>
      </p:sp>
    </p:spTree>
    <p:extLst>
      <p:ext uri="{BB962C8B-B14F-4D97-AF65-F5344CB8AC3E}">
        <p14:creationId xmlns:p14="http://schemas.microsoft.com/office/powerpoint/2010/main" val="138629492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00222B-E4D4-13BC-7082-76ED6AD85E2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CD7B2CC-45A2-D829-B440-45868E478595}"/>
              </a:ext>
            </a:extLst>
          </p:cNvPr>
          <p:cNvSpPr>
            <a:spLocks noGrp="1"/>
          </p:cNvSpPr>
          <p:nvPr>
            <p:ph type="title"/>
          </p:nvPr>
        </p:nvSpPr>
        <p:spPr/>
        <p:txBody>
          <a:bodyPr/>
          <a:lstStyle/>
          <a:p>
            <a:r>
              <a:rPr lang="en-US" dirty="0"/>
              <a:t>Looking to the Future: The Next Evolution in AI Reasoning</a:t>
            </a:r>
          </a:p>
        </p:txBody>
      </p:sp>
      <p:sp>
        <p:nvSpPr>
          <p:cNvPr id="4" name="Text Placeholder 3">
            <a:extLst>
              <a:ext uri="{FF2B5EF4-FFF2-40B4-BE49-F238E27FC236}">
                <a16:creationId xmlns:a16="http://schemas.microsoft.com/office/drawing/2014/main" id="{5E2B4A4B-8AF0-CB8F-4B12-00FD2D64445F}"/>
              </a:ext>
            </a:extLst>
          </p:cNvPr>
          <p:cNvSpPr>
            <a:spLocks noGrp="1"/>
          </p:cNvSpPr>
          <p:nvPr>
            <p:ph type="body" sz="quarter" idx="10"/>
          </p:nvPr>
        </p:nvSpPr>
        <p:spPr>
          <a:xfrm>
            <a:off x="384175" y="950118"/>
            <a:ext cx="6881381" cy="4957763"/>
          </a:xfrm>
        </p:spPr>
        <p:txBody>
          <a:bodyPr/>
          <a:lstStyle/>
          <a:p>
            <a:pPr marL="0" indent="0">
              <a:buNone/>
            </a:pPr>
            <a:r>
              <a:rPr lang="en-US" sz="2000" dirty="0"/>
              <a:t>Three fundamental shifts have emerged that reshape our prior assumptions</a:t>
            </a:r>
          </a:p>
          <a:p>
            <a:pPr marL="0" indent="0">
              <a:buNone/>
            </a:pPr>
            <a:endParaRPr lang="en-US" sz="2000" dirty="0"/>
          </a:p>
          <a:p>
            <a:pPr marL="457200" indent="-457200">
              <a:buFont typeface="+mj-lt"/>
              <a:buAutoNum type="arabicPeriod"/>
            </a:pPr>
            <a:r>
              <a:rPr lang="en-US" sz="2000" dirty="0"/>
              <a:t>Effective AI reasoning isn’t just about compute but rather performance follows a cadence of quick pattern recognition (system 1) and deeper, deliberative thought (system 2).</a:t>
            </a:r>
            <a:br>
              <a:rPr lang="en-US" sz="2000" dirty="0"/>
            </a:br>
            <a:endParaRPr lang="en-US" sz="2000" dirty="0"/>
          </a:p>
          <a:p>
            <a:pPr marL="457200" indent="-457200">
              <a:buFont typeface="+mj-lt"/>
              <a:buAutoNum type="arabicPeriod"/>
            </a:pPr>
            <a:r>
              <a:rPr lang="en-US" sz="2000" dirty="0"/>
              <a:t>AI reasoning might not lie in building ever larger individual models but fostering productive interaction between diverse approaches and skillsets.</a:t>
            </a:r>
            <a:br>
              <a:rPr lang="en-US" sz="2000" dirty="0"/>
            </a:br>
            <a:endParaRPr lang="en-US" sz="2000" dirty="0"/>
          </a:p>
          <a:p>
            <a:pPr marL="457200" indent="-457200">
              <a:buFont typeface="+mj-lt"/>
              <a:buAutoNum type="arabicPeriod"/>
            </a:pPr>
            <a:r>
              <a:rPr lang="en-US" sz="2000" dirty="0"/>
              <a:t>AI systems demand more human oversight and interaction. The best agentic systems do not minimize human involvement; they transform us into pseudo-operators.</a:t>
            </a:r>
          </a:p>
        </p:txBody>
      </p:sp>
      <p:grpSp>
        <p:nvGrpSpPr>
          <p:cNvPr id="2" name="Group 1">
            <a:extLst>
              <a:ext uri="{FF2B5EF4-FFF2-40B4-BE49-F238E27FC236}">
                <a16:creationId xmlns:a16="http://schemas.microsoft.com/office/drawing/2014/main" id="{5BE52C65-A698-1F38-2997-E4EFFD69996C}"/>
              </a:ext>
            </a:extLst>
          </p:cNvPr>
          <p:cNvGrpSpPr/>
          <p:nvPr/>
        </p:nvGrpSpPr>
        <p:grpSpPr>
          <a:xfrm>
            <a:off x="7315200" y="1511787"/>
            <a:ext cx="3482869" cy="4835082"/>
            <a:chOff x="7315200" y="1511787"/>
            <a:chExt cx="3482869" cy="4835082"/>
          </a:xfrm>
        </p:grpSpPr>
        <p:sp>
          <p:nvSpPr>
            <p:cNvPr id="5" name="Freeform: Shape 93">
              <a:extLst>
                <a:ext uri="{FF2B5EF4-FFF2-40B4-BE49-F238E27FC236}">
                  <a16:creationId xmlns:a16="http://schemas.microsoft.com/office/drawing/2014/main" id="{DA203BF2-8FAD-22B8-4A41-FE191600B6F7}"/>
                </a:ext>
              </a:extLst>
            </p:cNvPr>
            <p:cNvSpPr/>
            <p:nvPr/>
          </p:nvSpPr>
          <p:spPr>
            <a:xfrm>
              <a:off x="7315275" y="1547154"/>
              <a:ext cx="3482794" cy="4799715"/>
            </a:xfrm>
            <a:custGeom>
              <a:avLst/>
              <a:gdLst>
                <a:gd name="connsiteX0" fmla="*/ 3344069 w 3482794"/>
                <a:gd name="connsiteY0" fmla="*/ 0 h 4799715"/>
                <a:gd name="connsiteX1" fmla="*/ 3349862 w 3482794"/>
                <a:gd name="connsiteY1" fmla="*/ 1973 h 4799715"/>
                <a:gd name="connsiteX2" fmla="*/ 3415810 w 3482794"/>
                <a:gd name="connsiteY2" fmla="*/ 45864 h 4799715"/>
                <a:gd name="connsiteX3" fmla="*/ 3461602 w 3482794"/>
                <a:gd name="connsiteY3" fmla="*/ 103511 h 4799715"/>
                <a:gd name="connsiteX4" fmla="*/ 3480145 w 3482794"/>
                <a:gd name="connsiteY4" fmla="*/ 177973 h 4799715"/>
                <a:gd name="connsiteX5" fmla="*/ 3480145 w 3482794"/>
                <a:gd name="connsiteY5" fmla="*/ 296439 h 4799715"/>
                <a:gd name="connsiteX6" fmla="*/ 3456442 w 3482794"/>
                <a:gd name="connsiteY6" fmla="*/ 364131 h 4799715"/>
                <a:gd name="connsiteX7" fmla="*/ 3395494 w 3482794"/>
                <a:gd name="connsiteY7" fmla="*/ 418285 h 4799715"/>
                <a:gd name="connsiteX8" fmla="*/ 3352785 w 3482794"/>
                <a:gd name="connsiteY8" fmla="*/ 438101 h 4799715"/>
                <a:gd name="connsiteX9" fmla="*/ 3345142 w 3482794"/>
                <a:gd name="connsiteY9" fmla="*/ 439966 h 4799715"/>
                <a:gd name="connsiteX10" fmla="*/ 3302458 w 3482794"/>
                <a:gd name="connsiteY10" fmla="*/ 450384 h 4799715"/>
                <a:gd name="connsiteX11" fmla="*/ 3068981 w 3482794"/>
                <a:gd name="connsiteY11" fmla="*/ 492746 h 4799715"/>
                <a:gd name="connsiteX12" fmla="*/ 2825185 w 3482794"/>
                <a:gd name="connsiteY12" fmla="*/ 541659 h 4799715"/>
                <a:gd name="connsiteX13" fmla="*/ 2579776 w 3482794"/>
                <a:gd name="connsiteY13" fmla="*/ 601053 h 4799715"/>
                <a:gd name="connsiteX14" fmla="*/ 2337754 w 3482794"/>
                <a:gd name="connsiteY14" fmla="*/ 673768 h 4799715"/>
                <a:gd name="connsiteX15" fmla="*/ 2104278 w 3482794"/>
                <a:gd name="connsiteY15" fmla="*/ 763515 h 4799715"/>
                <a:gd name="connsiteX16" fmla="*/ 1897889 w 3482794"/>
                <a:gd name="connsiteY16" fmla="*/ 868328 h 4799715"/>
                <a:gd name="connsiteX17" fmla="*/ 1718428 w 3482794"/>
                <a:gd name="connsiteY17" fmla="*/ 988427 h 4799715"/>
                <a:gd name="connsiteX18" fmla="*/ 1566056 w 3482794"/>
                <a:gd name="connsiteY18" fmla="*/ 1125559 h 4799715"/>
                <a:gd name="connsiteX19" fmla="*/ 1518812 w 3482794"/>
                <a:gd name="connsiteY19" fmla="*/ 1179712 h 4799715"/>
                <a:gd name="connsiteX20" fmla="*/ 1481566 w 3482794"/>
                <a:gd name="connsiteY20" fmla="*/ 1230591 h 4799715"/>
                <a:gd name="connsiteX21" fmla="*/ 1454477 w 3482794"/>
                <a:gd name="connsiteY21" fmla="*/ 1277975 h 4799715"/>
                <a:gd name="connsiteX22" fmla="*/ 1437547 w 3482794"/>
                <a:gd name="connsiteY22" fmla="*/ 1323613 h 4799715"/>
                <a:gd name="connsiteX23" fmla="*/ 1430775 w 3482794"/>
                <a:gd name="connsiteY23" fmla="*/ 1359206 h 4799715"/>
                <a:gd name="connsiteX24" fmla="*/ 1432387 w 3482794"/>
                <a:gd name="connsiteY24" fmla="*/ 1393052 h 4799715"/>
                <a:gd name="connsiteX25" fmla="*/ 1440933 w 3482794"/>
                <a:gd name="connsiteY25" fmla="*/ 1421657 h 4799715"/>
                <a:gd name="connsiteX26" fmla="*/ 1454477 w 3482794"/>
                <a:gd name="connsiteY26" fmla="*/ 1443712 h 4799715"/>
                <a:gd name="connsiteX27" fmla="*/ 1478180 w 3482794"/>
                <a:gd name="connsiteY27" fmla="*/ 1464020 h 4799715"/>
                <a:gd name="connsiteX28" fmla="*/ 1512040 w 3482794"/>
                <a:gd name="connsiteY28" fmla="*/ 1484327 h 4799715"/>
                <a:gd name="connsiteX29" fmla="*/ 1552512 w 3482794"/>
                <a:gd name="connsiteY29" fmla="*/ 1504635 h 4799715"/>
                <a:gd name="connsiteX30" fmla="*/ 1598304 w 3482794"/>
                <a:gd name="connsiteY30" fmla="*/ 1526689 h 4799715"/>
                <a:gd name="connsiteX31" fmla="*/ 1622006 w 3482794"/>
                <a:gd name="connsiteY31" fmla="*/ 1538481 h 4799715"/>
                <a:gd name="connsiteX32" fmla="*/ 1647321 w 3482794"/>
                <a:gd name="connsiteY32" fmla="*/ 1550272 h 4799715"/>
                <a:gd name="connsiteX33" fmla="*/ 1672797 w 3482794"/>
                <a:gd name="connsiteY33" fmla="*/ 1562282 h 4799715"/>
                <a:gd name="connsiteX34" fmla="*/ 1698112 w 3482794"/>
                <a:gd name="connsiteY34" fmla="*/ 1575821 h 4799715"/>
                <a:gd name="connsiteX35" fmla="*/ 1984153 w 3482794"/>
                <a:gd name="connsiteY35" fmla="*/ 1777150 h 4799715"/>
                <a:gd name="connsiteX36" fmla="*/ 2199087 w 3482794"/>
                <a:gd name="connsiteY36" fmla="*/ 2042897 h 4799715"/>
                <a:gd name="connsiteX37" fmla="*/ 2327596 w 3482794"/>
                <a:gd name="connsiteY37" fmla="*/ 2362797 h 4799715"/>
                <a:gd name="connsiteX38" fmla="*/ 2347912 w 3482794"/>
                <a:gd name="connsiteY38" fmla="*/ 2721565 h 4799715"/>
                <a:gd name="connsiteX39" fmla="*/ 2319212 w 3482794"/>
                <a:gd name="connsiteY39" fmla="*/ 2878786 h 4799715"/>
                <a:gd name="connsiteX40" fmla="*/ 2266808 w 3482794"/>
                <a:gd name="connsiteY40" fmla="*/ 3041247 h 4799715"/>
                <a:gd name="connsiteX41" fmla="*/ 2188929 w 3482794"/>
                <a:gd name="connsiteY41" fmla="*/ 3210478 h 4799715"/>
                <a:gd name="connsiteX42" fmla="*/ 2083961 w 3482794"/>
                <a:gd name="connsiteY42" fmla="*/ 3388224 h 4799715"/>
                <a:gd name="connsiteX43" fmla="*/ 1792922 w 3482794"/>
                <a:gd name="connsiteY43" fmla="*/ 3762278 h 4799715"/>
                <a:gd name="connsiteX44" fmla="*/ 1437547 w 3482794"/>
                <a:gd name="connsiteY44" fmla="*/ 4105761 h 4799715"/>
                <a:gd name="connsiteX45" fmla="*/ 1031381 w 3482794"/>
                <a:gd name="connsiteY45" fmla="*/ 4423915 h 4799715"/>
                <a:gd name="connsiteX46" fmla="*/ 592967 w 3482794"/>
                <a:gd name="connsiteY46" fmla="*/ 4723507 h 4799715"/>
                <a:gd name="connsiteX47" fmla="*/ 533792 w 3482794"/>
                <a:gd name="connsiteY47" fmla="*/ 4757353 h 4799715"/>
                <a:gd name="connsiteX48" fmla="*/ 472843 w 3482794"/>
                <a:gd name="connsiteY48" fmla="*/ 4781154 h 4799715"/>
                <a:gd name="connsiteX49" fmla="*/ 411894 w 3482794"/>
                <a:gd name="connsiteY49" fmla="*/ 4794693 h 4799715"/>
                <a:gd name="connsiteX50" fmla="*/ 352719 w 3482794"/>
                <a:gd name="connsiteY50" fmla="*/ 4799715 h 4799715"/>
                <a:gd name="connsiteX51" fmla="*/ 247751 w 3482794"/>
                <a:gd name="connsiteY51" fmla="*/ 4784430 h 4799715"/>
                <a:gd name="connsiteX52" fmla="*/ 154715 w 3482794"/>
                <a:gd name="connsiteY52" fmla="*/ 4738792 h 4799715"/>
                <a:gd name="connsiteX53" fmla="*/ 78609 w 3482794"/>
                <a:gd name="connsiteY53" fmla="*/ 4666078 h 4799715"/>
                <a:gd name="connsiteX54" fmla="*/ 26045 w 3482794"/>
                <a:gd name="connsiteY54" fmla="*/ 4567815 h 4799715"/>
                <a:gd name="connsiteX55" fmla="*/ 730 w 3482794"/>
                <a:gd name="connsiteY55" fmla="*/ 4391815 h 4799715"/>
                <a:gd name="connsiteX56" fmla="*/ 39589 w 3482794"/>
                <a:gd name="connsiteY56" fmla="*/ 4215816 h 4799715"/>
                <a:gd name="connsiteX57" fmla="*/ 132786 w 3482794"/>
                <a:gd name="connsiteY57" fmla="*/ 4060124 h 4799715"/>
                <a:gd name="connsiteX58" fmla="*/ 269841 w 3482794"/>
                <a:gd name="connsiteY58" fmla="*/ 3941771 h 4799715"/>
                <a:gd name="connsiteX59" fmla="*/ 623442 w 3482794"/>
                <a:gd name="connsiteY59" fmla="*/ 3721663 h 4799715"/>
                <a:gd name="connsiteX60" fmla="*/ 951889 w 3482794"/>
                <a:gd name="connsiteY60" fmla="*/ 3491509 h 4799715"/>
                <a:gd name="connsiteX61" fmla="*/ 1239543 w 3482794"/>
                <a:gd name="connsiteY61" fmla="*/ 3246071 h 4799715"/>
                <a:gd name="connsiteX62" fmla="*/ 1473020 w 3482794"/>
                <a:gd name="connsiteY62" fmla="*/ 2983818 h 4799715"/>
                <a:gd name="connsiteX63" fmla="*/ 1537355 w 3482794"/>
                <a:gd name="connsiteY63" fmla="*/ 2889049 h 4799715"/>
                <a:gd name="connsiteX64" fmla="*/ 1586372 w 3482794"/>
                <a:gd name="connsiteY64" fmla="*/ 2799302 h 4799715"/>
                <a:gd name="connsiteX65" fmla="*/ 1622006 w 3482794"/>
                <a:gd name="connsiteY65" fmla="*/ 2716325 h 4799715"/>
                <a:gd name="connsiteX66" fmla="*/ 1643935 w 3482794"/>
                <a:gd name="connsiteY66" fmla="*/ 2638588 h 4799715"/>
                <a:gd name="connsiteX67" fmla="*/ 1643935 w 3482794"/>
                <a:gd name="connsiteY67" fmla="*/ 2469357 h 4799715"/>
                <a:gd name="connsiteX68" fmla="*/ 1584760 w 3482794"/>
                <a:gd name="connsiteY68" fmla="*/ 2306896 h 4799715"/>
                <a:gd name="connsiteX69" fmla="*/ 1476406 w 3482794"/>
                <a:gd name="connsiteY69" fmla="*/ 2164743 h 4799715"/>
                <a:gd name="connsiteX70" fmla="*/ 1329193 w 3482794"/>
                <a:gd name="connsiteY70" fmla="*/ 2052941 h 4799715"/>
                <a:gd name="connsiteX71" fmla="*/ 1310650 w 3482794"/>
                <a:gd name="connsiteY71" fmla="*/ 2042897 h 4799715"/>
                <a:gd name="connsiteX72" fmla="*/ 1290334 w 3482794"/>
                <a:gd name="connsiteY72" fmla="*/ 2032634 h 4799715"/>
                <a:gd name="connsiteX73" fmla="*/ 1270018 w 3482794"/>
                <a:gd name="connsiteY73" fmla="*/ 2022589 h 4799715"/>
                <a:gd name="connsiteX74" fmla="*/ 1247928 w 3482794"/>
                <a:gd name="connsiteY74" fmla="*/ 2012326 h 4799715"/>
                <a:gd name="connsiteX75" fmla="*/ 1168436 w 3482794"/>
                <a:gd name="connsiteY75" fmla="*/ 1970182 h 4799715"/>
                <a:gd name="connsiteX76" fmla="*/ 1085558 w 3482794"/>
                <a:gd name="connsiteY76" fmla="*/ 1921051 h 4799715"/>
                <a:gd name="connsiteX77" fmla="*/ 1004293 w 3482794"/>
                <a:gd name="connsiteY77" fmla="*/ 1861875 h 4799715"/>
                <a:gd name="connsiteX78" fmla="*/ 931573 w 3482794"/>
                <a:gd name="connsiteY78" fmla="*/ 1788942 h 4799715"/>
                <a:gd name="connsiteX79" fmla="*/ 855306 w 3482794"/>
                <a:gd name="connsiteY79" fmla="*/ 1667096 h 4799715"/>
                <a:gd name="connsiteX80" fmla="*/ 816447 w 3482794"/>
                <a:gd name="connsiteY80" fmla="*/ 1533459 h 4799715"/>
                <a:gd name="connsiteX81" fmla="*/ 813061 w 3482794"/>
                <a:gd name="connsiteY81" fmla="*/ 1393052 h 4799715"/>
                <a:gd name="connsiteX82" fmla="*/ 845148 w 3482794"/>
                <a:gd name="connsiteY82" fmla="*/ 1250898 h 4799715"/>
                <a:gd name="connsiteX83" fmla="*/ 887554 w 3482794"/>
                <a:gd name="connsiteY83" fmla="*/ 1152636 h 4799715"/>
                <a:gd name="connsiteX84" fmla="*/ 945117 w 3482794"/>
                <a:gd name="connsiteY84" fmla="*/ 1057866 h 4799715"/>
                <a:gd name="connsiteX85" fmla="*/ 1019449 w 3482794"/>
                <a:gd name="connsiteY85" fmla="*/ 963097 h 4799715"/>
                <a:gd name="connsiteX86" fmla="*/ 1109261 w 3482794"/>
                <a:gd name="connsiteY86" fmla="*/ 870075 h 4799715"/>
                <a:gd name="connsiteX87" fmla="*/ 1317422 w 3482794"/>
                <a:gd name="connsiteY87" fmla="*/ 695823 h 4799715"/>
                <a:gd name="connsiteX88" fmla="*/ 1554285 w 3482794"/>
                <a:gd name="connsiteY88" fmla="*/ 546900 h 4799715"/>
                <a:gd name="connsiteX89" fmla="*/ 1818236 w 3482794"/>
                <a:gd name="connsiteY89" fmla="*/ 419813 h 4799715"/>
                <a:gd name="connsiteX90" fmla="*/ 2109437 w 3482794"/>
                <a:gd name="connsiteY90" fmla="*/ 313253 h 4799715"/>
                <a:gd name="connsiteX91" fmla="*/ 2371615 w 3482794"/>
                <a:gd name="connsiteY91" fmla="*/ 238791 h 4799715"/>
                <a:gd name="connsiteX92" fmla="*/ 2630567 w 3482794"/>
                <a:gd name="connsiteY92" fmla="*/ 179615 h 4799715"/>
                <a:gd name="connsiteX93" fmla="*/ 2882748 w 3482794"/>
                <a:gd name="connsiteY93" fmla="*/ 130484 h 4799715"/>
                <a:gd name="connsiteX94" fmla="*/ 3122997 w 3482794"/>
                <a:gd name="connsiteY94" fmla="*/ 88121 h 4799715"/>
                <a:gd name="connsiteX95" fmla="*/ 3138314 w 3482794"/>
                <a:gd name="connsiteY95" fmla="*/ 86375 h 4799715"/>
                <a:gd name="connsiteX96" fmla="*/ 3153471 w 3482794"/>
                <a:gd name="connsiteY96" fmla="*/ 84846 h 4799715"/>
                <a:gd name="connsiteX97" fmla="*/ 3168789 w 3482794"/>
                <a:gd name="connsiteY97" fmla="*/ 83099 h 4799715"/>
                <a:gd name="connsiteX98" fmla="*/ 3183946 w 3482794"/>
                <a:gd name="connsiteY98" fmla="*/ 83099 h 4799715"/>
                <a:gd name="connsiteX99" fmla="*/ 3270371 w 3482794"/>
                <a:gd name="connsiteY99" fmla="*/ 93362 h 4799715"/>
                <a:gd name="connsiteX100" fmla="*/ 3344069 w 3482794"/>
                <a:gd name="connsiteY100" fmla="*/ 118466 h 479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482794" h="4799715">
                  <a:moveTo>
                    <a:pt x="3344069" y="0"/>
                  </a:moveTo>
                  <a:lnTo>
                    <a:pt x="3349862" y="1973"/>
                  </a:lnTo>
                  <a:cubicBezTo>
                    <a:pt x="3375177" y="13764"/>
                    <a:pt x="3397267" y="29050"/>
                    <a:pt x="3415810" y="45864"/>
                  </a:cubicBezTo>
                  <a:cubicBezTo>
                    <a:pt x="3434514" y="62896"/>
                    <a:pt x="3451444" y="81457"/>
                    <a:pt x="3461602" y="103511"/>
                  </a:cubicBezTo>
                  <a:cubicBezTo>
                    <a:pt x="3475146" y="128841"/>
                    <a:pt x="3480145" y="154171"/>
                    <a:pt x="3480145" y="177973"/>
                  </a:cubicBezTo>
                  <a:cubicBezTo>
                    <a:pt x="3483235" y="210128"/>
                    <a:pt x="3484095" y="265413"/>
                    <a:pt x="3480145" y="296439"/>
                  </a:cubicBezTo>
                  <a:cubicBezTo>
                    <a:pt x="3478532" y="320022"/>
                    <a:pt x="3471760" y="343823"/>
                    <a:pt x="3456442" y="364131"/>
                  </a:cubicBezTo>
                  <a:cubicBezTo>
                    <a:pt x="3442898" y="384439"/>
                    <a:pt x="3422582" y="404746"/>
                    <a:pt x="3395494" y="418285"/>
                  </a:cubicBezTo>
                  <a:cubicBezTo>
                    <a:pt x="3382837" y="425819"/>
                    <a:pt x="3368446" y="432588"/>
                    <a:pt x="3352785" y="438101"/>
                  </a:cubicBezTo>
                  <a:lnTo>
                    <a:pt x="3345142" y="439966"/>
                  </a:lnTo>
                  <a:lnTo>
                    <a:pt x="3302458" y="450384"/>
                  </a:lnTo>
                  <a:cubicBezTo>
                    <a:pt x="3226352" y="463922"/>
                    <a:pt x="3148473" y="477461"/>
                    <a:pt x="3068981" y="492746"/>
                  </a:cubicBezTo>
                  <a:cubicBezTo>
                    <a:pt x="2989328" y="507813"/>
                    <a:pt x="2906450" y="524845"/>
                    <a:pt x="2825185" y="541659"/>
                  </a:cubicBezTo>
                  <a:cubicBezTo>
                    <a:pt x="2742307" y="560438"/>
                    <a:pt x="2661042" y="578999"/>
                    <a:pt x="2579776" y="601053"/>
                  </a:cubicBezTo>
                  <a:cubicBezTo>
                    <a:pt x="2498672" y="622890"/>
                    <a:pt x="2417407" y="646691"/>
                    <a:pt x="2337754" y="673768"/>
                  </a:cubicBezTo>
                  <a:cubicBezTo>
                    <a:pt x="2254876" y="700845"/>
                    <a:pt x="2178771" y="731197"/>
                    <a:pt x="2104278" y="763515"/>
                  </a:cubicBezTo>
                  <a:cubicBezTo>
                    <a:pt x="2031558" y="795614"/>
                    <a:pt x="1962063" y="831207"/>
                    <a:pt x="1897889" y="868328"/>
                  </a:cubicBezTo>
                  <a:cubicBezTo>
                    <a:pt x="1833554" y="905668"/>
                    <a:pt x="1772605" y="946284"/>
                    <a:pt x="1718428" y="988427"/>
                  </a:cubicBezTo>
                  <a:cubicBezTo>
                    <a:pt x="1662639" y="1032536"/>
                    <a:pt x="1611848" y="1078174"/>
                    <a:pt x="1566056" y="1125559"/>
                  </a:cubicBezTo>
                  <a:cubicBezTo>
                    <a:pt x="1549125" y="1144119"/>
                    <a:pt x="1533969" y="1161152"/>
                    <a:pt x="1518812" y="1179712"/>
                  </a:cubicBezTo>
                  <a:cubicBezTo>
                    <a:pt x="1505268" y="1196745"/>
                    <a:pt x="1491724" y="1213558"/>
                    <a:pt x="1481566" y="1230591"/>
                  </a:cubicBezTo>
                  <a:cubicBezTo>
                    <a:pt x="1471407" y="1247405"/>
                    <a:pt x="1461249" y="1262690"/>
                    <a:pt x="1454477" y="1277975"/>
                  </a:cubicBezTo>
                  <a:cubicBezTo>
                    <a:pt x="1447705" y="1293042"/>
                    <a:pt x="1440933" y="1308328"/>
                    <a:pt x="1437547" y="1323613"/>
                  </a:cubicBezTo>
                  <a:cubicBezTo>
                    <a:pt x="1434161" y="1335404"/>
                    <a:pt x="1432387" y="1347196"/>
                    <a:pt x="1430775" y="1359206"/>
                  </a:cubicBezTo>
                  <a:cubicBezTo>
                    <a:pt x="1430775" y="1370997"/>
                    <a:pt x="1430775" y="1381042"/>
                    <a:pt x="1432387" y="1393052"/>
                  </a:cubicBezTo>
                  <a:cubicBezTo>
                    <a:pt x="1434161" y="1403097"/>
                    <a:pt x="1435773" y="1413360"/>
                    <a:pt x="1440933" y="1421657"/>
                  </a:cubicBezTo>
                  <a:cubicBezTo>
                    <a:pt x="1444319" y="1430173"/>
                    <a:pt x="1449317" y="1438690"/>
                    <a:pt x="1454477" y="1443712"/>
                  </a:cubicBezTo>
                  <a:cubicBezTo>
                    <a:pt x="1461249" y="1450481"/>
                    <a:pt x="1468021" y="1457250"/>
                    <a:pt x="1478180" y="1464020"/>
                  </a:cubicBezTo>
                  <a:cubicBezTo>
                    <a:pt x="1488338" y="1470789"/>
                    <a:pt x="1500108" y="1477558"/>
                    <a:pt x="1512040" y="1484327"/>
                  </a:cubicBezTo>
                  <a:cubicBezTo>
                    <a:pt x="1525584" y="1491096"/>
                    <a:pt x="1539128" y="1497866"/>
                    <a:pt x="1552512" y="1504635"/>
                  </a:cubicBezTo>
                  <a:cubicBezTo>
                    <a:pt x="1567829" y="1511404"/>
                    <a:pt x="1582986" y="1518173"/>
                    <a:pt x="1598304" y="1526689"/>
                  </a:cubicBezTo>
                  <a:cubicBezTo>
                    <a:pt x="1606688" y="1529965"/>
                    <a:pt x="1615234" y="1533459"/>
                    <a:pt x="1622006" y="1538481"/>
                  </a:cubicBezTo>
                  <a:cubicBezTo>
                    <a:pt x="1630391" y="1541975"/>
                    <a:pt x="1638936" y="1546997"/>
                    <a:pt x="1647321" y="1550272"/>
                  </a:cubicBezTo>
                  <a:cubicBezTo>
                    <a:pt x="1655867" y="1553766"/>
                    <a:pt x="1664251" y="1558789"/>
                    <a:pt x="1672797" y="1562282"/>
                  </a:cubicBezTo>
                  <a:cubicBezTo>
                    <a:pt x="1681182" y="1567305"/>
                    <a:pt x="1689727" y="1570580"/>
                    <a:pt x="1698112" y="1575821"/>
                  </a:cubicBezTo>
                  <a:cubicBezTo>
                    <a:pt x="1804692" y="1631721"/>
                    <a:pt x="1899502" y="1699414"/>
                    <a:pt x="1984153" y="1777150"/>
                  </a:cubicBezTo>
                  <a:cubicBezTo>
                    <a:pt x="2068804" y="1856634"/>
                    <a:pt x="2141524" y="1946381"/>
                    <a:pt x="2199087" y="2042897"/>
                  </a:cubicBezTo>
                  <a:cubicBezTo>
                    <a:pt x="2258262" y="2142688"/>
                    <a:pt x="2302281" y="2250996"/>
                    <a:pt x="2327596" y="2362797"/>
                  </a:cubicBezTo>
                  <a:cubicBezTo>
                    <a:pt x="2354684" y="2477874"/>
                    <a:pt x="2361456" y="2599719"/>
                    <a:pt x="2347912" y="2721565"/>
                  </a:cubicBezTo>
                  <a:cubicBezTo>
                    <a:pt x="2341140" y="2773972"/>
                    <a:pt x="2332756" y="2826379"/>
                    <a:pt x="2319212" y="2878786"/>
                  </a:cubicBezTo>
                  <a:cubicBezTo>
                    <a:pt x="2305667" y="2932940"/>
                    <a:pt x="2288737" y="2987093"/>
                    <a:pt x="2266808" y="3041247"/>
                  </a:cubicBezTo>
                  <a:cubicBezTo>
                    <a:pt x="2244718" y="3097148"/>
                    <a:pt x="2219403" y="3153048"/>
                    <a:pt x="2188929" y="3210478"/>
                  </a:cubicBezTo>
                  <a:cubicBezTo>
                    <a:pt x="2158454" y="3268125"/>
                    <a:pt x="2124594" y="3327301"/>
                    <a:pt x="2083961" y="3388224"/>
                  </a:cubicBezTo>
                  <a:cubicBezTo>
                    <a:pt x="1997697" y="3520333"/>
                    <a:pt x="1901275" y="3643926"/>
                    <a:pt x="1792922" y="3762278"/>
                  </a:cubicBezTo>
                  <a:cubicBezTo>
                    <a:pt x="1682955" y="3882377"/>
                    <a:pt x="1564443" y="3997454"/>
                    <a:pt x="1437547" y="4105761"/>
                  </a:cubicBezTo>
                  <a:cubicBezTo>
                    <a:pt x="1308877" y="4217562"/>
                    <a:pt x="1171822" y="4322376"/>
                    <a:pt x="1031381" y="4423915"/>
                  </a:cubicBezTo>
                  <a:cubicBezTo>
                    <a:pt x="889167" y="4527200"/>
                    <a:pt x="741954" y="4626991"/>
                    <a:pt x="592967" y="4723507"/>
                  </a:cubicBezTo>
                  <a:cubicBezTo>
                    <a:pt x="572812" y="4737045"/>
                    <a:pt x="554108" y="4747308"/>
                    <a:pt x="533792" y="4757353"/>
                  </a:cubicBezTo>
                  <a:cubicBezTo>
                    <a:pt x="513476" y="4767616"/>
                    <a:pt x="493159" y="4774385"/>
                    <a:pt x="472843" y="4781154"/>
                  </a:cubicBezTo>
                  <a:cubicBezTo>
                    <a:pt x="452527" y="4787924"/>
                    <a:pt x="432210" y="4791199"/>
                    <a:pt x="411894" y="4794693"/>
                  </a:cubicBezTo>
                  <a:cubicBezTo>
                    <a:pt x="391578" y="4797968"/>
                    <a:pt x="371423" y="4799715"/>
                    <a:pt x="352719" y="4799715"/>
                  </a:cubicBezTo>
                  <a:cubicBezTo>
                    <a:pt x="317246" y="4799715"/>
                    <a:pt x="281611" y="4794693"/>
                    <a:pt x="247751" y="4784430"/>
                  </a:cubicBezTo>
                  <a:cubicBezTo>
                    <a:pt x="213890" y="4774385"/>
                    <a:pt x="183577" y="4759100"/>
                    <a:pt x="154715" y="4738792"/>
                  </a:cubicBezTo>
                  <a:cubicBezTo>
                    <a:pt x="126014" y="4718485"/>
                    <a:pt x="100538" y="4694683"/>
                    <a:pt x="78609" y="4666078"/>
                  </a:cubicBezTo>
                  <a:cubicBezTo>
                    <a:pt x="56519" y="4637254"/>
                    <a:pt x="39589" y="4605155"/>
                    <a:pt x="26045" y="4567815"/>
                  </a:cubicBezTo>
                  <a:cubicBezTo>
                    <a:pt x="5728" y="4511914"/>
                    <a:pt x="-2656" y="4450991"/>
                    <a:pt x="730" y="4391815"/>
                  </a:cubicBezTo>
                  <a:cubicBezTo>
                    <a:pt x="4116" y="4332639"/>
                    <a:pt x="17660" y="4271716"/>
                    <a:pt x="39589" y="4215816"/>
                  </a:cubicBezTo>
                  <a:cubicBezTo>
                    <a:pt x="61679" y="4159915"/>
                    <a:pt x="93766" y="4105761"/>
                    <a:pt x="132786" y="4060124"/>
                  </a:cubicBezTo>
                  <a:cubicBezTo>
                    <a:pt x="171645" y="4014486"/>
                    <a:pt x="217276" y="3973871"/>
                    <a:pt x="269841" y="3941771"/>
                  </a:cubicBezTo>
                  <a:cubicBezTo>
                    <a:pt x="389965" y="3870585"/>
                    <a:pt x="508477" y="3797871"/>
                    <a:pt x="623442" y="3721663"/>
                  </a:cubicBezTo>
                  <a:cubicBezTo>
                    <a:pt x="736955" y="3647201"/>
                    <a:pt x="846922" y="3570993"/>
                    <a:pt x="951889" y="3491509"/>
                  </a:cubicBezTo>
                  <a:cubicBezTo>
                    <a:pt x="1055083" y="3413772"/>
                    <a:pt x="1151506" y="3330795"/>
                    <a:pt x="1239543" y="3246071"/>
                  </a:cubicBezTo>
                  <a:cubicBezTo>
                    <a:pt x="1325807" y="3161565"/>
                    <a:pt x="1405299" y="3075093"/>
                    <a:pt x="1473020" y="2983818"/>
                  </a:cubicBezTo>
                  <a:cubicBezTo>
                    <a:pt x="1496722" y="2951719"/>
                    <a:pt x="1518812" y="2919401"/>
                    <a:pt x="1537355" y="2889049"/>
                  </a:cubicBezTo>
                  <a:cubicBezTo>
                    <a:pt x="1555898" y="2858478"/>
                    <a:pt x="1572828" y="2828126"/>
                    <a:pt x="1586372" y="2799302"/>
                  </a:cubicBezTo>
                  <a:cubicBezTo>
                    <a:pt x="1599916" y="2770478"/>
                    <a:pt x="1611848" y="2743402"/>
                    <a:pt x="1622006" y="2716325"/>
                  </a:cubicBezTo>
                  <a:cubicBezTo>
                    <a:pt x="1632164" y="2689248"/>
                    <a:pt x="1638936" y="2663918"/>
                    <a:pt x="1643935" y="2638588"/>
                  </a:cubicBezTo>
                  <a:cubicBezTo>
                    <a:pt x="1654093" y="2582687"/>
                    <a:pt x="1654093" y="2525258"/>
                    <a:pt x="1643935" y="2469357"/>
                  </a:cubicBezTo>
                  <a:cubicBezTo>
                    <a:pt x="1633777" y="2413457"/>
                    <a:pt x="1613460" y="2359303"/>
                    <a:pt x="1584760" y="2306896"/>
                  </a:cubicBezTo>
                  <a:cubicBezTo>
                    <a:pt x="1555898" y="2256018"/>
                    <a:pt x="1520424" y="2208633"/>
                    <a:pt x="1476406" y="2164743"/>
                  </a:cubicBezTo>
                  <a:cubicBezTo>
                    <a:pt x="1434161" y="2122381"/>
                    <a:pt x="1383370" y="2083512"/>
                    <a:pt x="1329193" y="2052941"/>
                  </a:cubicBezTo>
                  <a:cubicBezTo>
                    <a:pt x="1322421" y="2049666"/>
                    <a:pt x="1317422" y="2046172"/>
                    <a:pt x="1310650" y="2042897"/>
                  </a:cubicBezTo>
                  <a:cubicBezTo>
                    <a:pt x="1303878" y="2039403"/>
                    <a:pt x="1297106" y="2036128"/>
                    <a:pt x="1290334" y="2032634"/>
                  </a:cubicBezTo>
                  <a:cubicBezTo>
                    <a:pt x="1283562" y="2029358"/>
                    <a:pt x="1276790" y="2025865"/>
                    <a:pt x="1270018" y="2022589"/>
                  </a:cubicBezTo>
                  <a:cubicBezTo>
                    <a:pt x="1263246" y="2019095"/>
                    <a:pt x="1256473" y="2015820"/>
                    <a:pt x="1247928" y="2012326"/>
                  </a:cubicBezTo>
                  <a:cubicBezTo>
                    <a:pt x="1222613" y="1998788"/>
                    <a:pt x="1195524" y="1985249"/>
                    <a:pt x="1168436" y="1970182"/>
                  </a:cubicBezTo>
                  <a:cubicBezTo>
                    <a:pt x="1141348" y="1954897"/>
                    <a:pt x="1112647" y="1939612"/>
                    <a:pt x="1085558" y="1921051"/>
                  </a:cubicBezTo>
                  <a:cubicBezTo>
                    <a:pt x="1058470" y="1902490"/>
                    <a:pt x="1029607" y="1883711"/>
                    <a:pt x="1004293" y="1861875"/>
                  </a:cubicBezTo>
                  <a:cubicBezTo>
                    <a:pt x="978817" y="1839820"/>
                    <a:pt x="953502" y="1816019"/>
                    <a:pt x="931573" y="1788942"/>
                  </a:cubicBezTo>
                  <a:cubicBezTo>
                    <a:pt x="899325" y="1751820"/>
                    <a:pt x="874010" y="1711205"/>
                    <a:pt x="855306" y="1667096"/>
                  </a:cubicBezTo>
                  <a:cubicBezTo>
                    <a:pt x="836763" y="1624952"/>
                    <a:pt x="823219" y="1579096"/>
                    <a:pt x="816447" y="1533459"/>
                  </a:cubicBezTo>
                  <a:cubicBezTo>
                    <a:pt x="809675" y="1487821"/>
                    <a:pt x="807901" y="1440436"/>
                    <a:pt x="813061" y="1393052"/>
                  </a:cubicBezTo>
                  <a:cubicBezTo>
                    <a:pt x="818060" y="1345667"/>
                    <a:pt x="828218" y="1298283"/>
                    <a:pt x="845148" y="1250898"/>
                  </a:cubicBezTo>
                  <a:cubicBezTo>
                    <a:pt x="857080" y="1218581"/>
                    <a:pt x="870624" y="1184735"/>
                    <a:pt x="887554" y="1152636"/>
                  </a:cubicBezTo>
                  <a:cubicBezTo>
                    <a:pt x="904485" y="1120536"/>
                    <a:pt x="923027" y="1088437"/>
                    <a:pt x="945117" y="1057866"/>
                  </a:cubicBezTo>
                  <a:cubicBezTo>
                    <a:pt x="967046" y="1025767"/>
                    <a:pt x="990748" y="995197"/>
                    <a:pt x="1019449" y="963097"/>
                  </a:cubicBezTo>
                  <a:cubicBezTo>
                    <a:pt x="1046538" y="932745"/>
                    <a:pt x="1075400" y="900428"/>
                    <a:pt x="1109261" y="870075"/>
                  </a:cubicBezTo>
                  <a:cubicBezTo>
                    <a:pt x="1173434" y="809152"/>
                    <a:pt x="1242929" y="749976"/>
                    <a:pt x="1317422" y="695823"/>
                  </a:cubicBezTo>
                  <a:cubicBezTo>
                    <a:pt x="1390142" y="641669"/>
                    <a:pt x="1469634" y="592537"/>
                    <a:pt x="1554285" y="546900"/>
                  </a:cubicBezTo>
                  <a:cubicBezTo>
                    <a:pt x="1637163" y="501044"/>
                    <a:pt x="1725200" y="458900"/>
                    <a:pt x="1818236" y="419813"/>
                  </a:cubicBezTo>
                  <a:cubicBezTo>
                    <a:pt x="1909660" y="380945"/>
                    <a:pt x="2006082" y="345352"/>
                    <a:pt x="2109437" y="313253"/>
                  </a:cubicBezTo>
                  <a:cubicBezTo>
                    <a:pt x="2195701" y="286176"/>
                    <a:pt x="2283738" y="260846"/>
                    <a:pt x="2371615" y="238791"/>
                  </a:cubicBezTo>
                  <a:cubicBezTo>
                    <a:pt x="2458040" y="216737"/>
                    <a:pt x="2545916" y="196429"/>
                    <a:pt x="2630567" y="179615"/>
                  </a:cubicBezTo>
                  <a:cubicBezTo>
                    <a:pt x="2715219" y="162583"/>
                    <a:pt x="2799870" y="145769"/>
                    <a:pt x="2882748" y="130484"/>
                  </a:cubicBezTo>
                  <a:cubicBezTo>
                    <a:pt x="2965626" y="115198"/>
                    <a:pt x="3045278" y="101660"/>
                    <a:pt x="3122997" y="88121"/>
                  </a:cubicBezTo>
                  <a:cubicBezTo>
                    <a:pt x="3128156" y="86375"/>
                    <a:pt x="3133155" y="86375"/>
                    <a:pt x="3138314" y="86375"/>
                  </a:cubicBezTo>
                  <a:cubicBezTo>
                    <a:pt x="3143313" y="86375"/>
                    <a:pt x="3148473" y="84846"/>
                    <a:pt x="3153471" y="84846"/>
                  </a:cubicBezTo>
                  <a:cubicBezTo>
                    <a:pt x="3158631" y="84846"/>
                    <a:pt x="3163629" y="84846"/>
                    <a:pt x="3168789" y="83099"/>
                  </a:cubicBezTo>
                  <a:cubicBezTo>
                    <a:pt x="3173788" y="83099"/>
                    <a:pt x="3178947" y="83099"/>
                    <a:pt x="3183946" y="83099"/>
                  </a:cubicBezTo>
                  <a:cubicBezTo>
                    <a:pt x="3212808" y="83099"/>
                    <a:pt x="3241509" y="86593"/>
                    <a:pt x="3270371" y="93362"/>
                  </a:cubicBezTo>
                  <a:lnTo>
                    <a:pt x="3344069" y="118466"/>
                  </a:lnTo>
                  <a:close/>
                </a:path>
              </a:pathLst>
            </a:custGeom>
            <a:solidFill>
              <a:schemeClr val="tx1">
                <a:lumMod val="65000"/>
                <a:lumOff val="35000"/>
              </a:schemeClr>
            </a:solidFill>
            <a:ln w="12700">
              <a:miter lim="400000"/>
            </a:ln>
          </p:spPr>
          <p:txBody>
            <a:bodyPr wrap="square" lIns="38100" tIns="38100" rIns="38100" bIns="38100" anchor="ctr">
              <a:noAutofit/>
            </a:bodyPr>
            <a:lstStyle/>
            <a:p>
              <a:pPr>
                <a:defRPr sz="3000">
                  <a:solidFill>
                    <a:srgbClr val="FFFFFF"/>
                  </a:solidFill>
                  <a:effectLst>
                    <a:outerShdw blurRad="38100" dist="12700" dir="5400000" rotWithShape="0">
                      <a:srgbClr val="000000">
                        <a:alpha val="50000"/>
                      </a:srgbClr>
                    </a:outerShdw>
                  </a:effectLst>
                </a:defRPr>
              </a:pPr>
              <a:endParaRPr/>
            </a:p>
          </p:txBody>
        </p:sp>
        <p:sp>
          <p:nvSpPr>
            <p:cNvPr id="6" name="Shape">
              <a:extLst>
                <a:ext uri="{FF2B5EF4-FFF2-40B4-BE49-F238E27FC236}">
                  <a16:creationId xmlns:a16="http://schemas.microsoft.com/office/drawing/2014/main" id="{03A0CE7E-C83D-803A-BFDC-8FE52D814F7B}"/>
                </a:ext>
              </a:extLst>
            </p:cNvPr>
            <p:cNvSpPr/>
            <p:nvPr/>
          </p:nvSpPr>
          <p:spPr>
            <a:xfrm>
              <a:off x="7315200" y="1511787"/>
              <a:ext cx="3480221" cy="4716616"/>
            </a:xfrm>
            <a:custGeom>
              <a:avLst/>
              <a:gdLst/>
              <a:ahLst/>
              <a:cxnLst>
                <a:cxn ang="0">
                  <a:pos x="wd2" y="hd2"/>
                </a:cxn>
                <a:cxn ang="5400000">
                  <a:pos x="wd2" y="hd2"/>
                </a:cxn>
                <a:cxn ang="10800000">
                  <a:pos x="wd2" y="hd2"/>
                </a:cxn>
                <a:cxn ang="16200000">
                  <a:pos x="wd2" y="hd2"/>
                </a:cxn>
              </a:cxnLst>
              <a:rect l="0" t="0" r="r" b="b"/>
              <a:pathLst>
                <a:path w="21584" h="21600" extrusionOk="0">
                  <a:moveTo>
                    <a:pt x="19747" y="0"/>
                  </a:moveTo>
                  <a:cubicBezTo>
                    <a:pt x="19926" y="0"/>
                    <a:pt x="20104" y="16"/>
                    <a:pt x="20283" y="47"/>
                  </a:cubicBezTo>
                  <a:cubicBezTo>
                    <a:pt x="20450" y="78"/>
                    <a:pt x="20618" y="116"/>
                    <a:pt x="20776" y="171"/>
                  </a:cubicBezTo>
                  <a:cubicBezTo>
                    <a:pt x="20933" y="225"/>
                    <a:pt x="21070" y="295"/>
                    <a:pt x="21185" y="372"/>
                  </a:cubicBezTo>
                  <a:cubicBezTo>
                    <a:pt x="21301" y="450"/>
                    <a:pt x="21406" y="535"/>
                    <a:pt x="21469" y="636"/>
                  </a:cubicBezTo>
                  <a:cubicBezTo>
                    <a:pt x="21553" y="752"/>
                    <a:pt x="21584" y="868"/>
                    <a:pt x="21584" y="977"/>
                  </a:cubicBezTo>
                  <a:cubicBezTo>
                    <a:pt x="21574" y="1085"/>
                    <a:pt x="21532" y="1194"/>
                    <a:pt x="21437" y="1287"/>
                  </a:cubicBezTo>
                  <a:cubicBezTo>
                    <a:pt x="21353" y="1380"/>
                    <a:pt x="21227" y="1473"/>
                    <a:pt x="21059" y="1535"/>
                  </a:cubicBezTo>
                  <a:cubicBezTo>
                    <a:pt x="20902" y="1604"/>
                    <a:pt x="20702" y="1659"/>
                    <a:pt x="20482" y="1682"/>
                  </a:cubicBezTo>
                  <a:cubicBezTo>
                    <a:pt x="20010" y="1744"/>
                    <a:pt x="19527" y="1806"/>
                    <a:pt x="19034" y="1876"/>
                  </a:cubicBezTo>
                  <a:cubicBezTo>
                    <a:pt x="18540" y="1945"/>
                    <a:pt x="18026" y="2023"/>
                    <a:pt x="17522" y="2100"/>
                  </a:cubicBezTo>
                  <a:cubicBezTo>
                    <a:pt x="17008" y="2186"/>
                    <a:pt x="16504" y="2271"/>
                    <a:pt x="16000" y="2372"/>
                  </a:cubicBezTo>
                  <a:cubicBezTo>
                    <a:pt x="15497" y="2472"/>
                    <a:pt x="14993" y="2581"/>
                    <a:pt x="14499" y="2705"/>
                  </a:cubicBezTo>
                  <a:cubicBezTo>
                    <a:pt x="13985" y="2829"/>
                    <a:pt x="13513" y="2968"/>
                    <a:pt x="13051" y="3116"/>
                  </a:cubicBezTo>
                  <a:cubicBezTo>
                    <a:pt x="12600" y="3263"/>
                    <a:pt x="12169" y="3426"/>
                    <a:pt x="11771" y="3596"/>
                  </a:cubicBezTo>
                  <a:cubicBezTo>
                    <a:pt x="11372" y="3767"/>
                    <a:pt x="10994" y="3953"/>
                    <a:pt x="10658" y="4146"/>
                  </a:cubicBezTo>
                  <a:cubicBezTo>
                    <a:pt x="10312" y="4348"/>
                    <a:pt x="9997" y="4557"/>
                    <a:pt x="9713" y="4774"/>
                  </a:cubicBezTo>
                  <a:cubicBezTo>
                    <a:pt x="9608" y="4859"/>
                    <a:pt x="9514" y="4937"/>
                    <a:pt x="9420" y="5022"/>
                  </a:cubicBezTo>
                  <a:cubicBezTo>
                    <a:pt x="9336" y="5100"/>
                    <a:pt x="9252" y="5177"/>
                    <a:pt x="9189" y="5255"/>
                  </a:cubicBezTo>
                  <a:cubicBezTo>
                    <a:pt x="9126" y="5332"/>
                    <a:pt x="9063" y="5402"/>
                    <a:pt x="9021" y="5472"/>
                  </a:cubicBezTo>
                  <a:cubicBezTo>
                    <a:pt x="8979" y="5541"/>
                    <a:pt x="8937" y="5611"/>
                    <a:pt x="8916" y="5681"/>
                  </a:cubicBezTo>
                  <a:cubicBezTo>
                    <a:pt x="8895" y="5735"/>
                    <a:pt x="8884" y="5789"/>
                    <a:pt x="8874" y="5844"/>
                  </a:cubicBezTo>
                  <a:cubicBezTo>
                    <a:pt x="8874" y="5898"/>
                    <a:pt x="8874" y="5944"/>
                    <a:pt x="8884" y="5999"/>
                  </a:cubicBezTo>
                  <a:cubicBezTo>
                    <a:pt x="8895" y="6045"/>
                    <a:pt x="8905" y="6092"/>
                    <a:pt x="8937" y="6130"/>
                  </a:cubicBezTo>
                  <a:cubicBezTo>
                    <a:pt x="8958" y="6169"/>
                    <a:pt x="8989" y="6208"/>
                    <a:pt x="9021" y="6231"/>
                  </a:cubicBezTo>
                  <a:cubicBezTo>
                    <a:pt x="9063" y="6262"/>
                    <a:pt x="9105" y="6293"/>
                    <a:pt x="9168" y="6324"/>
                  </a:cubicBezTo>
                  <a:cubicBezTo>
                    <a:pt x="9231" y="6355"/>
                    <a:pt x="9304" y="6386"/>
                    <a:pt x="9378" y="6417"/>
                  </a:cubicBezTo>
                  <a:cubicBezTo>
                    <a:pt x="9462" y="6448"/>
                    <a:pt x="9546" y="6479"/>
                    <a:pt x="9629" y="6510"/>
                  </a:cubicBezTo>
                  <a:cubicBezTo>
                    <a:pt x="9724" y="6541"/>
                    <a:pt x="9818" y="6572"/>
                    <a:pt x="9913" y="6611"/>
                  </a:cubicBezTo>
                  <a:cubicBezTo>
                    <a:pt x="9965" y="6626"/>
                    <a:pt x="10018" y="6642"/>
                    <a:pt x="10060" y="6665"/>
                  </a:cubicBezTo>
                  <a:cubicBezTo>
                    <a:pt x="10112" y="6681"/>
                    <a:pt x="10165" y="6704"/>
                    <a:pt x="10217" y="6719"/>
                  </a:cubicBezTo>
                  <a:cubicBezTo>
                    <a:pt x="10270" y="6735"/>
                    <a:pt x="10322" y="6758"/>
                    <a:pt x="10375" y="6774"/>
                  </a:cubicBezTo>
                  <a:cubicBezTo>
                    <a:pt x="10427" y="6797"/>
                    <a:pt x="10480" y="6812"/>
                    <a:pt x="10532" y="6836"/>
                  </a:cubicBezTo>
                  <a:cubicBezTo>
                    <a:pt x="11193" y="7092"/>
                    <a:pt x="11781" y="7402"/>
                    <a:pt x="12306" y="7758"/>
                  </a:cubicBezTo>
                  <a:cubicBezTo>
                    <a:pt x="12831" y="8122"/>
                    <a:pt x="13282" y="8533"/>
                    <a:pt x="13639" y="8975"/>
                  </a:cubicBezTo>
                  <a:cubicBezTo>
                    <a:pt x="14006" y="9432"/>
                    <a:pt x="14279" y="9928"/>
                    <a:pt x="14436" y="10440"/>
                  </a:cubicBezTo>
                  <a:cubicBezTo>
                    <a:pt x="14604" y="10967"/>
                    <a:pt x="14646" y="11525"/>
                    <a:pt x="14562" y="12083"/>
                  </a:cubicBezTo>
                  <a:cubicBezTo>
                    <a:pt x="14520" y="12323"/>
                    <a:pt x="14468" y="12563"/>
                    <a:pt x="14384" y="12803"/>
                  </a:cubicBezTo>
                  <a:cubicBezTo>
                    <a:pt x="14300" y="13051"/>
                    <a:pt x="14195" y="13299"/>
                    <a:pt x="14059" y="13547"/>
                  </a:cubicBezTo>
                  <a:cubicBezTo>
                    <a:pt x="13922" y="13803"/>
                    <a:pt x="13765" y="14059"/>
                    <a:pt x="13576" y="14322"/>
                  </a:cubicBezTo>
                  <a:cubicBezTo>
                    <a:pt x="13387" y="14586"/>
                    <a:pt x="13177" y="14857"/>
                    <a:pt x="12925" y="15136"/>
                  </a:cubicBezTo>
                  <a:cubicBezTo>
                    <a:pt x="12390" y="15741"/>
                    <a:pt x="11792" y="16307"/>
                    <a:pt x="11120" y="16849"/>
                  </a:cubicBezTo>
                  <a:cubicBezTo>
                    <a:pt x="10438" y="17399"/>
                    <a:pt x="9703" y="17926"/>
                    <a:pt x="8916" y="18422"/>
                  </a:cubicBezTo>
                  <a:cubicBezTo>
                    <a:pt x="8118" y="18934"/>
                    <a:pt x="7268" y="19414"/>
                    <a:pt x="6397" y="19879"/>
                  </a:cubicBezTo>
                  <a:cubicBezTo>
                    <a:pt x="5515" y="20352"/>
                    <a:pt x="4602" y="20809"/>
                    <a:pt x="3678" y="21251"/>
                  </a:cubicBezTo>
                  <a:cubicBezTo>
                    <a:pt x="3553" y="21313"/>
                    <a:pt x="3437" y="21360"/>
                    <a:pt x="3311" y="21406"/>
                  </a:cubicBezTo>
                  <a:cubicBezTo>
                    <a:pt x="3185" y="21453"/>
                    <a:pt x="3059" y="21484"/>
                    <a:pt x="2933" y="21515"/>
                  </a:cubicBezTo>
                  <a:cubicBezTo>
                    <a:pt x="2807" y="21546"/>
                    <a:pt x="2681" y="21561"/>
                    <a:pt x="2555" y="21577"/>
                  </a:cubicBezTo>
                  <a:cubicBezTo>
                    <a:pt x="2429" y="21592"/>
                    <a:pt x="2304" y="21600"/>
                    <a:pt x="2188" y="21600"/>
                  </a:cubicBezTo>
                  <a:cubicBezTo>
                    <a:pt x="1968" y="21600"/>
                    <a:pt x="1747" y="21577"/>
                    <a:pt x="1537" y="21530"/>
                  </a:cubicBezTo>
                  <a:cubicBezTo>
                    <a:pt x="1327" y="21484"/>
                    <a:pt x="1139" y="21414"/>
                    <a:pt x="960" y="21321"/>
                  </a:cubicBezTo>
                  <a:cubicBezTo>
                    <a:pt x="782" y="21228"/>
                    <a:pt x="624" y="21119"/>
                    <a:pt x="488" y="20988"/>
                  </a:cubicBezTo>
                  <a:cubicBezTo>
                    <a:pt x="351" y="20856"/>
                    <a:pt x="246" y="20709"/>
                    <a:pt x="162" y="20538"/>
                  </a:cubicBezTo>
                  <a:cubicBezTo>
                    <a:pt x="36" y="20282"/>
                    <a:pt x="-16" y="20003"/>
                    <a:pt x="5" y="19732"/>
                  </a:cubicBezTo>
                  <a:cubicBezTo>
                    <a:pt x="26" y="19461"/>
                    <a:pt x="110" y="19182"/>
                    <a:pt x="246" y="18926"/>
                  </a:cubicBezTo>
                  <a:cubicBezTo>
                    <a:pt x="383" y="18670"/>
                    <a:pt x="582" y="18422"/>
                    <a:pt x="824" y="18213"/>
                  </a:cubicBezTo>
                  <a:cubicBezTo>
                    <a:pt x="1065" y="18004"/>
                    <a:pt x="1348" y="17818"/>
                    <a:pt x="1674" y="17671"/>
                  </a:cubicBezTo>
                  <a:cubicBezTo>
                    <a:pt x="2419" y="17345"/>
                    <a:pt x="3154" y="17012"/>
                    <a:pt x="3867" y="16663"/>
                  </a:cubicBezTo>
                  <a:cubicBezTo>
                    <a:pt x="4571" y="16322"/>
                    <a:pt x="5253" y="15973"/>
                    <a:pt x="5904" y="15609"/>
                  </a:cubicBezTo>
                  <a:cubicBezTo>
                    <a:pt x="6544" y="15253"/>
                    <a:pt x="7142" y="14873"/>
                    <a:pt x="7688" y="14485"/>
                  </a:cubicBezTo>
                  <a:cubicBezTo>
                    <a:pt x="8223" y="14098"/>
                    <a:pt x="8716" y="13702"/>
                    <a:pt x="9136" y="13284"/>
                  </a:cubicBezTo>
                  <a:cubicBezTo>
                    <a:pt x="9283" y="13137"/>
                    <a:pt x="9420" y="12989"/>
                    <a:pt x="9535" y="12850"/>
                  </a:cubicBezTo>
                  <a:cubicBezTo>
                    <a:pt x="9650" y="12710"/>
                    <a:pt x="9755" y="12571"/>
                    <a:pt x="9839" y="12439"/>
                  </a:cubicBezTo>
                  <a:cubicBezTo>
                    <a:pt x="9923" y="12307"/>
                    <a:pt x="9997" y="12183"/>
                    <a:pt x="10060" y="12059"/>
                  </a:cubicBezTo>
                  <a:cubicBezTo>
                    <a:pt x="10123" y="11935"/>
                    <a:pt x="10165" y="11819"/>
                    <a:pt x="10196" y="11703"/>
                  </a:cubicBezTo>
                  <a:cubicBezTo>
                    <a:pt x="10259" y="11447"/>
                    <a:pt x="10259" y="11184"/>
                    <a:pt x="10196" y="10928"/>
                  </a:cubicBezTo>
                  <a:cubicBezTo>
                    <a:pt x="10133" y="10672"/>
                    <a:pt x="10007" y="10424"/>
                    <a:pt x="9829" y="10184"/>
                  </a:cubicBezTo>
                  <a:cubicBezTo>
                    <a:pt x="9650" y="9951"/>
                    <a:pt x="9430" y="9734"/>
                    <a:pt x="9157" y="9533"/>
                  </a:cubicBezTo>
                  <a:cubicBezTo>
                    <a:pt x="8895" y="9339"/>
                    <a:pt x="8580" y="9161"/>
                    <a:pt x="8244" y="9021"/>
                  </a:cubicBezTo>
                  <a:cubicBezTo>
                    <a:pt x="8202" y="9006"/>
                    <a:pt x="8171" y="8990"/>
                    <a:pt x="8129" y="8975"/>
                  </a:cubicBezTo>
                  <a:cubicBezTo>
                    <a:pt x="8087" y="8959"/>
                    <a:pt x="8045" y="8944"/>
                    <a:pt x="8003" y="8928"/>
                  </a:cubicBezTo>
                  <a:cubicBezTo>
                    <a:pt x="7961" y="8913"/>
                    <a:pt x="7919" y="8897"/>
                    <a:pt x="7877" y="8882"/>
                  </a:cubicBezTo>
                  <a:cubicBezTo>
                    <a:pt x="7835" y="8866"/>
                    <a:pt x="7793" y="8851"/>
                    <a:pt x="7740" y="8835"/>
                  </a:cubicBezTo>
                  <a:cubicBezTo>
                    <a:pt x="7583" y="8773"/>
                    <a:pt x="7415" y="8711"/>
                    <a:pt x="7247" y="8642"/>
                  </a:cubicBezTo>
                  <a:cubicBezTo>
                    <a:pt x="7079" y="8572"/>
                    <a:pt x="6901" y="8502"/>
                    <a:pt x="6733" y="8417"/>
                  </a:cubicBezTo>
                  <a:cubicBezTo>
                    <a:pt x="6565" y="8332"/>
                    <a:pt x="6386" y="8246"/>
                    <a:pt x="6229" y="8146"/>
                  </a:cubicBezTo>
                  <a:cubicBezTo>
                    <a:pt x="6071" y="8045"/>
                    <a:pt x="5914" y="7936"/>
                    <a:pt x="5778" y="7812"/>
                  </a:cubicBezTo>
                  <a:cubicBezTo>
                    <a:pt x="5578" y="7642"/>
                    <a:pt x="5421" y="7456"/>
                    <a:pt x="5305" y="7254"/>
                  </a:cubicBezTo>
                  <a:cubicBezTo>
                    <a:pt x="5190" y="7061"/>
                    <a:pt x="5106" y="6851"/>
                    <a:pt x="5064" y="6642"/>
                  </a:cubicBezTo>
                  <a:cubicBezTo>
                    <a:pt x="5022" y="6433"/>
                    <a:pt x="5011" y="6216"/>
                    <a:pt x="5043" y="5999"/>
                  </a:cubicBezTo>
                  <a:cubicBezTo>
                    <a:pt x="5074" y="5782"/>
                    <a:pt x="5137" y="5565"/>
                    <a:pt x="5242" y="5348"/>
                  </a:cubicBezTo>
                  <a:cubicBezTo>
                    <a:pt x="5316" y="5200"/>
                    <a:pt x="5400" y="5045"/>
                    <a:pt x="5505" y="4898"/>
                  </a:cubicBezTo>
                  <a:cubicBezTo>
                    <a:pt x="5610" y="4751"/>
                    <a:pt x="5725" y="4604"/>
                    <a:pt x="5862" y="4464"/>
                  </a:cubicBezTo>
                  <a:cubicBezTo>
                    <a:pt x="5998" y="4317"/>
                    <a:pt x="6145" y="4177"/>
                    <a:pt x="6323" y="4030"/>
                  </a:cubicBezTo>
                  <a:cubicBezTo>
                    <a:pt x="6491" y="3891"/>
                    <a:pt x="6670" y="3743"/>
                    <a:pt x="6880" y="3604"/>
                  </a:cubicBezTo>
                  <a:cubicBezTo>
                    <a:pt x="7278" y="3325"/>
                    <a:pt x="7709" y="3054"/>
                    <a:pt x="8171" y="2806"/>
                  </a:cubicBezTo>
                  <a:cubicBezTo>
                    <a:pt x="8622" y="2558"/>
                    <a:pt x="9115" y="2333"/>
                    <a:pt x="9640" y="2124"/>
                  </a:cubicBezTo>
                  <a:cubicBezTo>
                    <a:pt x="10154" y="1914"/>
                    <a:pt x="10700" y="1721"/>
                    <a:pt x="11277" y="1542"/>
                  </a:cubicBezTo>
                  <a:cubicBezTo>
                    <a:pt x="11844" y="1364"/>
                    <a:pt x="12442" y="1201"/>
                    <a:pt x="13083" y="1054"/>
                  </a:cubicBezTo>
                  <a:cubicBezTo>
                    <a:pt x="13618" y="930"/>
                    <a:pt x="14164" y="814"/>
                    <a:pt x="14709" y="713"/>
                  </a:cubicBezTo>
                  <a:cubicBezTo>
                    <a:pt x="15245" y="612"/>
                    <a:pt x="15790" y="519"/>
                    <a:pt x="16315" y="442"/>
                  </a:cubicBezTo>
                  <a:cubicBezTo>
                    <a:pt x="16840" y="364"/>
                    <a:pt x="17365" y="287"/>
                    <a:pt x="17879" y="217"/>
                  </a:cubicBezTo>
                  <a:cubicBezTo>
                    <a:pt x="18393" y="147"/>
                    <a:pt x="18887" y="85"/>
                    <a:pt x="19369" y="23"/>
                  </a:cubicBezTo>
                  <a:cubicBezTo>
                    <a:pt x="19401" y="15"/>
                    <a:pt x="19432" y="15"/>
                    <a:pt x="19464" y="15"/>
                  </a:cubicBezTo>
                  <a:cubicBezTo>
                    <a:pt x="19495" y="15"/>
                    <a:pt x="19527" y="8"/>
                    <a:pt x="19558" y="8"/>
                  </a:cubicBezTo>
                  <a:cubicBezTo>
                    <a:pt x="19590" y="8"/>
                    <a:pt x="19621" y="8"/>
                    <a:pt x="19653" y="0"/>
                  </a:cubicBezTo>
                  <a:cubicBezTo>
                    <a:pt x="19684" y="0"/>
                    <a:pt x="19716" y="0"/>
                    <a:pt x="19747" y="0"/>
                  </a:cubicBezTo>
                  <a:close/>
                </a:path>
              </a:pathLst>
            </a:custGeom>
            <a:solidFill>
              <a:schemeClr val="tx1">
                <a:lumMod val="50000"/>
                <a:lumOff val="5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7" name="Shape">
              <a:extLst>
                <a:ext uri="{FF2B5EF4-FFF2-40B4-BE49-F238E27FC236}">
                  <a16:creationId xmlns:a16="http://schemas.microsoft.com/office/drawing/2014/main" id="{12E19FC7-F339-42AC-7416-952F9DC4F06D}"/>
                </a:ext>
              </a:extLst>
            </p:cNvPr>
            <p:cNvSpPr/>
            <p:nvPr/>
          </p:nvSpPr>
          <p:spPr>
            <a:xfrm>
              <a:off x="10412222" y="1697946"/>
              <a:ext cx="125233" cy="55853"/>
            </a:xfrm>
            <a:custGeom>
              <a:avLst/>
              <a:gdLst/>
              <a:ahLst/>
              <a:cxnLst>
                <a:cxn ang="0">
                  <a:pos x="wd2" y="hd2"/>
                </a:cxn>
                <a:cxn ang="5400000">
                  <a:pos x="wd2" y="hd2"/>
                </a:cxn>
                <a:cxn ang="10800000">
                  <a:pos x="wd2" y="hd2"/>
                </a:cxn>
                <a:cxn ang="16200000">
                  <a:pos x="wd2" y="hd2"/>
                </a:cxn>
              </a:cxnLst>
              <a:rect l="0" t="0" r="r" b="b"/>
              <a:pathLst>
                <a:path w="21600" h="21600" extrusionOk="0">
                  <a:moveTo>
                    <a:pt x="18389" y="0"/>
                  </a:moveTo>
                  <a:lnTo>
                    <a:pt x="21600" y="13745"/>
                  </a:lnTo>
                  <a:cubicBezTo>
                    <a:pt x="20141" y="14399"/>
                    <a:pt x="18389" y="15053"/>
                    <a:pt x="16930" y="15708"/>
                  </a:cubicBezTo>
                  <a:cubicBezTo>
                    <a:pt x="15470" y="16363"/>
                    <a:pt x="13719" y="17017"/>
                    <a:pt x="12259" y="17672"/>
                  </a:cubicBezTo>
                  <a:cubicBezTo>
                    <a:pt x="10800" y="18327"/>
                    <a:pt x="9049" y="18981"/>
                    <a:pt x="7589" y="19636"/>
                  </a:cubicBezTo>
                  <a:cubicBezTo>
                    <a:pt x="6130" y="20290"/>
                    <a:pt x="4378" y="20945"/>
                    <a:pt x="2919" y="21600"/>
                  </a:cubicBezTo>
                  <a:lnTo>
                    <a:pt x="0" y="7855"/>
                  </a:lnTo>
                  <a:cubicBezTo>
                    <a:pt x="1459" y="7201"/>
                    <a:pt x="3211" y="6547"/>
                    <a:pt x="4670" y="5892"/>
                  </a:cubicBezTo>
                  <a:cubicBezTo>
                    <a:pt x="6130" y="5237"/>
                    <a:pt x="7881" y="4583"/>
                    <a:pt x="9341" y="3928"/>
                  </a:cubicBezTo>
                  <a:cubicBezTo>
                    <a:pt x="10800" y="3273"/>
                    <a:pt x="12551" y="2619"/>
                    <a:pt x="14011" y="1964"/>
                  </a:cubicBezTo>
                  <a:cubicBezTo>
                    <a:pt x="15178" y="1310"/>
                    <a:pt x="16638" y="654"/>
                    <a:pt x="18389" y="0"/>
                  </a:cubicBez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8" name="Shape">
              <a:extLst>
                <a:ext uri="{FF2B5EF4-FFF2-40B4-BE49-F238E27FC236}">
                  <a16:creationId xmlns:a16="http://schemas.microsoft.com/office/drawing/2014/main" id="{903FBFAB-4269-212C-73D9-4FD994FB6156}"/>
                </a:ext>
              </a:extLst>
            </p:cNvPr>
            <p:cNvSpPr/>
            <p:nvPr/>
          </p:nvSpPr>
          <p:spPr>
            <a:xfrm>
              <a:off x="9955285" y="1748718"/>
              <a:ext cx="242009" cy="84615"/>
            </a:xfrm>
            <a:custGeom>
              <a:avLst/>
              <a:gdLst/>
              <a:ahLst/>
              <a:cxnLst>
                <a:cxn ang="0">
                  <a:pos x="wd2" y="hd2"/>
                </a:cxn>
                <a:cxn ang="5400000">
                  <a:pos x="wd2" y="hd2"/>
                </a:cxn>
                <a:cxn ang="10800000">
                  <a:pos x="wd2" y="hd2"/>
                </a:cxn>
                <a:cxn ang="16200000">
                  <a:pos x="wd2" y="hd2"/>
                </a:cxn>
              </a:cxnLst>
              <a:rect l="0" t="0" r="r" b="b"/>
              <a:pathLst>
                <a:path w="21600" h="21600" extrusionOk="0">
                  <a:moveTo>
                    <a:pt x="20090" y="0"/>
                  </a:moveTo>
                  <a:lnTo>
                    <a:pt x="21600" y="9504"/>
                  </a:lnTo>
                  <a:cubicBezTo>
                    <a:pt x="19787" y="10368"/>
                    <a:pt x="17975" y="11664"/>
                    <a:pt x="16313" y="12528"/>
                  </a:cubicBezTo>
                  <a:cubicBezTo>
                    <a:pt x="14652" y="13392"/>
                    <a:pt x="12839" y="14256"/>
                    <a:pt x="11178" y="15552"/>
                  </a:cubicBezTo>
                  <a:cubicBezTo>
                    <a:pt x="9516" y="16416"/>
                    <a:pt x="7854" y="17280"/>
                    <a:pt x="6344" y="18576"/>
                  </a:cubicBezTo>
                  <a:cubicBezTo>
                    <a:pt x="4682" y="19440"/>
                    <a:pt x="3172" y="20304"/>
                    <a:pt x="1662" y="21600"/>
                  </a:cubicBezTo>
                  <a:lnTo>
                    <a:pt x="0" y="12096"/>
                  </a:lnTo>
                  <a:cubicBezTo>
                    <a:pt x="1510" y="11232"/>
                    <a:pt x="3172" y="10368"/>
                    <a:pt x="4682" y="9072"/>
                  </a:cubicBezTo>
                  <a:cubicBezTo>
                    <a:pt x="6344" y="8208"/>
                    <a:pt x="7854" y="7344"/>
                    <a:pt x="9516" y="6048"/>
                  </a:cubicBezTo>
                  <a:cubicBezTo>
                    <a:pt x="11178" y="5184"/>
                    <a:pt x="12839" y="4320"/>
                    <a:pt x="14652" y="3024"/>
                  </a:cubicBezTo>
                  <a:cubicBezTo>
                    <a:pt x="16464" y="2160"/>
                    <a:pt x="18277" y="1296"/>
                    <a:pt x="20090" y="0"/>
                  </a:cubicBez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9" name="Shape">
              <a:extLst>
                <a:ext uri="{FF2B5EF4-FFF2-40B4-BE49-F238E27FC236}">
                  <a16:creationId xmlns:a16="http://schemas.microsoft.com/office/drawing/2014/main" id="{A7DC9735-1D5B-1F18-6AFA-A4D31F27FD29}"/>
                </a:ext>
              </a:extLst>
            </p:cNvPr>
            <p:cNvSpPr/>
            <p:nvPr/>
          </p:nvSpPr>
          <p:spPr>
            <a:xfrm>
              <a:off x="9515270" y="1850260"/>
              <a:ext cx="243700" cy="101542"/>
            </a:xfrm>
            <a:custGeom>
              <a:avLst/>
              <a:gdLst/>
              <a:ahLst/>
              <a:cxnLst>
                <a:cxn ang="0">
                  <a:pos x="wd2" y="hd2"/>
                </a:cxn>
                <a:cxn ang="5400000">
                  <a:pos x="wd2" y="hd2"/>
                </a:cxn>
                <a:cxn ang="10800000">
                  <a:pos x="wd2" y="hd2"/>
                </a:cxn>
                <a:cxn ang="16200000">
                  <a:pos x="wd2" y="hd2"/>
                </a:cxn>
              </a:cxnLst>
              <a:rect l="0" t="0" r="r" b="b"/>
              <a:pathLst>
                <a:path w="21600" h="21600" extrusionOk="0">
                  <a:moveTo>
                    <a:pt x="450" y="13680"/>
                  </a:moveTo>
                  <a:cubicBezTo>
                    <a:pt x="1950" y="12600"/>
                    <a:pt x="3600" y="11160"/>
                    <a:pt x="5100" y="10080"/>
                  </a:cubicBezTo>
                  <a:cubicBezTo>
                    <a:pt x="6750" y="9000"/>
                    <a:pt x="8250" y="7920"/>
                    <a:pt x="9900" y="6480"/>
                  </a:cubicBezTo>
                  <a:cubicBezTo>
                    <a:pt x="11550" y="5400"/>
                    <a:pt x="13200" y="4320"/>
                    <a:pt x="14850" y="3240"/>
                  </a:cubicBezTo>
                  <a:cubicBezTo>
                    <a:pt x="16500" y="2160"/>
                    <a:pt x="18150" y="1080"/>
                    <a:pt x="19800" y="0"/>
                  </a:cubicBezTo>
                  <a:lnTo>
                    <a:pt x="21600" y="7920"/>
                  </a:lnTo>
                  <a:cubicBezTo>
                    <a:pt x="19950" y="9000"/>
                    <a:pt x="18300" y="10080"/>
                    <a:pt x="16650" y="11160"/>
                  </a:cubicBezTo>
                  <a:cubicBezTo>
                    <a:pt x="15000" y="12240"/>
                    <a:pt x="13350" y="13320"/>
                    <a:pt x="11850" y="14400"/>
                  </a:cubicBezTo>
                  <a:cubicBezTo>
                    <a:pt x="10200" y="15480"/>
                    <a:pt x="8700" y="16560"/>
                    <a:pt x="7050" y="17640"/>
                  </a:cubicBezTo>
                  <a:cubicBezTo>
                    <a:pt x="5550" y="18720"/>
                    <a:pt x="3900" y="19800"/>
                    <a:pt x="2400" y="21240"/>
                  </a:cubicBezTo>
                  <a:lnTo>
                    <a:pt x="2100" y="21600"/>
                  </a:lnTo>
                  <a:lnTo>
                    <a:pt x="0" y="14040"/>
                  </a:lnTo>
                  <a:lnTo>
                    <a:pt x="450" y="13680"/>
                  </a:ln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0" name="Shape">
              <a:extLst>
                <a:ext uri="{FF2B5EF4-FFF2-40B4-BE49-F238E27FC236}">
                  <a16:creationId xmlns:a16="http://schemas.microsoft.com/office/drawing/2014/main" id="{75519779-8C8B-0338-48D9-BB449B2061CA}"/>
                </a:ext>
              </a:extLst>
            </p:cNvPr>
            <p:cNvSpPr/>
            <p:nvPr/>
          </p:nvSpPr>
          <p:spPr>
            <a:xfrm>
              <a:off x="9075256" y="1985649"/>
              <a:ext cx="240317" cy="130315"/>
            </a:xfrm>
            <a:custGeom>
              <a:avLst/>
              <a:gdLst/>
              <a:ahLst/>
              <a:cxnLst>
                <a:cxn ang="0">
                  <a:pos x="wd2" y="hd2"/>
                </a:cxn>
                <a:cxn ang="5400000">
                  <a:pos x="wd2" y="hd2"/>
                </a:cxn>
                <a:cxn ang="10800000">
                  <a:pos x="wd2" y="hd2"/>
                </a:cxn>
                <a:cxn ang="16200000">
                  <a:pos x="wd2" y="hd2"/>
                </a:cxn>
              </a:cxnLst>
              <a:rect l="0" t="0" r="r" b="b"/>
              <a:pathLst>
                <a:path w="21600" h="21600" extrusionOk="0">
                  <a:moveTo>
                    <a:pt x="19166" y="0"/>
                  </a:moveTo>
                  <a:lnTo>
                    <a:pt x="21600" y="5891"/>
                  </a:lnTo>
                  <a:cubicBezTo>
                    <a:pt x="19927" y="7013"/>
                    <a:pt x="18406" y="8416"/>
                    <a:pt x="16732" y="9538"/>
                  </a:cubicBezTo>
                  <a:cubicBezTo>
                    <a:pt x="15211" y="10940"/>
                    <a:pt x="13538" y="12062"/>
                    <a:pt x="12017" y="13465"/>
                  </a:cubicBezTo>
                  <a:cubicBezTo>
                    <a:pt x="10496" y="14868"/>
                    <a:pt x="8975" y="16270"/>
                    <a:pt x="7454" y="17392"/>
                  </a:cubicBezTo>
                  <a:cubicBezTo>
                    <a:pt x="5932" y="18795"/>
                    <a:pt x="4411" y="20197"/>
                    <a:pt x="2890" y="21600"/>
                  </a:cubicBezTo>
                  <a:lnTo>
                    <a:pt x="0" y="15990"/>
                  </a:lnTo>
                  <a:cubicBezTo>
                    <a:pt x="1521" y="14587"/>
                    <a:pt x="3042" y="13184"/>
                    <a:pt x="4563" y="11782"/>
                  </a:cubicBezTo>
                  <a:cubicBezTo>
                    <a:pt x="6085" y="10379"/>
                    <a:pt x="7758" y="8977"/>
                    <a:pt x="9279" y="7574"/>
                  </a:cubicBezTo>
                  <a:cubicBezTo>
                    <a:pt x="10800" y="6172"/>
                    <a:pt x="12473" y="4769"/>
                    <a:pt x="14146" y="3647"/>
                  </a:cubicBezTo>
                  <a:cubicBezTo>
                    <a:pt x="15820" y="2525"/>
                    <a:pt x="17493" y="1403"/>
                    <a:pt x="19166" y="0"/>
                  </a:cubicBez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1" name="Shape">
              <a:extLst>
                <a:ext uri="{FF2B5EF4-FFF2-40B4-BE49-F238E27FC236}">
                  <a16:creationId xmlns:a16="http://schemas.microsoft.com/office/drawing/2014/main" id="{B1840C56-FAF6-D854-30FB-96C2B283C9B8}"/>
                </a:ext>
              </a:extLst>
            </p:cNvPr>
            <p:cNvSpPr/>
            <p:nvPr/>
          </p:nvSpPr>
          <p:spPr>
            <a:xfrm>
              <a:off x="8702935" y="2205654"/>
              <a:ext cx="221701" cy="169239"/>
            </a:xfrm>
            <a:custGeom>
              <a:avLst/>
              <a:gdLst/>
              <a:ahLst/>
              <a:cxnLst>
                <a:cxn ang="0">
                  <a:pos x="wd2" y="hd2"/>
                </a:cxn>
                <a:cxn ang="5400000">
                  <a:pos x="wd2" y="hd2"/>
                </a:cxn>
                <a:cxn ang="10800000">
                  <a:pos x="wd2" y="hd2"/>
                </a:cxn>
                <a:cxn ang="16200000">
                  <a:pos x="wd2" y="hd2"/>
                </a:cxn>
              </a:cxnLst>
              <a:rect l="0" t="0" r="r" b="b"/>
              <a:pathLst>
                <a:path w="21600" h="21600" extrusionOk="0">
                  <a:moveTo>
                    <a:pt x="17972" y="0"/>
                  </a:moveTo>
                  <a:lnTo>
                    <a:pt x="21600" y="4104"/>
                  </a:lnTo>
                  <a:cubicBezTo>
                    <a:pt x="19951" y="5400"/>
                    <a:pt x="18467" y="6912"/>
                    <a:pt x="16983" y="8208"/>
                  </a:cubicBezTo>
                  <a:cubicBezTo>
                    <a:pt x="15499" y="9720"/>
                    <a:pt x="14015" y="11016"/>
                    <a:pt x="12531" y="12528"/>
                  </a:cubicBezTo>
                  <a:cubicBezTo>
                    <a:pt x="11047" y="14040"/>
                    <a:pt x="9563" y="15552"/>
                    <a:pt x="8244" y="17064"/>
                  </a:cubicBezTo>
                  <a:cubicBezTo>
                    <a:pt x="6760" y="18576"/>
                    <a:pt x="5441" y="20088"/>
                    <a:pt x="4122" y="21600"/>
                  </a:cubicBezTo>
                  <a:lnTo>
                    <a:pt x="0" y="18144"/>
                  </a:lnTo>
                  <a:cubicBezTo>
                    <a:pt x="1319" y="16632"/>
                    <a:pt x="2803" y="14904"/>
                    <a:pt x="4287" y="13392"/>
                  </a:cubicBezTo>
                  <a:cubicBezTo>
                    <a:pt x="5771" y="11880"/>
                    <a:pt x="7255" y="10368"/>
                    <a:pt x="8739" y="8856"/>
                  </a:cubicBezTo>
                  <a:cubicBezTo>
                    <a:pt x="10223" y="7344"/>
                    <a:pt x="11872" y="5832"/>
                    <a:pt x="13356" y="4320"/>
                  </a:cubicBezTo>
                  <a:cubicBezTo>
                    <a:pt x="14840" y="2808"/>
                    <a:pt x="16324" y="1512"/>
                    <a:pt x="17972" y="0"/>
                  </a:cubicBez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2" name="Shape">
              <a:extLst>
                <a:ext uri="{FF2B5EF4-FFF2-40B4-BE49-F238E27FC236}">
                  <a16:creationId xmlns:a16="http://schemas.microsoft.com/office/drawing/2014/main" id="{9A77A42B-09B9-2101-74EC-3616C9F33764}"/>
                </a:ext>
              </a:extLst>
            </p:cNvPr>
            <p:cNvSpPr/>
            <p:nvPr/>
          </p:nvSpPr>
          <p:spPr>
            <a:xfrm>
              <a:off x="8415234" y="2510279"/>
              <a:ext cx="164162" cy="209854"/>
            </a:xfrm>
            <a:custGeom>
              <a:avLst/>
              <a:gdLst/>
              <a:ahLst/>
              <a:cxnLst>
                <a:cxn ang="0">
                  <a:pos x="wd2" y="hd2"/>
                </a:cxn>
                <a:cxn ang="5400000">
                  <a:pos x="wd2" y="hd2"/>
                </a:cxn>
                <a:cxn ang="10800000">
                  <a:pos x="wd2" y="hd2"/>
                </a:cxn>
                <a:cxn ang="16200000">
                  <a:pos x="wd2" y="hd2"/>
                </a:cxn>
              </a:cxnLst>
              <a:rect l="0" t="0" r="r" b="b"/>
              <a:pathLst>
                <a:path w="21600" h="21600" extrusionOk="0">
                  <a:moveTo>
                    <a:pt x="21600" y="2264"/>
                  </a:moveTo>
                  <a:cubicBezTo>
                    <a:pt x="20041" y="3832"/>
                    <a:pt x="18482" y="5574"/>
                    <a:pt x="16924" y="7142"/>
                  </a:cubicBezTo>
                  <a:cubicBezTo>
                    <a:pt x="15588" y="8710"/>
                    <a:pt x="14252" y="10277"/>
                    <a:pt x="13138" y="12019"/>
                  </a:cubicBezTo>
                  <a:cubicBezTo>
                    <a:pt x="12025" y="13587"/>
                    <a:pt x="10911" y="15155"/>
                    <a:pt x="10021" y="16723"/>
                  </a:cubicBezTo>
                  <a:cubicBezTo>
                    <a:pt x="9130" y="18290"/>
                    <a:pt x="8462" y="19858"/>
                    <a:pt x="7794" y="21600"/>
                  </a:cubicBezTo>
                  <a:lnTo>
                    <a:pt x="0" y="20903"/>
                  </a:lnTo>
                  <a:cubicBezTo>
                    <a:pt x="668" y="19161"/>
                    <a:pt x="1559" y="17419"/>
                    <a:pt x="2449" y="15677"/>
                  </a:cubicBezTo>
                  <a:cubicBezTo>
                    <a:pt x="3340" y="13935"/>
                    <a:pt x="4454" y="12194"/>
                    <a:pt x="5790" y="10452"/>
                  </a:cubicBezTo>
                  <a:cubicBezTo>
                    <a:pt x="7126" y="8710"/>
                    <a:pt x="8462" y="6968"/>
                    <a:pt x="10021" y="5226"/>
                  </a:cubicBezTo>
                  <a:cubicBezTo>
                    <a:pt x="11579" y="3484"/>
                    <a:pt x="13138" y="1742"/>
                    <a:pt x="14920" y="0"/>
                  </a:cubicBezTo>
                  <a:lnTo>
                    <a:pt x="21600" y="2264"/>
                  </a:ln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3" name="Shape">
              <a:extLst>
                <a:ext uri="{FF2B5EF4-FFF2-40B4-BE49-F238E27FC236}">
                  <a16:creationId xmlns:a16="http://schemas.microsoft.com/office/drawing/2014/main" id="{2B4B6E2A-41C8-DD5B-B165-3F05AD3ECE49}"/>
                </a:ext>
              </a:extLst>
            </p:cNvPr>
            <p:cNvSpPr/>
            <p:nvPr/>
          </p:nvSpPr>
          <p:spPr>
            <a:xfrm>
              <a:off x="8415235" y="2916446"/>
              <a:ext cx="199700" cy="209853"/>
            </a:xfrm>
            <a:custGeom>
              <a:avLst/>
              <a:gdLst/>
              <a:ahLst/>
              <a:cxnLst>
                <a:cxn ang="0">
                  <a:pos x="wd2" y="hd2"/>
                </a:cxn>
                <a:cxn ang="5400000">
                  <a:pos x="wd2" y="hd2"/>
                </a:cxn>
                <a:cxn ang="10800000">
                  <a:pos x="wd2" y="hd2"/>
                </a:cxn>
                <a:cxn ang="16200000">
                  <a:pos x="wd2" y="hd2"/>
                </a:cxn>
              </a:cxnLst>
              <a:rect l="0" t="0" r="r" b="b"/>
              <a:pathLst>
                <a:path w="21600" h="21600" extrusionOk="0">
                  <a:moveTo>
                    <a:pt x="12997" y="10626"/>
                  </a:moveTo>
                  <a:cubicBezTo>
                    <a:pt x="13546" y="11148"/>
                    <a:pt x="14095" y="11845"/>
                    <a:pt x="14827" y="12368"/>
                  </a:cubicBezTo>
                  <a:cubicBezTo>
                    <a:pt x="15376" y="12890"/>
                    <a:pt x="16108" y="13413"/>
                    <a:pt x="16841" y="14110"/>
                  </a:cubicBezTo>
                  <a:cubicBezTo>
                    <a:pt x="17573" y="14632"/>
                    <a:pt x="18305" y="15155"/>
                    <a:pt x="19037" y="15677"/>
                  </a:cubicBezTo>
                  <a:cubicBezTo>
                    <a:pt x="19769" y="16200"/>
                    <a:pt x="20685" y="16722"/>
                    <a:pt x="21600" y="17245"/>
                  </a:cubicBezTo>
                  <a:lnTo>
                    <a:pt x="17024" y="21600"/>
                  </a:lnTo>
                  <a:cubicBezTo>
                    <a:pt x="16108" y="20903"/>
                    <a:pt x="15010" y="20381"/>
                    <a:pt x="14095" y="19684"/>
                  </a:cubicBezTo>
                  <a:cubicBezTo>
                    <a:pt x="13180" y="18987"/>
                    <a:pt x="12264" y="18465"/>
                    <a:pt x="11532" y="17768"/>
                  </a:cubicBezTo>
                  <a:cubicBezTo>
                    <a:pt x="10800" y="17071"/>
                    <a:pt x="9885" y="16549"/>
                    <a:pt x="9336" y="15852"/>
                  </a:cubicBezTo>
                  <a:cubicBezTo>
                    <a:pt x="8603" y="15155"/>
                    <a:pt x="7871" y="14458"/>
                    <a:pt x="7322" y="13936"/>
                  </a:cubicBezTo>
                  <a:cubicBezTo>
                    <a:pt x="6407" y="13065"/>
                    <a:pt x="5675" y="12194"/>
                    <a:pt x="4942" y="11149"/>
                  </a:cubicBezTo>
                  <a:cubicBezTo>
                    <a:pt x="4210" y="10278"/>
                    <a:pt x="3478" y="9232"/>
                    <a:pt x="2929" y="8187"/>
                  </a:cubicBezTo>
                  <a:cubicBezTo>
                    <a:pt x="2380" y="7142"/>
                    <a:pt x="1831" y="6097"/>
                    <a:pt x="1281" y="5052"/>
                  </a:cubicBezTo>
                  <a:cubicBezTo>
                    <a:pt x="732" y="4007"/>
                    <a:pt x="366" y="2961"/>
                    <a:pt x="0" y="1742"/>
                  </a:cubicBezTo>
                  <a:lnTo>
                    <a:pt x="6590" y="0"/>
                  </a:lnTo>
                  <a:cubicBezTo>
                    <a:pt x="6956" y="1045"/>
                    <a:pt x="7322" y="1916"/>
                    <a:pt x="7688" y="2787"/>
                  </a:cubicBezTo>
                  <a:cubicBezTo>
                    <a:pt x="8054" y="3658"/>
                    <a:pt x="8603" y="4529"/>
                    <a:pt x="9152" y="5400"/>
                  </a:cubicBezTo>
                  <a:cubicBezTo>
                    <a:pt x="9702" y="6271"/>
                    <a:pt x="10251" y="7142"/>
                    <a:pt x="10800" y="7839"/>
                  </a:cubicBezTo>
                  <a:cubicBezTo>
                    <a:pt x="11715" y="9058"/>
                    <a:pt x="12264" y="9929"/>
                    <a:pt x="12997" y="10626"/>
                  </a:cubicBez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4" name="Shape">
              <a:extLst>
                <a:ext uri="{FF2B5EF4-FFF2-40B4-BE49-F238E27FC236}">
                  <a16:creationId xmlns:a16="http://schemas.microsoft.com/office/drawing/2014/main" id="{05653B78-D4A9-4FEF-A16E-B1A7B8A8693F}"/>
                </a:ext>
              </a:extLst>
            </p:cNvPr>
            <p:cNvSpPr/>
            <p:nvPr/>
          </p:nvSpPr>
          <p:spPr>
            <a:xfrm>
              <a:off x="8804478" y="3204149"/>
              <a:ext cx="257242" cy="192929"/>
            </a:xfrm>
            <a:custGeom>
              <a:avLst/>
              <a:gdLst/>
              <a:ahLst/>
              <a:cxnLst>
                <a:cxn ang="0">
                  <a:pos x="wd2" y="hd2"/>
                </a:cxn>
                <a:cxn ang="5400000">
                  <a:pos x="wd2" y="hd2"/>
                </a:cxn>
                <a:cxn ang="10800000">
                  <a:pos x="wd2" y="hd2"/>
                </a:cxn>
                <a:cxn ang="16200000">
                  <a:pos x="wd2" y="hd2"/>
                </a:cxn>
              </a:cxnLst>
              <a:rect l="0" t="0" r="r" b="b"/>
              <a:pathLst>
                <a:path w="21600" h="21600" extrusionOk="0">
                  <a:moveTo>
                    <a:pt x="2984" y="0"/>
                  </a:moveTo>
                  <a:lnTo>
                    <a:pt x="3553" y="379"/>
                  </a:lnTo>
                  <a:cubicBezTo>
                    <a:pt x="5116" y="1516"/>
                    <a:pt x="6821" y="2652"/>
                    <a:pt x="8384" y="3979"/>
                  </a:cubicBezTo>
                  <a:cubicBezTo>
                    <a:pt x="9947" y="5305"/>
                    <a:pt x="11511" y="6632"/>
                    <a:pt x="12932" y="7958"/>
                  </a:cubicBezTo>
                  <a:cubicBezTo>
                    <a:pt x="14495" y="9284"/>
                    <a:pt x="15916" y="10800"/>
                    <a:pt x="17337" y="12316"/>
                  </a:cubicBezTo>
                  <a:cubicBezTo>
                    <a:pt x="18758" y="13832"/>
                    <a:pt x="20179" y="15537"/>
                    <a:pt x="21600" y="17242"/>
                  </a:cubicBezTo>
                  <a:lnTo>
                    <a:pt x="17479" y="21600"/>
                  </a:lnTo>
                  <a:cubicBezTo>
                    <a:pt x="16200" y="20084"/>
                    <a:pt x="14921" y="18568"/>
                    <a:pt x="13500" y="17053"/>
                  </a:cubicBezTo>
                  <a:cubicBezTo>
                    <a:pt x="12221" y="15537"/>
                    <a:pt x="10800" y="14210"/>
                    <a:pt x="9379" y="12884"/>
                  </a:cubicBezTo>
                  <a:cubicBezTo>
                    <a:pt x="7958" y="11558"/>
                    <a:pt x="6537" y="10232"/>
                    <a:pt x="5116" y="9095"/>
                  </a:cubicBezTo>
                  <a:cubicBezTo>
                    <a:pt x="3695" y="7958"/>
                    <a:pt x="2132" y="6821"/>
                    <a:pt x="568" y="5684"/>
                  </a:cubicBezTo>
                  <a:lnTo>
                    <a:pt x="0" y="5305"/>
                  </a:lnTo>
                  <a:lnTo>
                    <a:pt x="2984" y="0"/>
                  </a:ln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5" name="Shape">
              <a:extLst>
                <a:ext uri="{FF2B5EF4-FFF2-40B4-BE49-F238E27FC236}">
                  <a16:creationId xmlns:a16="http://schemas.microsoft.com/office/drawing/2014/main" id="{9CB76BE4-831D-2457-663E-972EB026CFF6}"/>
                </a:ext>
              </a:extLst>
            </p:cNvPr>
            <p:cNvSpPr/>
            <p:nvPr/>
          </p:nvSpPr>
          <p:spPr>
            <a:xfrm>
              <a:off x="9176797" y="3576467"/>
              <a:ext cx="159083" cy="269086"/>
            </a:xfrm>
            <a:custGeom>
              <a:avLst/>
              <a:gdLst/>
              <a:ahLst/>
              <a:cxnLst>
                <a:cxn ang="0">
                  <a:pos x="wd2" y="hd2"/>
                </a:cxn>
                <a:cxn ang="5400000">
                  <a:pos x="wd2" y="hd2"/>
                </a:cxn>
                <a:cxn ang="10800000">
                  <a:pos x="wd2" y="hd2"/>
                </a:cxn>
                <a:cxn ang="16200000">
                  <a:pos x="wd2" y="hd2"/>
                </a:cxn>
              </a:cxnLst>
              <a:rect l="0" t="0" r="r" b="b"/>
              <a:pathLst>
                <a:path w="21600" h="21600" extrusionOk="0">
                  <a:moveTo>
                    <a:pt x="21600" y="20649"/>
                  </a:moveTo>
                  <a:lnTo>
                    <a:pt x="12409" y="21600"/>
                  </a:lnTo>
                  <a:cubicBezTo>
                    <a:pt x="11719" y="19970"/>
                    <a:pt x="11030" y="18204"/>
                    <a:pt x="10340" y="16574"/>
                  </a:cubicBezTo>
                  <a:cubicBezTo>
                    <a:pt x="9421" y="14943"/>
                    <a:pt x="8502" y="13313"/>
                    <a:pt x="7583" y="11683"/>
                  </a:cubicBezTo>
                  <a:cubicBezTo>
                    <a:pt x="6434" y="10053"/>
                    <a:pt x="5285" y="8423"/>
                    <a:pt x="4136" y="6928"/>
                  </a:cubicBezTo>
                  <a:cubicBezTo>
                    <a:pt x="2757" y="5298"/>
                    <a:pt x="1379" y="3804"/>
                    <a:pt x="0" y="2309"/>
                  </a:cubicBezTo>
                  <a:lnTo>
                    <a:pt x="8043" y="0"/>
                  </a:lnTo>
                  <a:cubicBezTo>
                    <a:pt x="9651" y="1630"/>
                    <a:pt x="11260" y="3260"/>
                    <a:pt x="12638" y="4891"/>
                  </a:cubicBezTo>
                  <a:cubicBezTo>
                    <a:pt x="14017" y="6521"/>
                    <a:pt x="15396" y="8287"/>
                    <a:pt x="16545" y="9917"/>
                  </a:cubicBezTo>
                  <a:cubicBezTo>
                    <a:pt x="17694" y="11683"/>
                    <a:pt x="18843" y="13449"/>
                    <a:pt x="19762" y="15215"/>
                  </a:cubicBezTo>
                  <a:cubicBezTo>
                    <a:pt x="20221" y="16981"/>
                    <a:pt x="20911" y="18747"/>
                    <a:pt x="21600" y="20649"/>
                  </a:cubicBez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6" name="Shape">
              <a:extLst>
                <a:ext uri="{FF2B5EF4-FFF2-40B4-BE49-F238E27FC236}">
                  <a16:creationId xmlns:a16="http://schemas.microsoft.com/office/drawing/2014/main" id="{379E3C2C-0725-60DB-817A-D7C90DCA925C}"/>
                </a:ext>
              </a:extLst>
            </p:cNvPr>
            <p:cNvSpPr/>
            <p:nvPr/>
          </p:nvSpPr>
          <p:spPr>
            <a:xfrm>
              <a:off x="9176797" y="4118024"/>
              <a:ext cx="169239" cy="304625"/>
            </a:xfrm>
            <a:custGeom>
              <a:avLst/>
              <a:gdLst/>
              <a:ahLst/>
              <a:cxnLst>
                <a:cxn ang="0">
                  <a:pos x="wd2" y="hd2"/>
                </a:cxn>
                <a:cxn ang="5400000">
                  <a:pos x="wd2" y="hd2"/>
                </a:cxn>
                <a:cxn ang="10800000">
                  <a:pos x="wd2" y="hd2"/>
                </a:cxn>
                <a:cxn ang="16200000">
                  <a:pos x="wd2" y="hd2"/>
                </a:cxn>
              </a:cxnLst>
              <a:rect l="0" t="0" r="r" b="b"/>
              <a:pathLst>
                <a:path w="21600" h="21600" extrusionOk="0">
                  <a:moveTo>
                    <a:pt x="0" y="19440"/>
                  </a:moveTo>
                  <a:cubicBezTo>
                    <a:pt x="1512" y="17760"/>
                    <a:pt x="3024" y="16080"/>
                    <a:pt x="4320" y="14400"/>
                  </a:cubicBezTo>
                  <a:cubicBezTo>
                    <a:pt x="5616" y="12720"/>
                    <a:pt x="6912" y="11160"/>
                    <a:pt x="7776" y="9480"/>
                  </a:cubicBezTo>
                  <a:cubicBezTo>
                    <a:pt x="8856" y="7920"/>
                    <a:pt x="9720" y="6240"/>
                    <a:pt x="10584" y="4680"/>
                  </a:cubicBezTo>
                  <a:cubicBezTo>
                    <a:pt x="11448" y="3120"/>
                    <a:pt x="12096" y="1560"/>
                    <a:pt x="12528" y="0"/>
                  </a:cubicBezTo>
                  <a:lnTo>
                    <a:pt x="21600" y="720"/>
                  </a:lnTo>
                  <a:cubicBezTo>
                    <a:pt x="21168" y="2400"/>
                    <a:pt x="20304" y="4080"/>
                    <a:pt x="19656" y="5760"/>
                  </a:cubicBezTo>
                  <a:cubicBezTo>
                    <a:pt x="18792" y="7440"/>
                    <a:pt x="17928" y="9120"/>
                    <a:pt x="16848" y="10920"/>
                  </a:cubicBezTo>
                  <a:cubicBezTo>
                    <a:pt x="15768" y="12720"/>
                    <a:pt x="14472" y="14400"/>
                    <a:pt x="13176" y="16200"/>
                  </a:cubicBezTo>
                  <a:cubicBezTo>
                    <a:pt x="11880" y="18000"/>
                    <a:pt x="10152" y="19800"/>
                    <a:pt x="8640" y="21600"/>
                  </a:cubicBezTo>
                  <a:lnTo>
                    <a:pt x="0" y="19440"/>
                  </a:ln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7" name="Shape">
              <a:extLst>
                <a:ext uri="{FF2B5EF4-FFF2-40B4-BE49-F238E27FC236}">
                  <a16:creationId xmlns:a16="http://schemas.microsoft.com/office/drawing/2014/main" id="{222AA924-619F-0593-4B5E-41F62C9924DF}"/>
                </a:ext>
              </a:extLst>
            </p:cNvPr>
            <p:cNvSpPr/>
            <p:nvPr/>
          </p:nvSpPr>
          <p:spPr>
            <a:xfrm>
              <a:off x="8770631" y="4642657"/>
              <a:ext cx="282624" cy="301244"/>
            </a:xfrm>
            <a:custGeom>
              <a:avLst/>
              <a:gdLst/>
              <a:ahLst/>
              <a:cxnLst>
                <a:cxn ang="0">
                  <a:pos x="wd2" y="hd2"/>
                </a:cxn>
                <a:cxn ang="5400000">
                  <a:pos x="wd2" y="hd2"/>
                </a:cxn>
                <a:cxn ang="10800000">
                  <a:pos x="wd2" y="hd2"/>
                </a:cxn>
                <a:cxn ang="16200000">
                  <a:pos x="wd2" y="hd2"/>
                </a:cxn>
              </a:cxnLst>
              <a:rect l="0" t="0" r="r" b="b"/>
              <a:pathLst>
                <a:path w="21600" h="21600" extrusionOk="0">
                  <a:moveTo>
                    <a:pt x="17073" y="0"/>
                  </a:moveTo>
                  <a:lnTo>
                    <a:pt x="21600" y="3155"/>
                  </a:lnTo>
                  <a:cubicBezTo>
                    <a:pt x="20307" y="4733"/>
                    <a:pt x="19013" y="6189"/>
                    <a:pt x="17590" y="7766"/>
                  </a:cubicBezTo>
                  <a:cubicBezTo>
                    <a:pt x="16168" y="9344"/>
                    <a:pt x="14745" y="10921"/>
                    <a:pt x="13322" y="12377"/>
                  </a:cubicBezTo>
                  <a:cubicBezTo>
                    <a:pt x="11899" y="13955"/>
                    <a:pt x="10347" y="15532"/>
                    <a:pt x="8795" y="16989"/>
                  </a:cubicBezTo>
                  <a:cubicBezTo>
                    <a:pt x="7243" y="18566"/>
                    <a:pt x="5562" y="20144"/>
                    <a:pt x="4010" y="21600"/>
                  </a:cubicBezTo>
                  <a:lnTo>
                    <a:pt x="0" y="17717"/>
                  </a:lnTo>
                  <a:cubicBezTo>
                    <a:pt x="1552" y="16261"/>
                    <a:pt x="3234" y="14683"/>
                    <a:pt x="4656" y="13227"/>
                  </a:cubicBezTo>
                  <a:cubicBezTo>
                    <a:pt x="6208" y="11771"/>
                    <a:pt x="7631" y="10193"/>
                    <a:pt x="9054" y="8737"/>
                  </a:cubicBezTo>
                  <a:cubicBezTo>
                    <a:pt x="10477" y="7281"/>
                    <a:pt x="11899" y="5704"/>
                    <a:pt x="13193" y="4248"/>
                  </a:cubicBezTo>
                  <a:cubicBezTo>
                    <a:pt x="14486" y="3034"/>
                    <a:pt x="15780" y="1456"/>
                    <a:pt x="17073" y="0"/>
                  </a:cubicBez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8" name="Shape">
              <a:extLst>
                <a:ext uri="{FF2B5EF4-FFF2-40B4-BE49-F238E27FC236}">
                  <a16:creationId xmlns:a16="http://schemas.microsoft.com/office/drawing/2014/main" id="{F7B5EB6E-3476-6BB6-0A2B-2FF2D685DCC3}"/>
                </a:ext>
              </a:extLst>
            </p:cNvPr>
            <p:cNvSpPr/>
            <p:nvPr/>
          </p:nvSpPr>
          <p:spPr>
            <a:xfrm>
              <a:off x="8212150" y="5133440"/>
              <a:ext cx="340167" cy="289398"/>
            </a:xfrm>
            <a:custGeom>
              <a:avLst/>
              <a:gdLst/>
              <a:ahLst/>
              <a:cxnLst>
                <a:cxn ang="0">
                  <a:pos x="wd2" y="hd2"/>
                </a:cxn>
                <a:cxn ang="5400000">
                  <a:pos x="wd2" y="hd2"/>
                </a:cxn>
                <a:cxn ang="10800000">
                  <a:pos x="wd2" y="hd2"/>
                </a:cxn>
                <a:cxn ang="16200000">
                  <a:pos x="wd2" y="hd2"/>
                </a:cxn>
              </a:cxnLst>
              <a:rect l="0" t="0" r="r" b="b"/>
              <a:pathLst>
                <a:path w="21600" h="21600" extrusionOk="0">
                  <a:moveTo>
                    <a:pt x="0" y="16421"/>
                  </a:moveTo>
                  <a:cubicBezTo>
                    <a:pt x="1719" y="15032"/>
                    <a:pt x="3439" y="13642"/>
                    <a:pt x="5051" y="12252"/>
                  </a:cubicBezTo>
                  <a:cubicBezTo>
                    <a:pt x="6663" y="10863"/>
                    <a:pt x="8275" y="9474"/>
                    <a:pt x="9887" y="8084"/>
                  </a:cubicBezTo>
                  <a:cubicBezTo>
                    <a:pt x="11391" y="6695"/>
                    <a:pt x="13003" y="5431"/>
                    <a:pt x="14400" y="4042"/>
                  </a:cubicBezTo>
                  <a:cubicBezTo>
                    <a:pt x="15905" y="2653"/>
                    <a:pt x="17302" y="1389"/>
                    <a:pt x="18699" y="0"/>
                  </a:cubicBezTo>
                  <a:lnTo>
                    <a:pt x="21600" y="4674"/>
                  </a:lnTo>
                  <a:cubicBezTo>
                    <a:pt x="20203" y="6063"/>
                    <a:pt x="18699" y="7452"/>
                    <a:pt x="17194" y="8842"/>
                  </a:cubicBezTo>
                  <a:cubicBezTo>
                    <a:pt x="15690" y="10231"/>
                    <a:pt x="14185" y="11621"/>
                    <a:pt x="12573" y="13011"/>
                  </a:cubicBezTo>
                  <a:cubicBezTo>
                    <a:pt x="10961" y="14400"/>
                    <a:pt x="9349" y="15789"/>
                    <a:pt x="7630" y="17305"/>
                  </a:cubicBezTo>
                  <a:cubicBezTo>
                    <a:pt x="5911" y="18695"/>
                    <a:pt x="4191" y="20211"/>
                    <a:pt x="2472" y="21600"/>
                  </a:cubicBezTo>
                  <a:lnTo>
                    <a:pt x="0" y="16421"/>
                  </a:ln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9" name="Shape">
              <a:extLst>
                <a:ext uri="{FF2B5EF4-FFF2-40B4-BE49-F238E27FC236}">
                  <a16:creationId xmlns:a16="http://schemas.microsoft.com/office/drawing/2014/main" id="{BC74A272-C6EB-0294-40F7-0949A2C720AD}"/>
                </a:ext>
              </a:extLst>
            </p:cNvPr>
            <p:cNvSpPr/>
            <p:nvPr/>
          </p:nvSpPr>
          <p:spPr>
            <a:xfrm>
              <a:off x="7721366" y="5556532"/>
              <a:ext cx="198008" cy="177698"/>
            </a:xfrm>
            <a:custGeom>
              <a:avLst/>
              <a:gdLst/>
              <a:ahLst/>
              <a:cxnLst>
                <a:cxn ang="0">
                  <a:pos x="wd2" y="hd2"/>
                </a:cxn>
                <a:cxn ang="5400000">
                  <a:pos x="wd2" y="hd2"/>
                </a:cxn>
                <a:cxn ang="10800000">
                  <a:pos x="wd2" y="hd2"/>
                </a:cxn>
                <a:cxn ang="16200000">
                  <a:pos x="wd2" y="hd2"/>
                </a:cxn>
              </a:cxnLst>
              <a:rect l="0" t="0" r="r" b="b"/>
              <a:pathLst>
                <a:path w="21600" h="21600" extrusionOk="0">
                  <a:moveTo>
                    <a:pt x="17908" y="0"/>
                  </a:moveTo>
                  <a:lnTo>
                    <a:pt x="21600" y="9051"/>
                  </a:lnTo>
                  <a:cubicBezTo>
                    <a:pt x="20123" y="10080"/>
                    <a:pt x="18831" y="11109"/>
                    <a:pt x="17354" y="12137"/>
                  </a:cubicBezTo>
                  <a:cubicBezTo>
                    <a:pt x="15877" y="13166"/>
                    <a:pt x="14400" y="14194"/>
                    <a:pt x="12923" y="15223"/>
                  </a:cubicBezTo>
                  <a:cubicBezTo>
                    <a:pt x="11446" y="16251"/>
                    <a:pt x="9969" y="17280"/>
                    <a:pt x="8308" y="18309"/>
                  </a:cubicBezTo>
                  <a:cubicBezTo>
                    <a:pt x="6831" y="19337"/>
                    <a:pt x="5169" y="20571"/>
                    <a:pt x="3508" y="21600"/>
                  </a:cubicBezTo>
                  <a:lnTo>
                    <a:pt x="0" y="12343"/>
                  </a:lnTo>
                  <a:cubicBezTo>
                    <a:pt x="1662" y="11314"/>
                    <a:pt x="3138" y="10080"/>
                    <a:pt x="4800" y="9051"/>
                  </a:cubicBezTo>
                  <a:cubicBezTo>
                    <a:pt x="6277" y="8023"/>
                    <a:pt x="7938" y="6994"/>
                    <a:pt x="9415" y="5966"/>
                  </a:cubicBezTo>
                  <a:cubicBezTo>
                    <a:pt x="10892" y="4937"/>
                    <a:pt x="12369" y="3909"/>
                    <a:pt x="13846" y="2880"/>
                  </a:cubicBezTo>
                  <a:cubicBezTo>
                    <a:pt x="15138" y="1851"/>
                    <a:pt x="16431" y="1029"/>
                    <a:pt x="17908" y="0"/>
                  </a:cubicBez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grpSp>
      <p:grpSp>
        <p:nvGrpSpPr>
          <p:cNvPr id="20" name="Group 19">
            <a:extLst>
              <a:ext uri="{FF2B5EF4-FFF2-40B4-BE49-F238E27FC236}">
                <a16:creationId xmlns:a16="http://schemas.microsoft.com/office/drawing/2014/main" id="{780461A4-A434-8980-32CF-A73A6C029C08}"/>
              </a:ext>
            </a:extLst>
          </p:cNvPr>
          <p:cNvGrpSpPr/>
          <p:nvPr/>
        </p:nvGrpSpPr>
        <p:grpSpPr>
          <a:xfrm>
            <a:off x="10073749" y="902537"/>
            <a:ext cx="506608" cy="892728"/>
            <a:chOff x="10073749" y="902537"/>
            <a:chExt cx="506608" cy="892728"/>
          </a:xfrm>
        </p:grpSpPr>
        <p:sp>
          <p:nvSpPr>
            <p:cNvPr id="21" name="Circle">
              <a:extLst>
                <a:ext uri="{FF2B5EF4-FFF2-40B4-BE49-F238E27FC236}">
                  <a16:creationId xmlns:a16="http://schemas.microsoft.com/office/drawing/2014/main" id="{52DAE585-85CA-95BD-B19E-6228A5792175}"/>
                </a:ext>
              </a:extLst>
            </p:cNvPr>
            <p:cNvSpPr/>
            <p:nvPr/>
          </p:nvSpPr>
          <p:spPr>
            <a:xfrm>
              <a:off x="10276282" y="1693723"/>
              <a:ext cx="101542" cy="101542"/>
            </a:xfrm>
            <a:prstGeom prst="ellipse">
              <a:avLst/>
            </a:prstGeom>
            <a:solidFill>
              <a:srgbClr val="58595B"/>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22" name="Shape">
              <a:extLst>
                <a:ext uri="{FF2B5EF4-FFF2-40B4-BE49-F238E27FC236}">
                  <a16:creationId xmlns:a16="http://schemas.microsoft.com/office/drawing/2014/main" id="{13E5C17F-600B-AA38-B9EB-7861292AD8C0}"/>
                </a:ext>
              </a:extLst>
            </p:cNvPr>
            <p:cNvSpPr/>
            <p:nvPr/>
          </p:nvSpPr>
          <p:spPr>
            <a:xfrm>
              <a:off x="10073749" y="902537"/>
              <a:ext cx="506608" cy="854222"/>
            </a:xfrm>
            <a:custGeom>
              <a:avLst/>
              <a:gdLst/>
              <a:ahLst/>
              <a:cxnLst>
                <a:cxn ang="0">
                  <a:pos x="wd2" y="hd2"/>
                </a:cxn>
                <a:cxn ang="5400000">
                  <a:pos x="wd2" y="hd2"/>
                </a:cxn>
                <a:cxn ang="10800000">
                  <a:pos x="wd2" y="hd2"/>
                </a:cxn>
                <a:cxn ang="16200000">
                  <a:pos x="wd2" y="hd2"/>
                </a:cxn>
              </a:cxnLst>
              <a:rect l="0" t="0" r="r" b="b"/>
              <a:pathLst>
                <a:path w="19713" h="21007" extrusionOk="0">
                  <a:moveTo>
                    <a:pt x="18831" y="8792"/>
                  </a:moveTo>
                  <a:cubicBezTo>
                    <a:pt x="20675" y="6253"/>
                    <a:pt x="19621" y="3090"/>
                    <a:pt x="15736" y="1217"/>
                  </a:cubicBezTo>
                  <a:cubicBezTo>
                    <a:pt x="12312" y="-406"/>
                    <a:pt x="7438" y="-406"/>
                    <a:pt x="3948" y="1217"/>
                  </a:cubicBezTo>
                  <a:cubicBezTo>
                    <a:pt x="63" y="3048"/>
                    <a:pt x="-925" y="6211"/>
                    <a:pt x="853" y="8792"/>
                  </a:cubicBezTo>
                  <a:lnTo>
                    <a:pt x="8492" y="20445"/>
                  </a:lnTo>
                  <a:cubicBezTo>
                    <a:pt x="8953" y="21194"/>
                    <a:pt x="10665" y="21194"/>
                    <a:pt x="11126" y="20445"/>
                  </a:cubicBezTo>
                  <a:lnTo>
                    <a:pt x="18831" y="8792"/>
                  </a:lnTo>
                  <a:close/>
                </a:path>
              </a:pathLst>
            </a:custGeom>
            <a:solidFill>
              <a:schemeClr val="accent2"/>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grpSp>
      <p:grpSp>
        <p:nvGrpSpPr>
          <p:cNvPr id="30" name="Group 29">
            <a:extLst>
              <a:ext uri="{FF2B5EF4-FFF2-40B4-BE49-F238E27FC236}">
                <a16:creationId xmlns:a16="http://schemas.microsoft.com/office/drawing/2014/main" id="{11F92F9E-8972-8350-98BD-0F74B6F9C861}"/>
              </a:ext>
            </a:extLst>
          </p:cNvPr>
          <p:cNvGrpSpPr/>
          <p:nvPr/>
        </p:nvGrpSpPr>
        <p:grpSpPr>
          <a:xfrm>
            <a:off x="7619824" y="4033406"/>
            <a:ext cx="871008" cy="1539211"/>
            <a:chOff x="7619824" y="4033406"/>
            <a:chExt cx="871008" cy="1539211"/>
          </a:xfrm>
        </p:grpSpPr>
        <p:sp>
          <p:nvSpPr>
            <p:cNvPr id="31" name="Circle">
              <a:extLst>
                <a:ext uri="{FF2B5EF4-FFF2-40B4-BE49-F238E27FC236}">
                  <a16:creationId xmlns:a16="http://schemas.microsoft.com/office/drawing/2014/main" id="{E242F0A7-E04C-9CA2-0F0B-98775B013DE1}"/>
                </a:ext>
              </a:extLst>
            </p:cNvPr>
            <p:cNvSpPr/>
            <p:nvPr/>
          </p:nvSpPr>
          <p:spPr>
            <a:xfrm>
              <a:off x="7969018" y="5399996"/>
              <a:ext cx="172621" cy="172621"/>
            </a:xfrm>
            <a:prstGeom prst="ellipse">
              <a:avLst/>
            </a:prstGeom>
            <a:solidFill>
              <a:srgbClr val="58595B"/>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32" name="Shape">
              <a:extLst>
                <a:ext uri="{FF2B5EF4-FFF2-40B4-BE49-F238E27FC236}">
                  <a16:creationId xmlns:a16="http://schemas.microsoft.com/office/drawing/2014/main" id="{75006920-5CED-164E-3285-DCA7AC42882D}"/>
                </a:ext>
              </a:extLst>
            </p:cNvPr>
            <p:cNvSpPr/>
            <p:nvPr/>
          </p:nvSpPr>
          <p:spPr>
            <a:xfrm>
              <a:off x="7619824" y="4033406"/>
              <a:ext cx="871008" cy="1472781"/>
            </a:xfrm>
            <a:custGeom>
              <a:avLst/>
              <a:gdLst/>
              <a:ahLst/>
              <a:cxnLst>
                <a:cxn ang="0">
                  <a:pos x="wd2" y="hd2"/>
                </a:cxn>
                <a:cxn ang="5400000">
                  <a:pos x="wd2" y="hd2"/>
                </a:cxn>
                <a:cxn ang="10800000">
                  <a:pos x="wd2" y="hd2"/>
                </a:cxn>
                <a:cxn ang="16200000">
                  <a:pos x="wd2" y="hd2"/>
                </a:cxn>
              </a:cxnLst>
              <a:rect l="0" t="0" r="r" b="b"/>
              <a:pathLst>
                <a:path w="19711" h="21003" extrusionOk="0">
                  <a:moveTo>
                    <a:pt x="18827" y="8785"/>
                  </a:moveTo>
                  <a:cubicBezTo>
                    <a:pt x="20665" y="6227"/>
                    <a:pt x="19631" y="3065"/>
                    <a:pt x="15763" y="1231"/>
                  </a:cubicBezTo>
                  <a:cubicBezTo>
                    <a:pt x="12316" y="-410"/>
                    <a:pt x="7414" y="-410"/>
                    <a:pt x="3967" y="1231"/>
                  </a:cubicBezTo>
                  <a:cubicBezTo>
                    <a:pt x="61" y="3089"/>
                    <a:pt x="-935" y="6251"/>
                    <a:pt x="865" y="8785"/>
                  </a:cubicBezTo>
                  <a:lnTo>
                    <a:pt x="8525" y="20442"/>
                  </a:lnTo>
                  <a:cubicBezTo>
                    <a:pt x="9022" y="21190"/>
                    <a:pt x="10708" y="21190"/>
                    <a:pt x="11205" y="20442"/>
                  </a:cubicBezTo>
                  <a:lnTo>
                    <a:pt x="18827" y="8785"/>
                  </a:lnTo>
                  <a:close/>
                </a:path>
              </a:pathLst>
            </a:custGeom>
            <a:solidFill>
              <a:schemeClr val="accent3"/>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grpSp>
      <p:sp>
        <p:nvSpPr>
          <p:cNvPr id="35" name="TextBox 34">
            <a:extLst>
              <a:ext uri="{FF2B5EF4-FFF2-40B4-BE49-F238E27FC236}">
                <a16:creationId xmlns:a16="http://schemas.microsoft.com/office/drawing/2014/main" id="{E2AFE040-649F-4B26-E9AE-E8C4336DC0B5}"/>
              </a:ext>
            </a:extLst>
          </p:cNvPr>
          <p:cNvSpPr txBox="1"/>
          <p:nvPr/>
        </p:nvSpPr>
        <p:spPr>
          <a:xfrm>
            <a:off x="6347585" y="4218072"/>
            <a:ext cx="1172547" cy="461665"/>
          </a:xfrm>
          <a:prstGeom prst="rect">
            <a:avLst/>
          </a:prstGeom>
          <a:noFill/>
        </p:spPr>
        <p:txBody>
          <a:bodyPr wrap="square" lIns="0" rIns="0" rtlCol="0" anchor="ctr">
            <a:spAutoFit/>
          </a:bodyPr>
          <a:lstStyle/>
          <a:p>
            <a:pPr algn="r"/>
            <a:r>
              <a:rPr lang="en-US" sz="2400" b="1" noProof="1"/>
              <a:t>Today</a:t>
            </a:r>
          </a:p>
        </p:txBody>
      </p:sp>
      <p:sp>
        <p:nvSpPr>
          <p:cNvPr id="36" name="TextBox 35">
            <a:extLst>
              <a:ext uri="{FF2B5EF4-FFF2-40B4-BE49-F238E27FC236}">
                <a16:creationId xmlns:a16="http://schemas.microsoft.com/office/drawing/2014/main" id="{B31B6BB4-D475-8983-BA67-D027F746A8D1}"/>
              </a:ext>
            </a:extLst>
          </p:cNvPr>
          <p:cNvSpPr txBox="1"/>
          <p:nvPr/>
        </p:nvSpPr>
        <p:spPr>
          <a:xfrm>
            <a:off x="10606166" y="949464"/>
            <a:ext cx="1553027" cy="461665"/>
          </a:xfrm>
          <a:prstGeom prst="rect">
            <a:avLst/>
          </a:prstGeom>
          <a:noFill/>
        </p:spPr>
        <p:txBody>
          <a:bodyPr wrap="square" lIns="0" rIns="0" rtlCol="0" anchor="ctr">
            <a:spAutoFit/>
          </a:bodyPr>
          <a:lstStyle/>
          <a:p>
            <a:r>
              <a:rPr lang="en-US" sz="2400" b="1" noProof="1"/>
              <a:t>Tomorrow</a:t>
            </a:r>
          </a:p>
        </p:txBody>
      </p:sp>
    </p:spTree>
    <p:extLst>
      <p:ext uri="{BB962C8B-B14F-4D97-AF65-F5344CB8AC3E}">
        <p14:creationId xmlns:p14="http://schemas.microsoft.com/office/powerpoint/2010/main" val="160548226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A19DA7-AF97-7B04-DEE7-B1CE7084CBCE}"/>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C095BE67-E959-D65E-BE5D-079D2C21FABD}"/>
              </a:ext>
            </a:extLst>
          </p:cNvPr>
          <p:cNvSpPr/>
          <p:nvPr/>
        </p:nvSpPr>
        <p:spPr>
          <a:xfrm>
            <a:off x="0" y="0"/>
            <a:ext cx="12192000" cy="6858000"/>
          </a:xfrm>
          <a:prstGeom prst="rect">
            <a:avLst/>
          </a:prstGeom>
          <a:solidFill>
            <a:srgbClr val="EFEA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46" name="Picture 2">
            <a:extLst>
              <a:ext uri="{FF2B5EF4-FFF2-40B4-BE49-F238E27FC236}">
                <a16:creationId xmlns:a16="http://schemas.microsoft.com/office/drawing/2014/main" id="{AC52145D-2F5A-49E6-1D3A-1B70332C2FF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9353" b="7270"/>
          <a:stretch>
            <a:fillRect/>
          </a:stretch>
        </p:blipFill>
        <p:spPr bwMode="auto">
          <a:xfrm>
            <a:off x="141862" y="122830"/>
            <a:ext cx="11908276" cy="6619164"/>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3A40F30E-1ECD-A418-C0BB-F2674F81540A}"/>
              </a:ext>
            </a:extLst>
          </p:cNvPr>
          <p:cNvSpPr/>
          <p:nvPr/>
        </p:nvSpPr>
        <p:spPr>
          <a:xfrm>
            <a:off x="658879" y="2557726"/>
            <a:ext cx="3233866" cy="13698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6600" b="1">
                <a:solidFill>
                  <a:srgbClr val="E0D9CE"/>
                </a:solidFill>
                <a:latin typeface="Graphik" panose="020B0503030202060203" pitchFamily="34" charset="0"/>
              </a:rPr>
              <a:t>Lunch</a:t>
            </a:r>
          </a:p>
        </p:txBody>
      </p:sp>
      <p:sp>
        <p:nvSpPr>
          <p:cNvPr id="12" name="Rectangle 11">
            <a:extLst>
              <a:ext uri="{FF2B5EF4-FFF2-40B4-BE49-F238E27FC236}">
                <a16:creationId xmlns:a16="http://schemas.microsoft.com/office/drawing/2014/main" id="{FD7EA8B3-44B9-56C1-223E-4FE4F7A78BB2}"/>
              </a:ext>
            </a:extLst>
          </p:cNvPr>
          <p:cNvSpPr/>
          <p:nvPr/>
        </p:nvSpPr>
        <p:spPr>
          <a:xfrm>
            <a:off x="128214" y="5384833"/>
            <a:ext cx="3882235" cy="588578"/>
          </a:xfrm>
          <a:prstGeom prst="rect">
            <a:avLst/>
          </a:prstGeom>
          <a:solidFill>
            <a:srgbClr val="00CBA2"/>
          </a:solidFill>
          <a:ln w="28575">
            <a:solidFill>
              <a:srgbClr val="EFEA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EFEAE5"/>
                </a:solidFill>
                <a:latin typeface="Graphik" panose="020B0503030202060203" pitchFamily="34" charset="0"/>
              </a:rPr>
              <a:t>1 hour</a:t>
            </a:r>
          </a:p>
        </p:txBody>
      </p:sp>
    </p:spTree>
    <p:extLst>
      <p:ext uri="{BB962C8B-B14F-4D97-AF65-F5344CB8AC3E}">
        <p14:creationId xmlns:p14="http://schemas.microsoft.com/office/powerpoint/2010/main" val="346570572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75D592-6E59-D1B0-9E9C-2FA3EDC39004}"/>
            </a:ext>
          </a:extLst>
        </p:cNvPr>
        <p:cNvGrpSpPr/>
        <p:nvPr/>
      </p:nvGrpSpPr>
      <p:grpSpPr>
        <a:xfrm>
          <a:off x="0" y="0"/>
          <a:ext cx="0" cy="0"/>
          <a:chOff x="0" y="0"/>
          <a:chExt cx="0" cy="0"/>
        </a:xfrm>
      </p:grpSpPr>
      <p:grpSp>
        <p:nvGrpSpPr>
          <p:cNvPr id="31" name="Group 30">
            <a:extLst>
              <a:ext uri="{FF2B5EF4-FFF2-40B4-BE49-F238E27FC236}">
                <a16:creationId xmlns:a16="http://schemas.microsoft.com/office/drawing/2014/main" id="{2C88D2ED-2B61-0773-9E74-EB510B4109D3}"/>
              </a:ext>
            </a:extLst>
          </p:cNvPr>
          <p:cNvGrpSpPr/>
          <p:nvPr/>
        </p:nvGrpSpPr>
        <p:grpSpPr>
          <a:xfrm>
            <a:off x="0" y="0"/>
            <a:ext cx="12192000" cy="6858000"/>
            <a:chOff x="0" y="0"/>
            <a:chExt cx="12192000" cy="6858000"/>
          </a:xfrm>
        </p:grpSpPr>
        <p:sp>
          <p:nvSpPr>
            <p:cNvPr id="15" name="Rectangle 14">
              <a:extLst>
                <a:ext uri="{FF2B5EF4-FFF2-40B4-BE49-F238E27FC236}">
                  <a16:creationId xmlns:a16="http://schemas.microsoft.com/office/drawing/2014/main" id="{344941C7-0039-35FC-FE87-83F58F272326}"/>
                </a:ext>
              </a:extLst>
            </p:cNvPr>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pic>
          <p:nvPicPr>
            <p:cNvPr id="5" name="Picture 4">
              <a:extLst>
                <a:ext uri="{FF2B5EF4-FFF2-40B4-BE49-F238E27FC236}">
                  <a16:creationId xmlns:a16="http://schemas.microsoft.com/office/drawing/2014/main" id="{A3AAF0D9-F784-8326-F63C-7B16AEBF335A}"/>
                </a:ext>
              </a:extLst>
            </p:cNvPr>
            <p:cNvPicPr>
              <a:picLocks noChangeAspect="1"/>
            </p:cNvPicPr>
            <p:nvPr/>
          </p:nvPicPr>
          <p:blipFill>
            <a:blip r:embed="rId4"/>
            <a:srcRect t="3857" b="4037"/>
            <a:stretch>
              <a:fillRect/>
            </a:stretch>
          </p:blipFill>
          <p:spPr>
            <a:xfrm>
              <a:off x="91439" y="84913"/>
              <a:ext cx="12006072" cy="6675121"/>
            </a:xfrm>
            <a:prstGeom prst="rect">
              <a:avLst/>
            </a:prstGeom>
          </p:spPr>
        </p:pic>
      </p:grpSp>
      <p:sp>
        <p:nvSpPr>
          <p:cNvPr id="2" name="Rectangle 1">
            <a:extLst>
              <a:ext uri="{FF2B5EF4-FFF2-40B4-BE49-F238E27FC236}">
                <a16:creationId xmlns:a16="http://schemas.microsoft.com/office/drawing/2014/main" id="{9BD72FC5-09C5-6C53-1A46-00B299957736}"/>
              </a:ext>
            </a:extLst>
          </p:cNvPr>
          <p:cNvSpPr/>
          <p:nvPr/>
        </p:nvSpPr>
        <p:spPr>
          <a:xfrm>
            <a:off x="91439" y="84914"/>
            <a:ext cx="12006072" cy="6675121"/>
          </a:xfrm>
          <a:prstGeom prst="rect">
            <a:avLst/>
          </a:prstGeom>
          <a:solidFill>
            <a:srgbClr val="006450">
              <a:alpha val="4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graphicFrame>
        <p:nvGraphicFramePr>
          <p:cNvPr id="199" name="think-cell data - do not delete" hidden="1">
            <a:extLst>
              <a:ext uri="{FF2B5EF4-FFF2-40B4-BE49-F238E27FC236}">
                <a16:creationId xmlns:a16="http://schemas.microsoft.com/office/drawing/2014/main" id="{93122961-7E55-896A-B762-812677816B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99" name="think-cell data - do not delete" hidden="1">
                        <a:extLst>
                          <a:ext uri="{FF2B5EF4-FFF2-40B4-BE49-F238E27FC236}">
                            <a16:creationId xmlns:a16="http://schemas.microsoft.com/office/drawing/2014/main" id="{93122961-7E55-896A-B762-812677816B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Title 2">
            <a:extLst>
              <a:ext uri="{FF2B5EF4-FFF2-40B4-BE49-F238E27FC236}">
                <a16:creationId xmlns:a16="http://schemas.microsoft.com/office/drawing/2014/main" id="{CD7DFC7E-FC32-C441-BE2A-9C2F6BB3BA73}"/>
              </a:ext>
            </a:extLst>
          </p:cNvPr>
          <p:cNvSpPr txBox="1">
            <a:spLocks/>
          </p:cNvSpPr>
          <p:nvPr/>
        </p:nvSpPr>
        <p:spPr>
          <a:xfrm>
            <a:off x="655078" y="3598301"/>
            <a:ext cx="9994449" cy="600296"/>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Medium" panose="020B0503030202060203" pitchFamily="34" charset="77"/>
                <a:ea typeface="+mj-ea"/>
                <a:cs typeface="Arial"/>
              </a:defRPr>
            </a:lvl1pPr>
          </a:lstStyle>
          <a:p>
            <a:pPr defTabSz="457173">
              <a:spcAft>
                <a:spcPts val="1200"/>
              </a:spcAft>
              <a:defRPr/>
            </a:pPr>
            <a:r>
              <a:rPr lang="en-US" sz="4800" dirty="0">
                <a:solidFill>
                  <a:srgbClr val="FFFFFF"/>
                </a:solidFill>
                <a:latin typeface="Graphik-Light" panose="020B0403030202060203" pitchFamily="34" charset="77"/>
              </a:rPr>
              <a:t>Citizens AI Academy</a:t>
            </a:r>
            <a:endParaRPr lang="en-US" sz="4800" dirty="0">
              <a:solidFill>
                <a:srgbClr val="FFFFFF"/>
              </a:solidFill>
            </a:endParaRPr>
          </a:p>
        </p:txBody>
      </p:sp>
      <p:grpSp>
        <p:nvGrpSpPr>
          <p:cNvPr id="36" name="Group 35">
            <a:extLst>
              <a:ext uri="{FF2B5EF4-FFF2-40B4-BE49-F238E27FC236}">
                <a16:creationId xmlns:a16="http://schemas.microsoft.com/office/drawing/2014/main" id="{FDFF609D-1ECB-E6CD-24BC-324D41098246}"/>
              </a:ext>
            </a:extLst>
          </p:cNvPr>
          <p:cNvGrpSpPr/>
          <p:nvPr/>
        </p:nvGrpSpPr>
        <p:grpSpPr>
          <a:xfrm>
            <a:off x="384445" y="294946"/>
            <a:ext cx="4788470" cy="661596"/>
            <a:chOff x="384445" y="2767404"/>
            <a:chExt cx="4788470" cy="661596"/>
          </a:xfrm>
        </p:grpSpPr>
        <p:pic>
          <p:nvPicPr>
            <p:cNvPr id="33" name="Picture 32" descr="A black background with a black square&#10;&#10;Description automatically generated with medium confidence">
              <a:extLst>
                <a:ext uri="{FF2B5EF4-FFF2-40B4-BE49-F238E27FC236}">
                  <a16:creationId xmlns:a16="http://schemas.microsoft.com/office/drawing/2014/main" id="{26AF7AC9-DE65-B074-1013-0E921ABB3ECB}"/>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398050" y="2767404"/>
              <a:ext cx="1774865" cy="468765"/>
            </a:xfrm>
            <a:prstGeom prst="rect">
              <a:avLst/>
            </a:prstGeom>
          </p:spPr>
        </p:pic>
        <p:cxnSp>
          <p:nvCxnSpPr>
            <p:cNvPr id="34" name="Straight Connector 33">
              <a:extLst>
                <a:ext uri="{FF2B5EF4-FFF2-40B4-BE49-F238E27FC236}">
                  <a16:creationId xmlns:a16="http://schemas.microsoft.com/office/drawing/2014/main" id="{6FEFBD42-DC01-C250-6125-68B92B264768}"/>
                </a:ext>
              </a:extLst>
            </p:cNvPr>
            <p:cNvCxnSpPr>
              <a:cxnSpLocks/>
            </p:cNvCxnSpPr>
            <p:nvPr/>
          </p:nvCxnSpPr>
          <p:spPr>
            <a:xfrm>
              <a:off x="3204099" y="2767404"/>
              <a:ext cx="0" cy="66159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35" name="Picture 34" descr="A close up of a logo&#10;&#10;Description automatically generated">
              <a:extLst>
                <a:ext uri="{FF2B5EF4-FFF2-40B4-BE49-F238E27FC236}">
                  <a16:creationId xmlns:a16="http://schemas.microsoft.com/office/drawing/2014/main" id="{FBFE51C9-BE01-679B-6CE3-ED0F1892B936}"/>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t="29087" b="33997"/>
            <a:stretch/>
          </p:blipFill>
          <p:spPr>
            <a:xfrm>
              <a:off x="384445" y="2798361"/>
              <a:ext cx="2721690" cy="565180"/>
            </a:xfrm>
            <a:prstGeom prst="rect">
              <a:avLst/>
            </a:prstGeom>
          </p:spPr>
        </p:pic>
      </p:grpSp>
      <p:sp>
        <p:nvSpPr>
          <p:cNvPr id="37" name="Title 2">
            <a:extLst>
              <a:ext uri="{FF2B5EF4-FFF2-40B4-BE49-F238E27FC236}">
                <a16:creationId xmlns:a16="http://schemas.microsoft.com/office/drawing/2014/main" id="{791C013C-B1D4-6688-0697-9B70B1A0714A}"/>
              </a:ext>
            </a:extLst>
          </p:cNvPr>
          <p:cNvSpPr txBox="1">
            <a:spLocks/>
          </p:cNvSpPr>
          <p:nvPr/>
        </p:nvSpPr>
        <p:spPr>
          <a:xfrm>
            <a:off x="732712" y="4253903"/>
            <a:ext cx="9994449" cy="1978353"/>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Medium" panose="020B0503030202060203" pitchFamily="34" charset="77"/>
                <a:ea typeface="+mj-ea"/>
                <a:cs typeface="Arial"/>
              </a:defRPr>
            </a:lvl1pPr>
          </a:lstStyle>
          <a:p>
            <a:pPr defTabSz="457173">
              <a:spcAft>
                <a:spcPts val="1200"/>
              </a:spcAft>
              <a:defRPr/>
            </a:pPr>
            <a:r>
              <a:rPr lang="en-US" sz="3600" b="1" dirty="0">
                <a:solidFill>
                  <a:srgbClr val="FFFFFF"/>
                </a:solidFill>
                <a:latin typeface="Graphik-Light" panose="020B0403030202060203" pitchFamily="34" charset="77"/>
              </a:rPr>
              <a:t>Track / Content Name</a:t>
            </a:r>
            <a:br>
              <a:rPr lang="en-US" sz="3600" b="1" dirty="0">
                <a:solidFill>
                  <a:srgbClr val="FFFFFF"/>
                </a:solidFill>
                <a:latin typeface="Graphik-Light" panose="020B0403030202060203" pitchFamily="34" charset="77"/>
              </a:rPr>
            </a:br>
            <a:br>
              <a:rPr lang="en-US" sz="3200" dirty="0">
                <a:solidFill>
                  <a:srgbClr val="FFFFFF"/>
                </a:solidFill>
                <a:latin typeface="Graphik-Light" panose="020B0403030202060203" pitchFamily="34" charset="77"/>
              </a:rPr>
            </a:br>
            <a:br>
              <a:rPr lang="en-US" sz="3200" dirty="0">
                <a:solidFill>
                  <a:srgbClr val="FFFFFF"/>
                </a:solidFill>
                <a:latin typeface="Graphik-Light" panose="020B0403030202060203" pitchFamily="34" charset="77"/>
              </a:rPr>
            </a:br>
            <a:r>
              <a:rPr lang="en-US" sz="2400" dirty="0">
                <a:solidFill>
                  <a:srgbClr val="FFFFFF"/>
                </a:solidFill>
              </a:rPr>
              <a:t>August 2025</a:t>
            </a:r>
            <a:endParaRPr lang="en-US" sz="4800" dirty="0">
              <a:solidFill>
                <a:srgbClr val="FFFFFF"/>
              </a:solidFill>
            </a:endParaRPr>
          </a:p>
        </p:txBody>
      </p:sp>
    </p:spTree>
    <p:extLst>
      <p:ext uri="{BB962C8B-B14F-4D97-AF65-F5344CB8AC3E}">
        <p14:creationId xmlns:p14="http://schemas.microsoft.com/office/powerpoint/2010/main" val="390122885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14C5845-8F2A-A364-F08D-48D7ED8E8BFA}"/>
              </a:ext>
            </a:extLst>
          </p:cNvPr>
          <p:cNvSpPr/>
          <p:nvPr/>
        </p:nvSpPr>
        <p:spPr>
          <a:xfrm>
            <a:off x="5623904" y="2744059"/>
            <a:ext cx="6070790" cy="13698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6600" b="1" dirty="0">
                <a:latin typeface="Graphik" panose="020B0503030202060203" pitchFamily="34" charset="0"/>
              </a:rPr>
              <a:t>Section Title</a:t>
            </a:r>
          </a:p>
        </p:txBody>
      </p:sp>
      <p:sp>
        <p:nvSpPr>
          <p:cNvPr id="5" name="Rectangle 4">
            <a:extLst>
              <a:ext uri="{FF2B5EF4-FFF2-40B4-BE49-F238E27FC236}">
                <a16:creationId xmlns:a16="http://schemas.microsoft.com/office/drawing/2014/main" id="{9D8E145C-1EA0-0CEB-3D4F-3550088C4206}"/>
              </a:ext>
            </a:extLst>
          </p:cNvPr>
          <p:cNvSpPr/>
          <p:nvPr/>
        </p:nvSpPr>
        <p:spPr>
          <a:xfrm>
            <a:off x="7532558" y="3994381"/>
            <a:ext cx="4162136" cy="6895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2000" b="1">
                <a:solidFill>
                  <a:schemeClr val="accent6"/>
                </a:solidFill>
                <a:latin typeface="Graphik" panose="020B0503030202060203" pitchFamily="34" charset="0"/>
              </a:rPr>
              <a:t>Subtitle</a:t>
            </a:r>
          </a:p>
        </p:txBody>
      </p:sp>
    </p:spTree>
    <p:extLst>
      <p:ext uri="{BB962C8B-B14F-4D97-AF65-F5344CB8AC3E}">
        <p14:creationId xmlns:p14="http://schemas.microsoft.com/office/powerpoint/2010/main" val="179611498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4E60B4-CB2D-1A88-840F-AF005F639433}"/>
            </a:ext>
          </a:extLst>
        </p:cNvPr>
        <p:cNvGrpSpPr/>
        <p:nvPr/>
      </p:nvGrpSpPr>
      <p:grpSpPr>
        <a:xfrm>
          <a:off x="0" y="0"/>
          <a:ext cx="0" cy="0"/>
          <a:chOff x="0" y="0"/>
          <a:chExt cx="0" cy="0"/>
        </a:xfrm>
      </p:grpSpPr>
      <p:sp>
        <p:nvSpPr>
          <p:cNvPr id="142" name="Title 1">
            <a:extLst>
              <a:ext uri="{FF2B5EF4-FFF2-40B4-BE49-F238E27FC236}">
                <a16:creationId xmlns:a16="http://schemas.microsoft.com/office/drawing/2014/main" id="{88567E73-CB50-8FD8-6A3D-C54C0A665D9E}"/>
              </a:ext>
            </a:extLst>
          </p:cNvPr>
          <p:cNvSpPr>
            <a:spLocks noGrp="1"/>
          </p:cNvSpPr>
          <p:nvPr>
            <p:ph type="title"/>
          </p:nvPr>
        </p:nvSpPr>
        <p:spPr>
          <a:xfrm>
            <a:off x="384048" y="384048"/>
            <a:ext cx="10346475" cy="320040"/>
          </a:xfrm>
          <a:prstGeom prst="rect">
            <a:avLst/>
          </a:prstGeom>
        </p:spPr>
        <p:txBody>
          <a:bodyPr vert="horz" wrap="square" lIns="0" tIns="0" rIns="0" bIns="0" rtlCol="0" anchor="t" anchorCtr="0">
            <a:noAutofit/>
          </a:bodyPr>
          <a:lstStyle/>
          <a:p>
            <a:pPr>
              <a:lnSpc>
                <a:spcPct val="80000"/>
              </a:lnSpc>
            </a:pPr>
            <a:r>
              <a:rPr lang="en-GB" sz="2800" b="0" dirty="0">
                <a:solidFill>
                  <a:srgbClr val="231F20"/>
                </a:solidFill>
                <a:latin typeface="Graphik-Light" panose="020B0403030202060203"/>
                <a:ea typeface="+mj-ea"/>
                <a:cs typeface="+mj-cs"/>
              </a:rPr>
              <a:t>Slide Content Template</a:t>
            </a:r>
            <a:endParaRPr lang="en-GB" sz="2800" b="0" i="1" dirty="0">
              <a:solidFill>
                <a:schemeClr val="accent1"/>
              </a:solidFill>
              <a:latin typeface="Graphik-Light" panose="020B0403030202060203"/>
              <a:ea typeface="+mj-ea"/>
              <a:cs typeface="+mj-cs"/>
            </a:endParaRPr>
          </a:p>
        </p:txBody>
      </p:sp>
    </p:spTree>
    <p:extLst>
      <p:ext uri="{BB962C8B-B14F-4D97-AF65-F5344CB8AC3E}">
        <p14:creationId xmlns:p14="http://schemas.microsoft.com/office/powerpoint/2010/main" val="351493370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D88B2C-40A1-9303-2F45-DA38B3A26FD0}"/>
            </a:ext>
          </a:extLst>
        </p:cNvPr>
        <p:cNvGrpSpPr/>
        <p:nvPr/>
      </p:nvGrpSpPr>
      <p:grpSpPr>
        <a:xfrm>
          <a:off x="0" y="0"/>
          <a:ext cx="0" cy="0"/>
          <a:chOff x="0" y="0"/>
          <a:chExt cx="0" cy="0"/>
        </a:xfrm>
      </p:grpSpPr>
      <p:sp>
        <p:nvSpPr>
          <p:cNvPr id="142" name="Title 1">
            <a:extLst>
              <a:ext uri="{FF2B5EF4-FFF2-40B4-BE49-F238E27FC236}">
                <a16:creationId xmlns:a16="http://schemas.microsoft.com/office/drawing/2014/main" id="{D80BDE52-3829-008D-FAB8-EF114858C05B}"/>
              </a:ext>
            </a:extLst>
          </p:cNvPr>
          <p:cNvSpPr>
            <a:spLocks noGrp="1"/>
          </p:cNvSpPr>
          <p:nvPr>
            <p:ph type="title"/>
          </p:nvPr>
        </p:nvSpPr>
        <p:spPr>
          <a:xfrm>
            <a:off x="384048" y="384048"/>
            <a:ext cx="10346475" cy="320040"/>
          </a:xfrm>
          <a:prstGeom prst="rect">
            <a:avLst/>
          </a:prstGeom>
        </p:spPr>
        <p:txBody>
          <a:bodyPr vert="horz" wrap="square" lIns="0" tIns="0" rIns="0" bIns="0" rtlCol="0" anchor="t" anchorCtr="0">
            <a:noAutofit/>
          </a:bodyPr>
          <a:lstStyle/>
          <a:p>
            <a:pPr>
              <a:lnSpc>
                <a:spcPct val="80000"/>
              </a:lnSpc>
            </a:pPr>
            <a:r>
              <a:rPr lang="en-GB" sz="2800" b="0">
                <a:solidFill>
                  <a:srgbClr val="231F20"/>
                </a:solidFill>
                <a:latin typeface="Graphik-Light" panose="020B0403030202060203"/>
                <a:ea typeface="+mj-ea"/>
                <a:cs typeface="+mj-cs"/>
              </a:rPr>
              <a:t>Agenda Template</a:t>
            </a:r>
            <a:endParaRPr lang="en-GB" sz="2800" b="0" i="1">
              <a:solidFill>
                <a:schemeClr val="accent1"/>
              </a:solidFill>
              <a:latin typeface="Graphik-Light" panose="020B0403030202060203"/>
              <a:ea typeface="+mj-ea"/>
              <a:cs typeface="+mj-cs"/>
            </a:endParaRPr>
          </a:p>
        </p:txBody>
      </p:sp>
      <p:sp>
        <p:nvSpPr>
          <p:cNvPr id="2" name="Rectangle 1">
            <a:extLst>
              <a:ext uri="{FF2B5EF4-FFF2-40B4-BE49-F238E27FC236}">
                <a16:creationId xmlns:a16="http://schemas.microsoft.com/office/drawing/2014/main" id="{49AD9C64-C192-F8CF-03BC-2D7AD6FC0B5B}"/>
              </a:ext>
            </a:extLst>
          </p:cNvPr>
          <p:cNvSpPr/>
          <p:nvPr/>
        </p:nvSpPr>
        <p:spPr>
          <a:xfrm>
            <a:off x="267327" y="2037376"/>
            <a:ext cx="4790136" cy="2912335"/>
          </a:xfrm>
          <a:prstGeom prst="rect">
            <a:avLst/>
          </a:prstGeom>
          <a:solidFill>
            <a:schemeClr val="tx2"/>
          </a:solidFill>
          <a:ln w="38100">
            <a:solidFill>
              <a:schemeClr val="bg1">
                <a:lumMod val="85000"/>
              </a:schemeClr>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b="1" err="1">
                <a:solidFill>
                  <a:srgbClr val="FFFFFF"/>
                </a:solidFill>
                <a:latin typeface="Graphik" panose="020B0503030202060203" pitchFamily="34" charset="0"/>
              </a:rPr>
              <a:t>xyz</a:t>
            </a:r>
            <a:endParaRPr lang="en-US" b="1">
              <a:solidFill>
                <a:srgbClr val="FFFFFF"/>
              </a:solidFill>
              <a:latin typeface="Graphik" panose="020B0503030202060203" pitchFamily="34" charset="0"/>
            </a:endParaRP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b="1">
                <a:solidFill>
                  <a:srgbClr val="FFFFFF"/>
                </a:solidFill>
                <a:latin typeface="Graphik" panose="020B0503030202060203" pitchFamily="34" charset="0"/>
              </a:rPr>
              <a:t>x</a:t>
            </a:r>
            <a:r>
              <a:rPr kumimoji="0" lang="en-US" sz="1800" b="1" i="0" u="none" strike="noStrike" kern="1200" cap="none" spc="0" normalizeH="0" baseline="0" noProof="0" err="1">
                <a:ln>
                  <a:noFill/>
                </a:ln>
                <a:solidFill>
                  <a:srgbClr val="FFFFFF"/>
                </a:solidFill>
                <a:effectLst/>
                <a:uLnTx/>
                <a:uFillTx/>
                <a:latin typeface="Graphik" panose="020B0503030202060203" pitchFamily="34" charset="0"/>
                <a:ea typeface="+mn-ea"/>
                <a:cs typeface="+mn-cs"/>
              </a:rPr>
              <a:t>yz</a:t>
            </a:r>
            <a:endParaRPr kumimoji="0" lang="en-US" sz="1800" b="1" i="0" u="none" strike="noStrike" kern="1200" cap="none" spc="0" normalizeH="0" baseline="0" noProof="0">
              <a:ln>
                <a:noFill/>
              </a:ln>
              <a:solidFill>
                <a:srgbClr val="FFFFFF"/>
              </a:solidFill>
              <a:effectLst/>
              <a:uLnTx/>
              <a:uFillTx/>
              <a:latin typeface="Graphik" panose="020B0503030202060203" pitchFamily="34" charset="0"/>
              <a:ea typeface="+mn-ea"/>
              <a:cs typeface="+mn-cs"/>
            </a:endParaRPr>
          </a:p>
          <a:p>
            <a:pPr marL="517525" marR="0" lvl="0" indent="-284163" algn="l" defTabSz="914400" rtl="0" eaLnBrk="1" fontAlgn="auto" latinLnBrk="0" hangingPunct="1">
              <a:lnSpc>
                <a:spcPct val="100000"/>
              </a:lnSpc>
              <a:spcBef>
                <a:spcPts val="0"/>
              </a:spcBef>
              <a:spcAft>
                <a:spcPts val="1200"/>
              </a:spcAft>
              <a:buClrTx/>
              <a:buSzTx/>
              <a:buFont typeface="+mj-lt"/>
              <a:buAutoNum type="arabicPeriod"/>
              <a:tabLst/>
              <a:defRPr/>
            </a:pPr>
            <a:r>
              <a:rPr lang="en-US" b="1" err="1">
                <a:solidFill>
                  <a:srgbClr val="FFFFFF"/>
                </a:solidFill>
                <a:latin typeface="Graphik" panose="020B0503030202060203" pitchFamily="34" charset="0"/>
              </a:rPr>
              <a:t>xyz</a:t>
            </a:r>
            <a:endParaRPr kumimoji="0" lang="en-US" sz="1800" b="1" i="0" u="none" strike="noStrike" kern="1200" cap="none" spc="0" normalizeH="0" baseline="0" noProof="0">
              <a:ln>
                <a:noFill/>
              </a:ln>
              <a:solidFill>
                <a:srgbClr val="FFFFFF"/>
              </a:solidFill>
              <a:effectLst/>
              <a:uLnTx/>
              <a:uFillTx/>
              <a:latin typeface="Graphik" panose="020B0503030202060203" pitchFamily="34" charset="0"/>
              <a:ea typeface="+mn-ea"/>
              <a:cs typeface="+mn-cs"/>
            </a:endParaRPr>
          </a:p>
        </p:txBody>
      </p:sp>
      <p:sp>
        <p:nvSpPr>
          <p:cNvPr id="3" name="Trapezoid 2">
            <a:extLst>
              <a:ext uri="{FF2B5EF4-FFF2-40B4-BE49-F238E27FC236}">
                <a16:creationId xmlns:a16="http://schemas.microsoft.com/office/drawing/2014/main" id="{DB029919-B0F2-3577-1165-97E3A07486A5}"/>
              </a:ext>
            </a:extLst>
          </p:cNvPr>
          <p:cNvSpPr/>
          <p:nvPr/>
        </p:nvSpPr>
        <p:spPr>
          <a:xfrm rot="16200000">
            <a:off x="3212204" y="2685544"/>
            <a:ext cx="5276536" cy="1615998"/>
          </a:xfrm>
          <a:prstGeom prst="trapezoid">
            <a:avLst>
              <a:gd name="adj" fmla="val 82092"/>
            </a:avLst>
          </a:prstGeom>
          <a:gradFill>
            <a:gsLst>
              <a:gs pos="54000">
                <a:srgbClr val="E5E5E5"/>
              </a:gs>
              <a:gs pos="0">
                <a:schemeClr val="bg1">
                  <a:lumMod val="75000"/>
                </a:schemeClr>
              </a:gs>
              <a:gs pos="85000">
                <a:schemeClr val="bg1"/>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Rectangle 3">
            <a:extLst>
              <a:ext uri="{FF2B5EF4-FFF2-40B4-BE49-F238E27FC236}">
                <a16:creationId xmlns:a16="http://schemas.microsoft.com/office/drawing/2014/main" id="{90C681B9-5C3F-94C0-8EA1-AC0C33A45486}"/>
              </a:ext>
            </a:extLst>
          </p:cNvPr>
          <p:cNvSpPr/>
          <p:nvPr/>
        </p:nvSpPr>
        <p:spPr>
          <a:xfrm>
            <a:off x="6329082" y="1038301"/>
            <a:ext cx="5505651" cy="4856813"/>
          </a:xfrm>
          <a:prstGeom prst="rect">
            <a:avLst/>
          </a:prstGeom>
          <a:noFill/>
          <a:ln w="19050">
            <a:solidFill>
              <a:srgbClr val="00645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kumimoji="0" lang="en-US" sz="1800" b="1" i="0" u="none" strike="noStrike" kern="1200" cap="none" spc="0" normalizeH="0" baseline="0" noProof="0">
                <a:ln>
                  <a:noFill/>
                </a:ln>
                <a:solidFill>
                  <a:srgbClr val="231F20"/>
                </a:solidFill>
                <a:effectLst/>
                <a:uLnTx/>
                <a:uFillTx/>
                <a:latin typeface="Graphik" panose="020B0503030202060203" pitchFamily="34" charset="0"/>
                <a:ea typeface="+mn-ea"/>
                <a:cs typeface="+mn-cs"/>
              </a:rPr>
              <a:t> </a:t>
            </a:r>
            <a:r>
              <a:rPr kumimoji="0" lang="en-US" sz="1800" i="0" u="none" strike="noStrike" kern="1200" cap="none" spc="0" normalizeH="0" baseline="0" noProof="0" err="1">
                <a:ln>
                  <a:noFill/>
                </a:ln>
                <a:solidFill>
                  <a:srgbClr val="231F20"/>
                </a:solidFill>
                <a:effectLst/>
                <a:uLnTx/>
                <a:uFillTx/>
                <a:latin typeface="Graphik" panose="020B0503030202060203" pitchFamily="34" charset="0"/>
                <a:ea typeface="+mn-ea"/>
                <a:cs typeface="+mn-cs"/>
              </a:rPr>
              <a:t>xyz</a:t>
            </a:r>
            <a:endParaRPr kumimoji="0" lang="en-US" sz="1800" i="0" u="none" strike="noStrike" kern="1200" cap="none" spc="0" normalizeH="0" baseline="0" noProof="0">
              <a:ln>
                <a:noFill/>
              </a:ln>
              <a:solidFill>
                <a:srgbClr val="231F20"/>
              </a:solidFill>
              <a:effectLst/>
              <a:uLnTx/>
              <a:uFillTx/>
              <a:latin typeface="Graphik" panose="020B0503030202060203" pitchFamily="34" charset="0"/>
              <a:ea typeface="+mn-ea"/>
              <a:cs typeface="+mn-cs"/>
            </a:endParaRP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b="1">
                <a:solidFill>
                  <a:srgbClr val="231F20"/>
                </a:solidFill>
                <a:latin typeface="Graphik" panose="020B0503030202060203" pitchFamily="34" charset="0"/>
              </a:rPr>
              <a:t> </a:t>
            </a:r>
            <a:r>
              <a:rPr lang="en-US" err="1">
                <a:solidFill>
                  <a:srgbClr val="231F20"/>
                </a:solidFill>
                <a:latin typeface="Graphik" panose="020B0503030202060203" pitchFamily="34" charset="0"/>
              </a:rPr>
              <a:t>xyz</a:t>
            </a:r>
            <a:endParaRPr lang="en-US">
              <a:solidFill>
                <a:srgbClr val="231F20"/>
              </a:solidFill>
              <a:latin typeface="Graphik" panose="020B0503030202060203" pitchFamily="34" charset="0"/>
            </a:endParaRP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kumimoji="0" lang="en-US" sz="1800" b="1" i="0" u="none" strike="noStrike" kern="1200" cap="none" spc="0" normalizeH="0" baseline="0" noProof="0">
                <a:ln>
                  <a:noFill/>
                </a:ln>
                <a:solidFill>
                  <a:srgbClr val="231F20"/>
                </a:solidFill>
                <a:effectLst/>
                <a:uLnTx/>
                <a:uFillTx/>
                <a:latin typeface="Graphik" panose="020B0503030202060203" pitchFamily="34" charset="0"/>
                <a:ea typeface="+mn-ea"/>
                <a:cs typeface="+mn-cs"/>
              </a:rPr>
              <a:t> </a:t>
            </a:r>
            <a:r>
              <a:rPr kumimoji="0" lang="en-US" sz="1800" i="0" u="none" strike="noStrike" kern="1200" cap="none" spc="0" normalizeH="0" baseline="0" noProof="0" err="1">
                <a:ln>
                  <a:noFill/>
                </a:ln>
                <a:solidFill>
                  <a:srgbClr val="231F20"/>
                </a:solidFill>
                <a:effectLst/>
                <a:uLnTx/>
                <a:uFillTx/>
                <a:latin typeface="Graphik" panose="020B0503030202060203" pitchFamily="34" charset="0"/>
                <a:ea typeface="+mn-ea"/>
                <a:cs typeface="+mn-cs"/>
              </a:rPr>
              <a:t>xyz</a:t>
            </a:r>
            <a:endParaRPr kumimoji="0" lang="en-US" sz="1800" i="0" u="none" strike="noStrike" kern="1200" cap="none" spc="0" normalizeH="0" baseline="0" noProof="0">
              <a:ln>
                <a:noFill/>
              </a:ln>
              <a:solidFill>
                <a:srgbClr val="231F20"/>
              </a:solidFill>
              <a:effectLst/>
              <a:uLnTx/>
              <a:uFillTx/>
              <a:latin typeface="Graphik" panose="020B0503030202060203" pitchFamily="34" charset="0"/>
              <a:ea typeface="+mn-ea"/>
              <a:cs typeface="+mn-cs"/>
            </a:endParaRPr>
          </a:p>
          <a:p>
            <a:pPr marL="688975" marR="0" lvl="0" indent="-342900" algn="l" defTabSz="914400" rtl="0" eaLnBrk="1" fontAlgn="auto" latinLnBrk="0" hangingPunct="1">
              <a:lnSpc>
                <a:spcPct val="100000"/>
              </a:lnSpc>
              <a:spcBef>
                <a:spcPts val="0"/>
              </a:spcBef>
              <a:spcAft>
                <a:spcPts val="1800"/>
              </a:spcAft>
              <a:buClr>
                <a:srgbClr val="008555"/>
              </a:buClr>
              <a:buSzTx/>
              <a:buFont typeface="+mj-lt"/>
              <a:buAutoNum type="arabicPeriod"/>
              <a:tabLst/>
              <a:defRPr/>
            </a:pPr>
            <a:r>
              <a:rPr lang="en-US" b="1">
                <a:solidFill>
                  <a:srgbClr val="231F20"/>
                </a:solidFill>
                <a:latin typeface="Graphik" panose="020B0503030202060203" pitchFamily="34" charset="0"/>
              </a:rPr>
              <a:t> </a:t>
            </a:r>
            <a:r>
              <a:rPr lang="en-US" err="1">
                <a:solidFill>
                  <a:srgbClr val="231F20"/>
                </a:solidFill>
                <a:latin typeface="Graphik" panose="020B0503030202060203" pitchFamily="34" charset="0"/>
              </a:rPr>
              <a:t>xyz</a:t>
            </a:r>
            <a:endParaRPr lang="en-US" b="1"/>
          </a:p>
        </p:txBody>
      </p:sp>
      <p:sp>
        <p:nvSpPr>
          <p:cNvPr id="5" name="Title 1">
            <a:extLst>
              <a:ext uri="{FF2B5EF4-FFF2-40B4-BE49-F238E27FC236}">
                <a16:creationId xmlns:a16="http://schemas.microsoft.com/office/drawing/2014/main" id="{3A7CEABA-EC9C-9891-E25B-47671C373341}"/>
              </a:ext>
            </a:extLst>
          </p:cNvPr>
          <p:cNvSpPr txBox="1">
            <a:spLocks/>
          </p:cNvSpPr>
          <p:nvPr/>
        </p:nvSpPr>
        <p:spPr>
          <a:xfrm>
            <a:off x="809616" y="1578164"/>
            <a:ext cx="3457905" cy="320601"/>
          </a:xfrm>
          <a:prstGeom prst="rect">
            <a:avLst/>
          </a:prstGeom>
        </p:spPr>
        <p:txBody>
          <a:bodyPr vert="horz" wrap="square" lIns="0" tIns="0" rIns="0" bIns="0" anchor="t">
            <a:noAutofit/>
          </a:bodyPr>
          <a:lstStyle>
            <a:lvl1pPr marL="0" indent="0" algn="l" defTabSz="457192" rtl="0" eaLnBrk="1" latinLnBrk="0" hangingPunct="1">
              <a:lnSpc>
                <a:spcPct val="80000"/>
              </a:lnSpc>
              <a:spcBef>
                <a:spcPct val="0"/>
              </a:spcBef>
              <a:buFont typeface="Arial" panose="020B0604020202020204" pitchFamily="34" charset="0"/>
              <a:buNone/>
              <a:defRPr sz="2800" b="0" i="0" kern="1200" cap="none">
                <a:solidFill>
                  <a:schemeClr val="tx1"/>
                </a:solidFill>
                <a:latin typeface="Graphik-Light" panose="020B0403030202060203" pitchFamily="34" charset="77"/>
                <a:ea typeface="+mj-ea"/>
                <a:cs typeface="Arial"/>
              </a:defRPr>
            </a:lvl1pPr>
          </a:lstStyle>
          <a:p>
            <a:pPr marL="0" marR="0" lvl="0" indent="0" algn="ctr" defTabSz="457192" rtl="0" eaLnBrk="1" fontAlgn="auto" latinLnBrk="0" hangingPunct="1">
              <a:lnSpc>
                <a:spcPct val="80000"/>
              </a:lnSpc>
              <a:spcBef>
                <a:spcPct val="0"/>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srgbClr val="006450"/>
                </a:solidFill>
                <a:effectLst/>
                <a:uLnTx/>
                <a:uFillTx/>
                <a:latin typeface="Graphik" panose="020B0503030202060203" pitchFamily="34" charset="0"/>
                <a:ea typeface="+mj-ea"/>
                <a:cs typeface="Arial"/>
              </a:rPr>
              <a:t>Today’s objectives</a:t>
            </a:r>
          </a:p>
        </p:txBody>
      </p:sp>
      <p:sp>
        <p:nvSpPr>
          <p:cNvPr id="6" name="Title 1">
            <a:extLst>
              <a:ext uri="{FF2B5EF4-FFF2-40B4-BE49-F238E27FC236}">
                <a16:creationId xmlns:a16="http://schemas.microsoft.com/office/drawing/2014/main" id="{37EA6018-8951-455D-F67A-DBFFB2FF9D3E}"/>
              </a:ext>
            </a:extLst>
          </p:cNvPr>
          <p:cNvSpPr txBox="1">
            <a:spLocks/>
          </p:cNvSpPr>
          <p:nvPr/>
        </p:nvSpPr>
        <p:spPr>
          <a:xfrm>
            <a:off x="6523661" y="844337"/>
            <a:ext cx="1615998" cy="387927"/>
          </a:xfrm>
          <a:prstGeom prst="rect">
            <a:avLst/>
          </a:prstGeom>
          <a:solidFill>
            <a:schemeClr val="bg1"/>
          </a:solidFill>
        </p:spPr>
        <p:txBody>
          <a:bodyPr vert="horz" wrap="square" lIns="0" tIns="0" rIns="0" bIns="0" anchor="ctr" anchorCtr="0">
            <a:noAutofit/>
          </a:bodyPr>
          <a:lstStyle>
            <a:lvl1pPr marL="0" indent="0" algn="l" defTabSz="457192" rtl="0" eaLnBrk="1" latinLnBrk="0" hangingPunct="1">
              <a:lnSpc>
                <a:spcPct val="80000"/>
              </a:lnSpc>
              <a:spcBef>
                <a:spcPct val="0"/>
              </a:spcBef>
              <a:spcAft>
                <a:spcPts val="0"/>
              </a:spcAft>
              <a:buFontTx/>
              <a:buNone/>
              <a:defRPr lang="en-US" sz="2800" b="0" i="0" kern="1200" cap="none">
                <a:solidFill>
                  <a:srgbClr val="231F20"/>
                </a:solidFill>
                <a:latin typeface="Graphik-Light" panose="020B0403030202060203"/>
                <a:ea typeface="+mj-ea"/>
                <a:cs typeface="Arial"/>
              </a:defRPr>
            </a:lvl1pPr>
          </a:lstStyle>
          <a:p>
            <a:pPr algn="ctr"/>
            <a:r>
              <a:rPr lang="en-US" b="1">
                <a:solidFill>
                  <a:schemeClr val="tx2"/>
                </a:solidFill>
                <a:latin typeface="Graphik" panose="020B0503030202060203" pitchFamily="34" charset="0"/>
              </a:rPr>
              <a:t>Agenda</a:t>
            </a:r>
          </a:p>
        </p:txBody>
      </p:sp>
    </p:spTree>
    <p:extLst>
      <p:ext uri="{BB962C8B-B14F-4D97-AF65-F5344CB8AC3E}">
        <p14:creationId xmlns:p14="http://schemas.microsoft.com/office/powerpoint/2010/main" val="141515097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9F7EE6-1E78-7EB3-178C-A44067A72D94}"/>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8FFA8A54-E42D-AF4A-49CD-78B3CA1DE0DE}"/>
              </a:ext>
            </a:extLst>
          </p:cNvPr>
          <p:cNvSpPr/>
          <p:nvPr/>
        </p:nvSpPr>
        <p:spPr>
          <a:xfrm>
            <a:off x="0" y="0"/>
            <a:ext cx="12192000" cy="6858000"/>
          </a:xfrm>
          <a:prstGeom prst="rect">
            <a:avLst/>
          </a:prstGeom>
          <a:solidFill>
            <a:srgbClr val="EFEA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266" name="Picture 2">
            <a:extLst>
              <a:ext uri="{FF2B5EF4-FFF2-40B4-BE49-F238E27FC236}">
                <a16:creationId xmlns:a16="http://schemas.microsoft.com/office/drawing/2014/main" id="{71FBC4AF-FAB3-EFC8-7E28-3A2F299C4DD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119" b="9452"/>
          <a:stretch>
            <a:fillRect/>
          </a:stretch>
        </p:blipFill>
        <p:spPr bwMode="auto">
          <a:xfrm>
            <a:off x="94835" y="92279"/>
            <a:ext cx="12002330" cy="6672853"/>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BBC51AF6-3CB8-1D9C-5F05-10811BD62E37}"/>
              </a:ext>
            </a:extLst>
          </p:cNvPr>
          <p:cNvSpPr/>
          <p:nvPr/>
        </p:nvSpPr>
        <p:spPr>
          <a:xfrm>
            <a:off x="8219090" y="2557726"/>
            <a:ext cx="3233866" cy="13698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6600" b="1">
                <a:solidFill>
                  <a:srgbClr val="E0D9CE"/>
                </a:solidFill>
                <a:latin typeface="Graphik" panose="020B0503030202060203" pitchFamily="34" charset="0"/>
              </a:rPr>
              <a:t>Break</a:t>
            </a:r>
          </a:p>
        </p:txBody>
      </p:sp>
      <p:sp>
        <p:nvSpPr>
          <p:cNvPr id="12" name="Rectangle 11">
            <a:extLst>
              <a:ext uri="{FF2B5EF4-FFF2-40B4-BE49-F238E27FC236}">
                <a16:creationId xmlns:a16="http://schemas.microsoft.com/office/drawing/2014/main" id="{D8283901-B3E9-1315-5E98-ADB29FC670B7}"/>
              </a:ext>
            </a:extLst>
          </p:cNvPr>
          <p:cNvSpPr/>
          <p:nvPr/>
        </p:nvSpPr>
        <p:spPr>
          <a:xfrm>
            <a:off x="8214930" y="5384833"/>
            <a:ext cx="3882235" cy="588578"/>
          </a:xfrm>
          <a:prstGeom prst="rect">
            <a:avLst/>
          </a:prstGeom>
          <a:solidFill>
            <a:srgbClr val="00CBA2"/>
          </a:solidFill>
          <a:ln w="28575">
            <a:solidFill>
              <a:srgbClr val="EFEA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EFEAE5"/>
                </a:solidFill>
                <a:latin typeface="Graphik" panose="020B0503030202060203" pitchFamily="34" charset="0"/>
              </a:rPr>
              <a:t>15 minutes</a:t>
            </a:r>
          </a:p>
        </p:txBody>
      </p:sp>
    </p:spTree>
    <p:extLst>
      <p:ext uri="{BB962C8B-B14F-4D97-AF65-F5344CB8AC3E}">
        <p14:creationId xmlns:p14="http://schemas.microsoft.com/office/powerpoint/2010/main" val="208505245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67C329-68BE-250A-281F-877A18B6942C}"/>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43B866B5-8029-89ED-CF55-71537DAC238E}"/>
              </a:ext>
            </a:extLst>
          </p:cNvPr>
          <p:cNvSpPr/>
          <p:nvPr/>
        </p:nvSpPr>
        <p:spPr>
          <a:xfrm>
            <a:off x="0" y="0"/>
            <a:ext cx="12192000" cy="6858000"/>
          </a:xfrm>
          <a:prstGeom prst="rect">
            <a:avLst/>
          </a:prstGeom>
          <a:solidFill>
            <a:srgbClr val="EFEA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170" name="Picture 2">
            <a:extLst>
              <a:ext uri="{FF2B5EF4-FFF2-40B4-BE49-F238E27FC236}">
                <a16:creationId xmlns:a16="http://schemas.microsoft.com/office/drawing/2014/main" id="{479FA4DB-BC2B-A3C0-F7DE-CCC65A8432C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0722" b="6030"/>
          <a:stretch>
            <a:fillRect/>
          </a:stretch>
        </p:blipFill>
        <p:spPr bwMode="auto">
          <a:xfrm>
            <a:off x="135642" y="122829"/>
            <a:ext cx="11914496" cy="6612341"/>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08D77906-8257-49DA-18D1-9F4E80AC6954}"/>
              </a:ext>
            </a:extLst>
          </p:cNvPr>
          <p:cNvSpPr/>
          <p:nvPr/>
        </p:nvSpPr>
        <p:spPr>
          <a:xfrm>
            <a:off x="658879" y="2557726"/>
            <a:ext cx="3233866" cy="13698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6600" b="1">
                <a:solidFill>
                  <a:srgbClr val="E0D9CE"/>
                </a:solidFill>
                <a:latin typeface="Graphik" panose="020B0503030202060203" pitchFamily="34" charset="0"/>
              </a:rPr>
              <a:t>Demo</a:t>
            </a:r>
          </a:p>
        </p:txBody>
      </p:sp>
    </p:spTree>
    <p:extLst>
      <p:ext uri="{BB962C8B-B14F-4D97-AF65-F5344CB8AC3E}">
        <p14:creationId xmlns:p14="http://schemas.microsoft.com/office/powerpoint/2010/main" val="172257803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6AB6C-5646-CD41-2DD7-D7EAC43F2BD7}"/>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CE24FC32-C950-89B5-99F5-26D1D5A35D8B}"/>
              </a:ext>
            </a:extLst>
          </p:cNvPr>
          <p:cNvSpPr/>
          <p:nvPr/>
        </p:nvSpPr>
        <p:spPr>
          <a:xfrm>
            <a:off x="0" y="0"/>
            <a:ext cx="12192000" cy="6858000"/>
          </a:xfrm>
          <a:prstGeom prst="rect">
            <a:avLst/>
          </a:prstGeom>
          <a:solidFill>
            <a:srgbClr val="EFEA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42" name="Picture 2">
            <a:extLst>
              <a:ext uri="{FF2B5EF4-FFF2-40B4-BE49-F238E27FC236}">
                <a16:creationId xmlns:a16="http://schemas.microsoft.com/office/drawing/2014/main" id="{85DC60FE-DA6B-C59B-8881-101F0C097104}"/>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l="-26" t="11086" r="26" b="5665"/>
          <a:stretch>
            <a:fillRect/>
          </a:stretch>
        </p:blipFill>
        <p:spPr bwMode="auto">
          <a:xfrm>
            <a:off x="135642" y="122826"/>
            <a:ext cx="11914496" cy="6612343"/>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B6F475B4-8B8B-9738-BB1C-B37F7D3BAF33}"/>
              </a:ext>
            </a:extLst>
          </p:cNvPr>
          <p:cNvSpPr/>
          <p:nvPr/>
        </p:nvSpPr>
        <p:spPr>
          <a:xfrm>
            <a:off x="658879" y="1077269"/>
            <a:ext cx="3463178" cy="19308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6600" b="1">
                <a:solidFill>
                  <a:srgbClr val="E0D9CE"/>
                </a:solidFill>
                <a:latin typeface="Graphik" panose="020B0503030202060203" pitchFamily="34" charset="0"/>
              </a:rPr>
              <a:t>Lab</a:t>
            </a:r>
          </a:p>
        </p:txBody>
      </p:sp>
    </p:spTree>
    <p:extLst>
      <p:ext uri="{BB962C8B-B14F-4D97-AF65-F5344CB8AC3E}">
        <p14:creationId xmlns:p14="http://schemas.microsoft.com/office/powerpoint/2010/main" val="12589186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E87C9C-0F8B-A817-276D-2D2C61CA3BA0}"/>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77F231E8-76F3-BDB9-F8B1-06E8DAAA9390}"/>
              </a:ext>
            </a:extLst>
          </p:cNvPr>
          <p:cNvSpPr/>
          <p:nvPr/>
        </p:nvSpPr>
        <p:spPr>
          <a:xfrm>
            <a:off x="5623904" y="2744059"/>
            <a:ext cx="6070790" cy="13698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6600" b="1" dirty="0">
                <a:latin typeface="Graphik" panose="020B0503030202060203" pitchFamily="34" charset="0"/>
              </a:rPr>
              <a:t>Tool Use for AI Agents</a:t>
            </a:r>
          </a:p>
        </p:txBody>
      </p:sp>
      <p:sp>
        <p:nvSpPr>
          <p:cNvPr id="5" name="Rectangle 4">
            <a:extLst>
              <a:ext uri="{FF2B5EF4-FFF2-40B4-BE49-F238E27FC236}">
                <a16:creationId xmlns:a16="http://schemas.microsoft.com/office/drawing/2014/main" id="{2109480C-3B63-4D5A-9F6E-A72F90CB96E6}"/>
              </a:ext>
            </a:extLst>
          </p:cNvPr>
          <p:cNvSpPr/>
          <p:nvPr/>
        </p:nvSpPr>
        <p:spPr>
          <a:xfrm>
            <a:off x="7532558" y="3994381"/>
            <a:ext cx="4162136" cy="6895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2000" b="1">
                <a:solidFill>
                  <a:schemeClr val="accent6"/>
                </a:solidFill>
                <a:latin typeface="Graphik" panose="020B0503030202060203" pitchFamily="34" charset="0"/>
              </a:rPr>
              <a:t>Subtitle</a:t>
            </a:r>
          </a:p>
        </p:txBody>
      </p:sp>
    </p:spTree>
    <p:extLst>
      <p:ext uri="{BB962C8B-B14F-4D97-AF65-F5344CB8AC3E}">
        <p14:creationId xmlns:p14="http://schemas.microsoft.com/office/powerpoint/2010/main" val="55747091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D06794-D7BA-9BB3-DE09-80347B5D714A}"/>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AE6DCD8C-76C9-4C4E-6D56-A3A348D13B51}"/>
              </a:ext>
            </a:extLst>
          </p:cNvPr>
          <p:cNvSpPr/>
          <p:nvPr/>
        </p:nvSpPr>
        <p:spPr>
          <a:xfrm>
            <a:off x="0" y="0"/>
            <a:ext cx="12192000" cy="6858000"/>
          </a:xfrm>
          <a:prstGeom prst="rect">
            <a:avLst/>
          </a:prstGeom>
          <a:solidFill>
            <a:srgbClr val="EFEA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218" name="Picture 2">
            <a:extLst>
              <a:ext uri="{FF2B5EF4-FFF2-40B4-BE49-F238E27FC236}">
                <a16:creationId xmlns:a16="http://schemas.microsoft.com/office/drawing/2014/main" id="{C31F149A-8D5B-06E9-3887-2F938F551517}"/>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l="-26" t="12031" r="26" b="4721"/>
          <a:stretch>
            <a:fillRect/>
          </a:stretch>
        </p:blipFill>
        <p:spPr bwMode="auto">
          <a:xfrm>
            <a:off x="135642" y="122826"/>
            <a:ext cx="11914496" cy="6612343"/>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71ADC754-158E-2C92-5FB4-D7E85E72C6D1}"/>
              </a:ext>
            </a:extLst>
          </p:cNvPr>
          <p:cNvSpPr/>
          <p:nvPr/>
        </p:nvSpPr>
        <p:spPr>
          <a:xfrm>
            <a:off x="658879" y="1077269"/>
            <a:ext cx="3463178" cy="19308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6600" b="1">
                <a:solidFill>
                  <a:srgbClr val="E0D9CE"/>
                </a:solidFill>
                <a:latin typeface="Graphik" panose="020B0503030202060203" pitchFamily="34" charset="0"/>
              </a:rPr>
              <a:t>Hyper</a:t>
            </a:r>
          </a:p>
          <a:p>
            <a:r>
              <a:rPr lang="en-US" sz="6600" b="1">
                <a:solidFill>
                  <a:srgbClr val="E0D9CE"/>
                </a:solidFill>
                <a:latin typeface="Graphik" panose="020B0503030202060203" pitchFamily="34" charset="0"/>
              </a:rPr>
              <a:t>sprint</a:t>
            </a:r>
          </a:p>
        </p:txBody>
      </p:sp>
    </p:spTree>
    <p:extLst>
      <p:ext uri="{BB962C8B-B14F-4D97-AF65-F5344CB8AC3E}">
        <p14:creationId xmlns:p14="http://schemas.microsoft.com/office/powerpoint/2010/main" val="314823631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4AB712-EF44-541E-C9B4-97E7B95669D1}"/>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C93B032A-F9A9-0765-FFA6-96FDA5FC7080}"/>
              </a:ext>
            </a:extLst>
          </p:cNvPr>
          <p:cNvSpPr/>
          <p:nvPr/>
        </p:nvSpPr>
        <p:spPr>
          <a:xfrm>
            <a:off x="0" y="0"/>
            <a:ext cx="12192000" cy="6858000"/>
          </a:xfrm>
          <a:prstGeom prst="rect">
            <a:avLst/>
          </a:prstGeom>
          <a:solidFill>
            <a:srgbClr val="EFEA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218" name="Picture 2">
            <a:extLst>
              <a:ext uri="{FF2B5EF4-FFF2-40B4-BE49-F238E27FC236}">
                <a16:creationId xmlns:a16="http://schemas.microsoft.com/office/drawing/2014/main" id="{2D59AD86-51BD-86A0-2BB1-EF7BF14507C1}"/>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l="-26" t="12031" r="26" b="4721"/>
          <a:stretch>
            <a:fillRect/>
          </a:stretch>
        </p:blipFill>
        <p:spPr bwMode="auto">
          <a:xfrm>
            <a:off x="135642" y="122826"/>
            <a:ext cx="11914496" cy="6612343"/>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EBAB7A95-0AF7-2AAD-6531-ECEF15891566}"/>
              </a:ext>
            </a:extLst>
          </p:cNvPr>
          <p:cNvSpPr/>
          <p:nvPr/>
        </p:nvSpPr>
        <p:spPr>
          <a:xfrm>
            <a:off x="658879" y="1077269"/>
            <a:ext cx="3463178" cy="19308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6600" b="1" dirty="0">
                <a:solidFill>
                  <a:srgbClr val="E0D9CE"/>
                </a:solidFill>
                <a:latin typeface="Graphik" panose="020B0503030202060203" pitchFamily="34" charset="0"/>
              </a:rPr>
              <a:t>Turbo</a:t>
            </a:r>
          </a:p>
          <a:p>
            <a:r>
              <a:rPr lang="en-US" sz="6600" b="1" dirty="0">
                <a:solidFill>
                  <a:srgbClr val="E0D9CE"/>
                </a:solidFill>
                <a:latin typeface="Graphik" panose="020B0503030202060203" pitchFamily="34" charset="0"/>
              </a:rPr>
              <a:t>Breaks</a:t>
            </a:r>
          </a:p>
        </p:txBody>
      </p:sp>
    </p:spTree>
    <p:extLst>
      <p:ext uri="{BB962C8B-B14F-4D97-AF65-F5344CB8AC3E}">
        <p14:creationId xmlns:p14="http://schemas.microsoft.com/office/powerpoint/2010/main" val="42752774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Use this_Citizens_Corp_rev">
  <a:themeElements>
    <a:clrScheme name="Citizens">
      <a:dk1>
        <a:srgbClr val="231F20"/>
      </a:dk1>
      <a:lt1>
        <a:srgbClr val="FFFFFF"/>
      </a:lt1>
      <a:dk2>
        <a:srgbClr val="006450"/>
      </a:dk2>
      <a:lt2>
        <a:srgbClr val="EEEEEE"/>
      </a:lt2>
      <a:accent1>
        <a:srgbClr val="008555"/>
      </a:accent1>
      <a:accent2>
        <a:srgbClr val="006450"/>
      </a:accent2>
      <a:accent3>
        <a:srgbClr val="F0F0E6"/>
      </a:accent3>
      <a:accent4>
        <a:srgbClr val="49FF75"/>
      </a:accent4>
      <a:accent5>
        <a:srgbClr val="003422"/>
      </a:accent5>
      <a:accent6>
        <a:srgbClr val="99CEBB"/>
      </a:accent6>
      <a:hlink>
        <a:srgbClr val="339D76"/>
      </a:hlink>
      <a:folHlink>
        <a:srgbClr val="87868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effectLst/>
        <a:scene3d>
          <a:camera prst="orthographicFront"/>
          <a:lightRig rig="threePt" dir="t"/>
        </a:scene3d>
        <a:sp3d>
          <a:bevelT w="0" h="0"/>
          <a:bevelB w="0" h="0"/>
        </a:sp3d>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0A964CF61C5404C9C03C8DD1A1C2C51" ma:contentTypeVersion="9" ma:contentTypeDescription="Create a new document." ma:contentTypeScope="" ma:versionID="42bbfd673c6aa96c82a09dd0c201aba5">
  <xsd:schema xmlns:xsd="http://www.w3.org/2001/XMLSchema" xmlns:xs="http://www.w3.org/2001/XMLSchema" xmlns:p="http://schemas.microsoft.com/office/2006/metadata/properties" xmlns:ns2="f8b29536-11fa-42f0-a0f6-3983029b614c" targetNamespace="http://schemas.microsoft.com/office/2006/metadata/properties" ma:root="true" ma:fieldsID="db9487e670d955200506670954127f70" ns2:_="">
    <xsd:import namespace="f8b29536-11fa-42f0-a0f6-3983029b614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b29536-11fa-42f0-a0f6-3983029b614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BillingMetadata" ma:index="16"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41AA152-03A3-49DF-9A03-6B0E9A1539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b29536-11fa-42f0-a0f6-3983029b614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E4DEE73-0F32-43A3-B064-D3A646EB6AF9}">
  <ds:schemaRefs>
    <ds:schemaRef ds:uri="http://schemas.microsoft.com/office/2006/metadata/properties"/>
    <ds:schemaRef ds:uri="http://schemas.microsoft.com/office/2006/documentManagement/types"/>
    <ds:schemaRef ds:uri="http://purl.org/dc/dcmitype/"/>
    <ds:schemaRef ds:uri="http://www.w3.org/XML/1998/namespace"/>
    <ds:schemaRef ds:uri="http://purl.org/dc/elements/1.1/"/>
    <ds:schemaRef ds:uri="http://schemas.openxmlformats.org/package/2006/metadata/core-properties"/>
    <ds:schemaRef ds:uri="http://purl.org/dc/terms/"/>
    <ds:schemaRef ds:uri="http://schemas.microsoft.com/office/infopath/2007/PartnerControls"/>
    <ds:schemaRef ds:uri="f8b29536-11fa-42f0-a0f6-3983029b614c"/>
  </ds:schemaRefs>
</ds:datastoreItem>
</file>

<file path=customXml/itemProps3.xml><?xml version="1.0" encoding="utf-8"?>
<ds:datastoreItem xmlns:ds="http://schemas.openxmlformats.org/officeDocument/2006/customXml" ds:itemID="{0396A0F1-DBA3-4D36-B178-621D65D56F3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5692</TotalTime>
  <Words>7704</Words>
  <Application>Microsoft Macintosh PowerPoint</Application>
  <PresentationFormat>Widescreen</PresentationFormat>
  <Paragraphs>923</Paragraphs>
  <Slides>91</Slides>
  <Notes>24</Notes>
  <HiddenSlides>1</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91</vt:i4>
      </vt:variant>
    </vt:vector>
  </HeadingPairs>
  <TitlesOfParts>
    <vt:vector size="104" baseType="lpstr">
      <vt:lpstr>Aptos</vt:lpstr>
      <vt:lpstr>Arial</vt:lpstr>
      <vt:lpstr>Calibri</vt:lpstr>
      <vt:lpstr>Courier New</vt:lpstr>
      <vt:lpstr>Graphik</vt:lpstr>
      <vt:lpstr>Graphik Medium</vt:lpstr>
      <vt:lpstr>Graphik-Light</vt:lpstr>
      <vt:lpstr>Graphik-Medium</vt:lpstr>
      <vt:lpstr>Roboto</vt:lpstr>
      <vt:lpstr>Trebuchet MS</vt:lpstr>
      <vt:lpstr>Wingdings</vt:lpstr>
      <vt:lpstr>5_Use this_Citizens_Corp_rev</vt:lpstr>
      <vt:lpstr>think-cell Slide</vt:lpstr>
      <vt:lpstr>PowerPoint Presentation</vt:lpstr>
      <vt:lpstr>PowerPoint Presentation</vt:lpstr>
      <vt:lpstr>Expectations for Attendees</vt:lpstr>
      <vt:lpstr>Goals and Approach of AI Academy Program</vt:lpstr>
      <vt:lpstr>Academy Structure: Week 2</vt:lpstr>
      <vt:lpstr>PowerPoint Presentation</vt:lpstr>
      <vt:lpstr>You’re Agentic Learning Journey</vt:lpstr>
      <vt:lpstr>PowerPoint Presentation</vt:lpstr>
      <vt:lpstr>PowerPoint Presentation</vt:lpstr>
      <vt:lpstr>PowerPoint Presentation</vt:lpstr>
      <vt:lpstr>Agenda and Learning Objectives</vt:lpstr>
      <vt:lpstr>What we will cover…</vt:lpstr>
      <vt:lpstr>Set Context Slide</vt:lpstr>
      <vt:lpstr>PowerPoint Presentation</vt:lpstr>
      <vt:lpstr>Why Tools Matter in the Age of AI Agents</vt:lpstr>
      <vt:lpstr>PowerPoint Presentation</vt:lpstr>
      <vt:lpstr>The Detective’s Dilemma</vt:lpstr>
      <vt:lpstr>Dilemmas, Dilemmas, Dilemmas</vt:lpstr>
      <vt:lpstr>Let’s Solve A Crime with Tools</vt:lpstr>
      <vt:lpstr>Mo Tools, Mo Problems?</vt:lpstr>
      <vt:lpstr>Mo Tools, Mo Problems?</vt:lpstr>
      <vt:lpstr>PowerPoint Presentation</vt:lpstr>
      <vt:lpstr>Tools as Building Blocks: Demystifying Digital Capabilities</vt:lpstr>
      <vt:lpstr>What are some of the tools we can enable with Agents?</vt:lpstr>
      <vt:lpstr>PowerPoint Presentation</vt:lpstr>
      <vt:lpstr>Four Essential Components for Tool Usage</vt:lpstr>
      <vt:lpstr>Modular Components: Enter Directed Graph Orchestration Frameworks</vt:lpstr>
      <vt:lpstr>Modular Components: Enter Directed Graph Orchestration Frameworks</vt:lpstr>
      <vt:lpstr>Using Custom Built Tools with Tool Enabled LLMs</vt:lpstr>
      <vt:lpstr>Tools in a Broader Ecosystem RAISE Framework</vt:lpstr>
      <vt:lpstr>Operationalizing the RAISE Framework</vt:lpstr>
      <vt:lpstr>Find the tool internal monologue in your code</vt:lpstr>
      <vt:lpstr>Bridge Tooling</vt:lpstr>
      <vt:lpstr>Bridge Tooling</vt:lpstr>
      <vt:lpstr>How AI Agents Plan, Organize, Adapt</vt:lpstr>
      <vt:lpstr>With Great Power Comes Great Responsibility</vt:lpstr>
      <vt:lpstr>PowerPoint Presentation</vt:lpstr>
      <vt:lpstr>Adapting At Agent Level</vt:lpstr>
      <vt:lpstr>Adapting At Agent Level</vt:lpstr>
      <vt:lpstr>Tool Resilience: Planning for the Inevitable</vt:lpstr>
      <vt:lpstr>PowerPoint Presentation</vt:lpstr>
      <vt:lpstr>A Framework For Building Tools</vt:lpstr>
      <vt:lpstr>Turbo Break: Applying the tool framework</vt:lpstr>
      <vt:lpstr>Turbo Break: Applying the tool framework</vt:lpstr>
      <vt:lpstr>When Tools Meet Trust</vt:lpstr>
      <vt:lpstr>Progressive Tool Access</vt:lpstr>
      <vt:lpstr>Test, Test, Test</vt:lpstr>
      <vt:lpstr>When Things Go Wrong; Lessons from the Field</vt:lpstr>
      <vt:lpstr>Implementation Lessons</vt:lpstr>
      <vt:lpstr>The Future of Agent Adoption</vt:lpstr>
      <vt:lpstr>Glimpse of Tomorrow</vt:lpstr>
      <vt:lpstr>PowerPoint Presentation</vt:lpstr>
      <vt:lpstr>You’re Agentic Learning Journey</vt:lpstr>
      <vt:lpstr>PowerPoint Presentation</vt:lpstr>
      <vt:lpstr>Agenda and Learning Objectives</vt:lpstr>
      <vt:lpstr>PowerPoint Presentation</vt:lpstr>
      <vt:lpstr>Reasoning From Fast to Wise</vt:lpstr>
      <vt:lpstr>Reasoning From Fast to Wise</vt:lpstr>
      <vt:lpstr>The Tale of Two Minds: Fast and Slow Thinking</vt:lpstr>
      <vt:lpstr>Project Strawberry</vt:lpstr>
      <vt:lpstr>Project Strawberry</vt:lpstr>
      <vt:lpstr>AI Reasoning: Introducing the Power of Pause</vt:lpstr>
      <vt:lpstr>Scale Shift: From More Compute to More Thinking</vt:lpstr>
      <vt:lpstr>Test-Time Compute Scales Performance Better.</vt:lpstr>
      <vt:lpstr>Test-Time Compute Scales Performance Better.</vt:lpstr>
      <vt:lpstr>A Fun Experiment – Setting the Stage</vt:lpstr>
      <vt:lpstr>The Experiment with the LLM</vt:lpstr>
      <vt:lpstr>Understanding the Limitations</vt:lpstr>
      <vt:lpstr>Pattern Matching Challenges</vt:lpstr>
      <vt:lpstr>PowerPoint Presentation</vt:lpstr>
      <vt:lpstr>The Experiment with the LRM</vt:lpstr>
      <vt:lpstr>What does this mean for you?</vt:lpstr>
      <vt:lpstr>What does this mean for you?</vt:lpstr>
      <vt:lpstr>What does this mean for you?</vt:lpstr>
      <vt:lpstr>Uncertainty with LRMs</vt:lpstr>
      <vt:lpstr>Metacognitive Awareness : An Interesting Phenomena in Reasoning Models</vt:lpstr>
      <vt:lpstr>The Power of Many: Multi-Agent Systems in AI Reasoning</vt:lpstr>
      <vt:lpstr>Emergence of Collective Intelligence</vt:lpstr>
      <vt:lpstr>Pitfalls</vt:lpstr>
      <vt:lpstr>A Successful Multi-Agent Orchestration</vt:lpstr>
      <vt:lpstr>Looking to the Future: The Next Evolution in AI Reasoning</vt:lpstr>
      <vt:lpstr>PowerPoint Presentation</vt:lpstr>
      <vt:lpstr>PowerPoint Presentation</vt:lpstr>
      <vt:lpstr>PowerPoint Presentation</vt:lpstr>
      <vt:lpstr>Slide Content Template</vt:lpstr>
      <vt:lpstr>Agenda Template</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esse, Kevin</dc:creator>
  <cp:lastModifiedBy>Jesse, Kevin</cp:lastModifiedBy>
  <cp:revision>1</cp:revision>
  <dcterms:created xsi:type="dcterms:W3CDTF">2025-08-25T14:14:12Z</dcterms:created>
  <dcterms:modified xsi:type="dcterms:W3CDTF">2025-09-19T10:51: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A964CF61C5404C9C03C8DD1A1C2C51</vt:lpwstr>
  </property>
</Properties>
</file>